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7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9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0" r:id="rId5"/>
    <p:sldMasterId id="2147483731" r:id="rId6"/>
    <p:sldMasterId id="2147483871" r:id="rId7"/>
    <p:sldMasterId id="2147483920" r:id="rId8"/>
    <p:sldMasterId id="2147483961" r:id="rId9"/>
    <p:sldMasterId id="2147483983" r:id="rId10"/>
    <p:sldMasterId id="2147483995" r:id="rId11"/>
    <p:sldMasterId id="2147484020" r:id="rId12"/>
    <p:sldMasterId id="2147484066" r:id="rId13"/>
  </p:sldMasterIdLst>
  <p:notesMasterIdLst>
    <p:notesMasterId r:id="rId31"/>
  </p:notesMasterIdLst>
  <p:sldIdLst>
    <p:sldId id="262" r:id="rId14"/>
    <p:sldId id="279" r:id="rId15"/>
    <p:sldId id="2147472652" r:id="rId16"/>
    <p:sldId id="257" r:id="rId17"/>
    <p:sldId id="292" r:id="rId18"/>
    <p:sldId id="2147472983" r:id="rId19"/>
    <p:sldId id="2147472984" r:id="rId20"/>
    <p:sldId id="410" r:id="rId21"/>
    <p:sldId id="261" r:id="rId22"/>
    <p:sldId id="2147309649" r:id="rId23"/>
    <p:sldId id="2147483639" r:id="rId24"/>
    <p:sldId id="264" r:id="rId25"/>
    <p:sldId id="276" r:id="rId26"/>
    <p:sldId id="2147047353" r:id="rId27"/>
    <p:sldId id="259" r:id="rId28"/>
    <p:sldId id="2147472985" r:id="rId29"/>
    <p:sldId id="2147483640" r:id="rId30"/>
  </p:sldIdLst>
  <p:sldSz cx="18000663" cy="1008062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latório" id="{C3A6F1B7-EA98-43EB-9762-A93E5C88B562}">
          <p14:sldIdLst>
            <p14:sldId id="262"/>
            <p14:sldId id="279"/>
            <p14:sldId id="2147472652"/>
            <p14:sldId id="257"/>
            <p14:sldId id="292"/>
            <p14:sldId id="2147472983"/>
            <p14:sldId id="2147472984"/>
            <p14:sldId id="410"/>
            <p14:sldId id="261"/>
            <p14:sldId id="2147309649"/>
            <p14:sldId id="2147483639"/>
            <p14:sldId id="264"/>
            <p14:sldId id="276"/>
          </p14:sldIdLst>
        </p14:section>
        <p14:section name="Anexos" id="{DED2AE82-2307-4A71-A6BF-8569A15B12D3}">
          <p14:sldIdLst>
            <p14:sldId id="2147047353"/>
            <p14:sldId id="259"/>
            <p14:sldId id="2147472985"/>
            <p14:sldId id="214748364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8E07E0A-E3F6-F7EE-1B27-D4D03AEE74D6}" name="Marcus Antonio Estrella Guimaraes" initials="MAEG" userId="S::marcuse@petrobras.com.br::0a018dd0-c133-409e-b056-7b6629a3e5bd" providerId="AD"/>
  <p188:author id="{94787C3E-9F7A-24C1-B3C7-CF93685555FC}" name="Roberto Luiz de Lima Santos" initials="RLdLS" userId="S::roberto.luiz@petrobras.com.br::909c48dc-01df-44a6-a1a4-a94806a43cdd" providerId="AD"/>
  <p188:author id="{FB3DBE43-E8C5-3CA9-1AAD-85D40B92F4DE}" name="Renata Leite da Silva" initials="RS" userId="S::renata.leite@petrobras.com.br::47b71ab3-6d7e-48d4-b51d-d52c61ad46ac" providerId="AD"/>
  <p188:author id="{D24B6856-5CCA-4E11-84BA-3DB71CA88C07}" name="Douglas Lima de Moraes" initials="DLdM" userId="S::douglas.lima@petrobras.com.br::df51f1bc-54b4-4282-a99d-659e0f38e7bb" providerId="AD"/>
  <p188:author id="{E32C1158-A525-00E6-150B-1DADF07324F1}" name="Franklin de Almeida Carl" initials="FC" userId="S::franklin.carl@petrobras.com.br::69623790-7cc6-4b54-aa1d-3ab8ee33e01d" providerId="AD"/>
  <p188:author id="{AEF4E05B-C472-BF01-81EF-CFA3E8737071}" name="Jaqueline Theodoro Amancio de Matos" initials="JTAdM" userId="S::jaquelinetas@petrobras.com.br::615c74f8-9a46-4ccf-98bb-a0b2d5753cd3" providerId="AD"/>
  <p188:author id="{6A0B9060-C854-71EC-A81E-C948409F8661}" name="Rebeca Caetano Rodrigues da Silva Pio" initials="RP" userId="S::rebecapio@petrobras.com.br::21753587-9d7c-42c7-afab-2140928abda7" providerId="AD"/>
  <p188:author id="{58D06161-01AD-E47F-27E7-1E1975C719EA}" name="Alisson Lima Brandao" initials="ALB" userId="S::alisson.brandao@petrobras.com.br::4b6d8c18-2496-4b8f-9e73-fcc019ed0310" providerId="AD"/>
  <p188:author id="{20F1E0CE-9C61-646E-6C96-1821D09C2944}" name="Cristina Torres Silva" initials="CTS" userId="S::cris.torres@petrobras.com.br::40a6e8db-d1b3-4571-b103-1f53a6a08f1f" providerId="AD"/>
  <p188:author id="{A27329E1-3E9E-9051-B04F-4DED7D1F73B7}" name="Renata de Faria Noronha" initials="" userId="S::renata.faria@petrobras.com.br::69837e00-c8ae-4e85-9af6-6f6a06ee8811" providerId="AD"/>
  <p188:author id="{E849E9E9-C558-7D5A-CBAB-4FB5A4D57DA8}" name="Erick Peixoto Alves" initials="EA" userId="S::erick.alves@petrobras.com.br::81758817-eb08-42fb-905a-7444fa74eda9" providerId="AD"/>
  <p188:author id="{848AE4EC-8A24-0009-78BA-41CAFC780B03}" name="Andre Luis Lima Araujo Reis" initials="ALLAR" userId="S::andreluis.reis@petrobras.com.br::4c384dbc-aedd-4758-895f-cdfd2d5fbd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542"/>
    <a:srgbClr val="00B2A9"/>
    <a:srgbClr val="75787B"/>
    <a:srgbClr val="C4D600"/>
    <a:srgbClr val="EBFF00"/>
    <a:srgbClr val="ACACAC"/>
    <a:srgbClr val="006298"/>
    <a:srgbClr val="FDC82F"/>
    <a:srgbClr val="A5A5A5"/>
    <a:srgbClr val="00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43B8C4-4C58-462C-89EE-0740900F5EBE}" v="5" dt="2025-11-27T11:29:25.309"/>
    <p1510:client id="{4BEAE8C3-A590-4187-8920-1DAA76A97E14}" v="139" dt="2025-11-27T13:29:24.973"/>
    <p1510:client id="{4DCD7AB1-00B4-532E-3612-A02F07204CB9}" v="1" dt="2025-11-26T21:32:37.208"/>
    <p1510:client id="{7430EB55-F001-4CD5-BCD6-9941076835CA}" v="22" dt="2025-11-27T13:01:52.234"/>
    <p1510:client id="{9219BE85-1820-4B40-8915-0B09F09B5CE9}" v="685" dt="2025-11-27T18:43:17.528"/>
    <p1510:client id="{99033CD9-F2C3-4CA4-8AF2-F5C96ECD2F0F}" v="19" dt="2025-11-27T15:37:44.5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419" autoAdjust="0"/>
    <p:restoredTop sz="94660"/>
  </p:normalViewPr>
  <p:slideViewPr>
    <p:cSldViewPr snapToGrid="0">
      <p:cViewPr varScale="1">
        <p:scale>
          <a:sx n="87" d="100"/>
          <a:sy n="87" d="100"/>
        </p:scale>
        <p:origin x="40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lin de Almeida Carl" userId="69623790-7cc6-4b54-aa1d-3ab8ee33e01d" providerId="ADAL" clId="{77F66DE4-C166-4F45-85A4-9E8FCAAEB1E8}"/>
    <pc:docChg chg="undo redo custSel modSld">
      <pc:chgData name="Franklin de Almeida Carl" userId="69623790-7cc6-4b54-aa1d-3ab8ee33e01d" providerId="ADAL" clId="{77F66DE4-C166-4F45-85A4-9E8FCAAEB1E8}" dt="2025-11-27T17:55:57.889" v="232" actId="20577"/>
      <pc:docMkLst>
        <pc:docMk/>
      </pc:docMkLst>
      <pc:sldChg chg="modSp mod">
        <pc:chgData name="Franklin de Almeida Carl" userId="69623790-7cc6-4b54-aa1d-3ab8ee33e01d" providerId="ADAL" clId="{77F66DE4-C166-4F45-85A4-9E8FCAAEB1E8}" dt="2025-11-27T17:45:33.301" v="225" actId="20577"/>
        <pc:sldMkLst>
          <pc:docMk/>
          <pc:sldMk cId="460511032" sldId="257"/>
        </pc:sldMkLst>
        <pc:spChg chg="mod">
          <ac:chgData name="Franklin de Almeida Carl" userId="69623790-7cc6-4b54-aa1d-3ab8ee33e01d" providerId="ADAL" clId="{77F66DE4-C166-4F45-85A4-9E8FCAAEB1E8}" dt="2025-11-27T17:45:33.301" v="225" actId="20577"/>
          <ac:spMkLst>
            <pc:docMk/>
            <pc:sldMk cId="460511032" sldId="257"/>
            <ac:spMk id="11" creationId="{489521A9-C57E-301C-B208-0A4960467696}"/>
          </ac:spMkLst>
        </pc:spChg>
        <pc:spChg chg="mod">
          <ac:chgData name="Franklin de Almeida Carl" userId="69623790-7cc6-4b54-aa1d-3ab8ee33e01d" providerId="ADAL" clId="{77F66DE4-C166-4F45-85A4-9E8FCAAEB1E8}" dt="2025-11-27T17:45:23.072" v="224"/>
          <ac:spMkLst>
            <pc:docMk/>
            <pc:sldMk cId="460511032" sldId="257"/>
            <ac:spMk id="14" creationId="{B7493B83-0CF4-DBF2-992A-9F71BE7098B8}"/>
          </ac:spMkLst>
        </pc:spChg>
      </pc:sldChg>
      <pc:sldChg chg="modSp mod">
        <pc:chgData name="Franklin de Almeida Carl" userId="69623790-7cc6-4b54-aa1d-3ab8ee33e01d" providerId="ADAL" clId="{77F66DE4-C166-4F45-85A4-9E8FCAAEB1E8}" dt="2025-11-27T13:25:14.044" v="78" actId="14100"/>
        <pc:sldMkLst>
          <pc:docMk/>
          <pc:sldMk cId="1798892573" sldId="259"/>
        </pc:sldMkLst>
        <pc:grpChg chg="mod">
          <ac:chgData name="Franklin de Almeida Carl" userId="69623790-7cc6-4b54-aa1d-3ab8ee33e01d" providerId="ADAL" clId="{77F66DE4-C166-4F45-85A4-9E8FCAAEB1E8}" dt="2025-11-27T13:25:14.044" v="78" actId="14100"/>
          <ac:grpSpMkLst>
            <pc:docMk/>
            <pc:sldMk cId="1798892573" sldId="259"/>
            <ac:grpSpMk id="9" creationId="{F4E8A2FC-FA2C-426A-728B-EF407070D765}"/>
          </ac:grpSpMkLst>
        </pc:grpChg>
      </pc:sldChg>
      <pc:sldChg chg="modSp mod">
        <pc:chgData name="Franklin de Almeida Carl" userId="69623790-7cc6-4b54-aa1d-3ab8ee33e01d" providerId="ADAL" clId="{77F66DE4-C166-4F45-85A4-9E8FCAAEB1E8}" dt="2025-11-27T17:49:40.330" v="229" actId="20577"/>
        <pc:sldMkLst>
          <pc:docMk/>
          <pc:sldMk cId="939469080" sldId="261"/>
        </pc:sldMkLst>
        <pc:spChg chg="mod">
          <ac:chgData name="Franklin de Almeida Carl" userId="69623790-7cc6-4b54-aa1d-3ab8ee33e01d" providerId="ADAL" clId="{77F66DE4-C166-4F45-85A4-9E8FCAAEB1E8}" dt="2025-11-27T17:49:14.462" v="226" actId="1076"/>
          <ac:spMkLst>
            <pc:docMk/>
            <pc:sldMk cId="939469080" sldId="261"/>
            <ac:spMk id="8" creationId="{F5357453-6BA3-1689-84C5-2AAE6A587F39}"/>
          </ac:spMkLst>
        </pc:spChg>
        <pc:spChg chg="mod">
          <ac:chgData name="Franklin de Almeida Carl" userId="69623790-7cc6-4b54-aa1d-3ab8ee33e01d" providerId="ADAL" clId="{77F66DE4-C166-4F45-85A4-9E8FCAAEB1E8}" dt="2025-11-27T13:23:22.300" v="75" actId="20577"/>
          <ac:spMkLst>
            <pc:docMk/>
            <pc:sldMk cId="939469080" sldId="261"/>
            <ac:spMk id="9" creationId="{78B08385-E38B-1D9C-E7E8-8D5C7D11167E}"/>
          </ac:spMkLst>
        </pc:spChg>
        <pc:spChg chg="mod">
          <ac:chgData name="Franklin de Almeida Carl" userId="69623790-7cc6-4b54-aa1d-3ab8ee33e01d" providerId="ADAL" clId="{77F66DE4-C166-4F45-85A4-9E8FCAAEB1E8}" dt="2025-11-27T17:49:40.330" v="229" actId="20577"/>
          <ac:spMkLst>
            <pc:docMk/>
            <pc:sldMk cId="939469080" sldId="261"/>
            <ac:spMk id="11" creationId="{0897597C-990B-2D7B-01AB-63AF47435766}"/>
          </ac:spMkLst>
        </pc:spChg>
        <pc:spChg chg="mod">
          <ac:chgData name="Franklin de Almeida Carl" userId="69623790-7cc6-4b54-aa1d-3ab8ee33e01d" providerId="ADAL" clId="{77F66DE4-C166-4F45-85A4-9E8FCAAEB1E8}" dt="2025-11-27T13:22:51.463" v="46" actId="14100"/>
          <ac:spMkLst>
            <pc:docMk/>
            <pc:sldMk cId="939469080" sldId="261"/>
            <ac:spMk id="16" creationId="{0301A526-8DF5-F949-EA21-D25139F16079}"/>
          </ac:spMkLst>
        </pc:spChg>
        <pc:spChg chg="mod">
          <ac:chgData name="Franklin de Almeida Carl" userId="69623790-7cc6-4b54-aa1d-3ab8ee33e01d" providerId="ADAL" clId="{77F66DE4-C166-4F45-85A4-9E8FCAAEB1E8}" dt="2025-11-27T17:49:17.676" v="227" actId="1076"/>
          <ac:spMkLst>
            <pc:docMk/>
            <pc:sldMk cId="939469080" sldId="261"/>
            <ac:spMk id="23" creationId="{15AB79A1-15EC-D55D-A9F5-8C484DC83610}"/>
          </ac:spMkLst>
        </pc:spChg>
        <pc:spChg chg="mod">
          <ac:chgData name="Franklin de Almeida Carl" userId="69623790-7cc6-4b54-aa1d-3ab8ee33e01d" providerId="ADAL" clId="{77F66DE4-C166-4F45-85A4-9E8FCAAEB1E8}" dt="2025-11-27T17:49:22.966" v="228" actId="1076"/>
          <ac:spMkLst>
            <pc:docMk/>
            <pc:sldMk cId="939469080" sldId="261"/>
            <ac:spMk id="31" creationId="{F9CBFE12-2B99-5C8D-2A41-9FBAD1B369A6}"/>
          </ac:spMkLst>
        </pc:spChg>
      </pc:sldChg>
      <pc:sldChg chg="addSp delSp modSp mod">
        <pc:chgData name="Franklin de Almeida Carl" userId="69623790-7cc6-4b54-aa1d-3ab8ee33e01d" providerId="ADAL" clId="{77F66DE4-C166-4F45-85A4-9E8FCAAEB1E8}" dt="2025-11-27T13:37:32.099" v="160" actId="1076"/>
        <pc:sldMkLst>
          <pc:docMk/>
          <pc:sldMk cId="3474462501" sldId="262"/>
        </pc:sldMkLst>
        <pc:spChg chg="mod">
          <ac:chgData name="Franklin de Almeida Carl" userId="69623790-7cc6-4b54-aa1d-3ab8ee33e01d" providerId="ADAL" clId="{77F66DE4-C166-4F45-85A4-9E8FCAAEB1E8}" dt="2025-11-27T13:31:39.152" v="150" actId="1076"/>
          <ac:spMkLst>
            <pc:docMk/>
            <pc:sldMk cId="3474462501" sldId="262"/>
            <ac:spMk id="2" creationId="{A97A715C-31E9-F31C-2F4F-D849C01943CE}"/>
          </ac:spMkLst>
        </pc:spChg>
        <pc:spChg chg="mod">
          <ac:chgData name="Franklin de Almeida Carl" userId="69623790-7cc6-4b54-aa1d-3ab8ee33e01d" providerId="ADAL" clId="{77F66DE4-C166-4F45-85A4-9E8FCAAEB1E8}" dt="2025-11-27T13:37:32.099" v="160" actId="1076"/>
          <ac:spMkLst>
            <pc:docMk/>
            <pc:sldMk cId="3474462501" sldId="262"/>
            <ac:spMk id="11" creationId="{AA939159-BBBB-9CB2-1D9E-2530CC3EAD5C}"/>
          </ac:spMkLst>
        </pc:spChg>
        <pc:picChg chg="add mod ord">
          <ac:chgData name="Franklin de Almeida Carl" userId="69623790-7cc6-4b54-aa1d-3ab8ee33e01d" providerId="ADAL" clId="{77F66DE4-C166-4F45-85A4-9E8FCAAEB1E8}" dt="2025-11-27T13:37:06.012" v="157" actId="1076"/>
          <ac:picMkLst>
            <pc:docMk/>
            <pc:sldMk cId="3474462501" sldId="262"/>
            <ac:picMk id="4" creationId="{C85F61B2-D7C5-F94D-6D8F-5409BA9B54C8}"/>
          </ac:picMkLst>
        </pc:picChg>
        <pc:picChg chg="del">
          <ac:chgData name="Franklin de Almeida Carl" userId="69623790-7cc6-4b54-aa1d-3ab8ee33e01d" providerId="ADAL" clId="{77F66DE4-C166-4F45-85A4-9E8FCAAEB1E8}" dt="2025-11-27T13:27:48.016" v="80" actId="478"/>
          <ac:picMkLst>
            <pc:docMk/>
            <pc:sldMk cId="3474462501" sldId="262"/>
            <ac:picMk id="10" creationId="{61DFA73F-0683-0B21-9393-DDC7D825A6C6}"/>
          </ac:picMkLst>
        </pc:picChg>
      </pc:sldChg>
      <pc:sldChg chg="modSp mod">
        <pc:chgData name="Franklin de Almeida Carl" userId="69623790-7cc6-4b54-aa1d-3ab8ee33e01d" providerId="ADAL" clId="{77F66DE4-C166-4F45-85A4-9E8FCAAEB1E8}" dt="2025-11-27T17:55:57.889" v="232" actId="20577"/>
        <pc:sldMkLst>
          <pc:docMk/>
          <pc:sldMk cId="1602518188" sldId="264"/>
        </pc:sldMkLst>
        <pc:spChg chg="mod">
          <ac:chgData name="Franklin de Almeida Carl" userId="69623790-7cc6-4b54-aa1d-3ab8ee33e01d" providerId="ADAL" clId="{77F66DE4-C166-4F45-85A4-9E8FCAAEB1E8}" dt="2025-11-27T17:55:57.889" v="232" actId="20577"/>
          <ac:spMkLst>
            <pc:docMk/>
            <pc:sldMk cId="1602518188" sldId="264"/>
            <ac:spMk id="3" creationId="{133F0AD4-FF55-8928-3763-7289E834F3B9}"/>
          </ac:spMkLst>
        </pc:spChg>
      </pc:sldChg>
      <pc:sldChg chg="addSp delSp modSp mod">
        <pc:chgData name="Franklin de Almeida Carl" userId="69623790-7cc6-4b54-aa1d-3ab8ee33e01d" providerId="ADAL" clId="{77F66DE4-C166-4F45-85A4-9E8FCAAEB1E8}" dt="2025-11-27T17:43:57.749" v="223" actId="20577"/>
        <pc:sldMkLst>
          <pc:docMk/>
          <pc:sldMk cId="2653727919" sldId="279"/>
        </pc:sldMkLst>
        <pc:spChg chg="add mod ord">
          <ac:chgData name="Franklin de Almeida Carl" userId="69623790-7cc6-4b54-aa1d-3ab8ee33e01d" providerId="ADAL" clId="{77F66DE4-C166-4F45-85A4-9E8FCAAEB1E8}" dt="2025-11-27T17:33:00.218" v="220" actId="167"/>
          <ac:spMkLst>
            <pc:docMk/>
            <pc:sldMk cId="2653727919" sldId="279"/>
            <ac:spMk id="3" creationId="{8C0A3597-CC41-2DE6-ACDC-EF98869BE9F7}"/>
          </ac:spMkLst>
        </pc:spChg>
        <pc:spChg chg="mod">
          <ac:chgData name="Franklin de Almeida Carl" userId="69623790-7cc6-4b54-aa1d-3ab8ee33e01d" providerId="ADAL" clId="{77F66DE4-C166-4F45-85A4-9E8FCAAEB1E8}" dt="2025-11-27T17:43:57.749" v="223" actId="20577"/>
          <ac:spMkLst>
            <pc:docMk/>
            <pc:sldMk cId="2653727919" sldId="279"/>
            <ac:spMk id="9" creationId="{551AF77A-1BAE-E9D0-F725-1776C4C25BFE}"/>
          </ac:spMkLst>
        </pc:spChg>
        <pc:spChg chg="ord">
          <ac:chgData name="Franklin de Almeida Carl" userId="69623790-7cc6-4b54-aa1d-3ab8ee33e01d" providerId="ADAL" clId="{77F66DE4-C166-4F45-85A4-9E8FCAAEB1E8}" dt="2025-11-27T17:33:02.788" v="221" actId="167"/>
          <ac:spMkLst>
            <pc:docMk/>
            <pc:sldMk cId="2653727919" sldId="279"/>
            <ac:spMk id="166" creationId="{058BB9D8-77DE-76CD-8CBA-7418884372AD}"/>
          </ac:spMkLst>
        </pc:spChg>
        <pc:spChg chg="del">
          <ac:chgData name="Franklin de Almeida Carl" userId="69623790-7cc6-4b54-aa1d-3ab8ee33e01d" providerId="ADAL" clId="{77F66DE4-C166-4F45-85A4-9E8FCAAEB1E8}" dt="2025-11-27T17:32:47.609" v="215" actId="21"/>
          <ac:spMkLst>
            <pc:docMk/>
            <pc:sldMk cId="2653727919" sldId="279"/>
            <ac:spMk id="167" creationId="{8C0A3597-CC41-2DE6-ACDC-EF98869BE9F7}"/>
          </ac:spMkLst>
        </pc:spChg>
      </pc:sldChg>
      <pc:sldChg chg="modSp mod">
        <pc:chgData name="Franklin de Almeida Carl" userId="69623790-7cc6-4b54-aa1d-3ab8ee33e01d" providerId="ADAL" clId="{77F66DE4-C166-4F45-85A4-9E8FCAAEB1E8}" dt="2025-11-27T14:02:02.680" v="214" actId="20577"/>
        <pc:sldMkLst>
          <pc:docMk/>
          <pc:sldMk cId="4243523648" sldId="410"/>
        </pc:sldMkLst>
        <pc:spChg chg="mod">
          <ac:chgData name="Franklin de Almeida Carl" userId="69623790-7cc6-4b54-aa1d-3ab8ee33e01d" providerId="ADAL" clId="{77F66DE4-C166-4F45-85A4-9E8FCAAEB1E8}" dt="2025-11-27T14:02:02.680" v="214" actId="20577"/>
          <ac:spMkLst>
            <pc:docMk/>
            <pc:sldMk cId="4243523648" sldId="410"/>
            <ac:spMk id="4" creationId="{05D44AFE-5A6F-D668-1A2F-F110BE0C7A2A}"/>
          </ac:spMkLst>
        </pc:spChg>
      </pc:sldChg>
      <pc:sldChg chg="modSp mod">
        <pc:chgData name="Franklin de Almeida Carl" userId="69623790-7cc6-4b54-aa1d-3ab8ee33e01d" providerId="ADAL" clId="{77F66DE4-C166-4F45-85A4-9E8FCAAEB1E8}" dt="2025-11-27T14:00:09.498" v="172" actId="1076"/>
        <pc:sldMkLst>
          <pc:docMk/>
          <pc:sldMk cId="2428920353" sldId="2147472983"/>
        </pc:sldMkLst>
        <pc:spChg chg="mod">
          <ac:chgData name="Franklin de Almeida Carl" userId="69623790-7cc6-4b54-aa1d-3ab8ee33e01d" providerId="ADAL" clId="{77F66DE4-C166-4F45-85A4-9E8FCAAEB1E8}" dt="2025-11-27T14:00:09.498" v="172" actId="1076"/>
          <ac:spMkLst>
            <pc:docMk/>
            <pc:sldMk cId="2428920353" sldId="2147472983"/>
            <ac:spMk id="5" creationId="{F95DD06E-DE93-1B91-AEE9-5E7867DFDAE5}"/>
          </ac:spMkLst>
        </pc:spChg>
        <pc:picChg chg="mod">
          <ac:chgData name="Franklin de Almeida Carl" userId="69623790-7cc6-4b54-aa1d-3ab8ee33e01d" providerId="ADAL" clId="{77F66DE4-C166-4F45-85A4-9E8FCAAEB1E8}" dt="2025-11-27T14:00:09.324" v="171" actId="1076"/>
          <ac:picMkLst>
            <pc:docMk/>
            <pc:sldMk cId="2428920353" sldId="2147472983"/>
            <ac:picMk id="14" creationId="{35917ECC-FC6E-D349-A4E7-BB3ECD7F40CC}"/>
          </ac:picMkLst>
        </pc:picChg>
      </pc:sldChg>
      <pc:sldChg chg="modSp mod">
        <pc:chgData name="Franklin de Almeida Carl" userId="69623790-7cc6-4b54-aa1d-3ab8ee33e01d" providerId="ADAL" clId="{77F66DE4-C166-4F45-85A4-9E8FCAAEB1E8}" dt="2025-11-27T14:01:23.214" v="201" actId="1076"/>
        <pc:sldMkLst>
          <pc:docMk/>
          <pc:sldMk cId="2988427453" sldId="2147472984"/>
        </pc:sldMkLst>
        <pc:spChg chg="mod">
          <ac:chgData name="Franklin de Almeida Carl" userId="69623790-7cc6-4b54-aa1d-3ab8ee33e01d" providerId="ADAL" clId="{77F66DE4-C166-4F45-85A4-9E8FCAAEB1E8}" dt="2025-11-27T14:01:23.214" v="201" actId="1076"/>
          <ac:spMkLst>
            <pc:docMk/>
            <pc:sldMk cId="2988427453" sldId="2147472984"/>
            <ac:spMk id="13" creationId="{04A4209D-3430-2E52-6130-074A568B585F}"/>
          </ac:spMkLst>
        </pc:spChg>
        <pc:spChg chg="mod">
          <ac:chgData name="Franklin de Almeida Carl" userId="69623790-7cc6-4b54-aa1d-3ab8ee33e01d" providerId="ADAL" clId="{77F66DE4-C166-4F45-85A4-9E8FCAAEB1E8}" dt="2025-11-27T13:16:58.622" v="13"/>
          <ac:spMkLst>
            <pc:docMk/>
            <pc:sldMk cId="2988427453" sldId="2147472984"/>
            <ac:spMk id="19" creationId="{9E912E58-4149-867C-32A8-61639D73347E}"/>
          </ac:spMkLst>
        </pc:spChg>
        <pc:picChg chg="mod">
          <ac:chgData name="Franklin de Almeida Carl" userId="69623790-7cc6-4b54-aa1d-3ab8ee33e01d" providerId="ADAL" clId="{77F66DE4-C166-4F45-85A4-9E8FCAAEB1E8}" dt="2025-11-27T14:01:13.863" v="199" actId="1076"/>
          <ac:picMkLst>
            <pc:docMk/>
            <pc:sldMk cId="2988427453" sldId="2147472984"/>
            <ac:picMk id="32" creationId="{9CD8EF67-66C6-8C6D-1991-D03E055A32D7}"/>
          </ac:picMkLst>
        </pc:picChg>
        <pc:picChg chg="mod">
          <ac:chgData name="Franklin de Almeida Carl" userId="69623790-7cc6-4b54-aa1d-3ab8ee33e01d" providerId="ADAL" clId="{77F66DE4-C166-4F45-85A4-9E8FCAAEB1E8}" dt="2025-11-27T13:18:05.307" v="30" actId="1076"/>
          <ac:picMkLst>
            <pc:docMk/>
            <pc:sldMk cId="2988427453" sldId="2147472984"/>
            <ac:picMk id="86" creationId="{B8E227B7-76F6-1EB2-25F2-392E120A1970}"/>
          </ac:picMkLst>
        </pc:picChg>
        <pc:picChg chg="mod">
          <ac:chgData name="Franklin de Almeida Carl" userId="69623790-7cc6-4b54-aa1d-3ab8ee33e01d" providerId="ADAL" clId="{77F66DE4-C166-4F45-85A4-9E8FCAAEB1E8}" dt="2025-11-27T14:00:47.854" v="185" actId="1076"/>
          <ac:picMkLst>
            <pc:docMk/>
            <pc:sldMk cId="2988427453" sldId="2147472984"/>
            <ac:picMk id="87" creationId="{CF3524A2-0059-2D4B-4F0D-3A6B45C0C3D3}"/>
          </ac:picMkLst>
        </pc:picChg>
        <pc:picChg chg="mod">
          <ac:chgData name="Franklin de Almeida Carl" userId="69623790-7cc6-4b54-aa1d-3ab8ee33e01d" providerId="ADAL" clId="{77F66DE4-C166-4F45-85A4-9E8FCAAEB1E8}" dt="2025-11-27T14:01:18.488" v="200" actId="1076"/>
          <ac:picMkLst>
            <pc:docMk/>
            <pc:sldMk cId="2988427453" sldId="2147472984"/>
            <ac:picMk id="92" creationId="{E0D687FF-EE9D-D179-BBB2-2A72DC43F76C}"/>
          </ac:picMkLst>
        </pc:picChg>
      </pc:sldChg>
    </pc:docChg>
  </pc:docChgLst>
  <pc:docChgLst>
    <pc:chgData name="Alisson Lima Brandao" userId="4b6d8c18-2496-4b8f-9e73-fcc019ed0310" providerId="ADAL" clId="{E9F81E09-3510-4050-B550-912EDA6C6B5A}"/>
    <pc:docChg chg="undo custSel modSld">
      <pc:chgData name="Alisson Lima Brandao" userId="4b6d8c18-2496-4b8f-9e73-fcc019ed0310" providerId="ADAL" clId="{E9F81E09-3510-4050-B550-912EDA6C6B5A}" dt="2025-11-27T14:45:31.023" v="13" actId="20577"/>
      <pc:docMkLst>
        <pc:docMk/>
      </pc:docMkLst>
      <pc:sldChg chg="modSp mod">
        <pc:chgData name="Alisson Lima Brandao" userId="4b6d8c18-2496-4b8f-9e73-fcc019ed0310" providerId="ADAL" clId="{E9F81E09-3510-4050-B550-912EDA6C6B5A}" dt="2025-11-27T14:45:31.023" v="13" actId="20577"/>
        <pc:sldMkLst>
          <pc:docMk/>
          <pc:sldMk cId="4243523648" sldId="410"/>
        </pc:sldMkLst>
        <pc:spChg chg="mod">
          <ac:chgData name="Alisson Lima Brandao" userId="4b6d8c18-2496-4b8f-9e73-fcc019ed0310" providerId="ADAL" clId="{E9F81E09-3510-4050-B550-912EDA6C6B5A}" dt="2025-11-27T14:45:31.023" v="13" actId="20577"/>
          <ac:spMkLst>
            <pc:docMk/>
            <pc:sldMk cId="4243523648" sldId="410"/>
            <ac:spMk id="4" creationId="{05D44AFE-5A6F-D668-1A2F-F110BE0C7A2A}"/>
          </ac:spMkLst>
        </pc:spChg>
      </pc:sldChg>
      <pc:sldChg chg="modSp mod">
        <pc:chgData name="Alisson Lima Brandao" userId="4b6d8c18-2496-4b8f-9e73-fcc019ed0310" providerId="ADAL" clId="{E9F81E09-3510-4050-B550-912EDA6C6B5A}" dt="2025-11-27T12:52:41.453" v="5" actId="1036"/>
        <pc:sldMkLst>
          <pc:docMk/>
          <pc:sldMk cId="2988427453" sldId="2147472984"/>
        </pc:sldMkLst>
        <pc:picChg chg="mod">
          <ac:chgData name="Alisson Lima Brandao" userId="4b6d8c18-2496-4b8f-9e73-fcc019ed0310" providerId="ADAL" clId="{E9F81E09-3510-4050-B550-912EDA6C6B5A}" dt="2025-11-27T12:52:41.453" v="5" actId="1036"/>
          <ac:picMkLst>
            <pc:docMk/>
            <pc:sldMk cId="2988427453" sldId="2147472984"/>
            <ac:picMk id="86" creationId="{B8E227B7-76F6-1EB2-25F2-392E120A1970}"/>
          </ac:picMkLst>
        </pc:picChg>
      </pc:sldChg>
    </pc:docChg>
  </pc:docChgLst>
  <pc:docChgLst>
    <pc:chgData name="Renata Leite da Silva" userId="S::renata.leite@petrobras.com.br::47b71ab3-6d7e-48d4-b51d-d52c61ad46ac" providerId="AD" clId="Web-{2343B8C4-4C58-462C-89EE-0740900F5EBE}"/>
    <pc:docChg chg="modSld">
      <pc:chgData name="Renata Leite da Silva" userId="S::renata.leite@petrobras.com.br::47b71ab3-6d7e-48d4-b51d-d52c61ad46ac" providerId="AD" clId="Web-{2343B8C4-4C58-462C-89EE-0740900F5EBE}" dt="2025-11-27T11:29:25.309" v="4" actId="1076"/>
      <pc:docMkLst>
        <pc:docMk/>
      </pc:docMkLst>
      <pc:sldChg chg="modSp">
        <pc:chgData name="Renata Leite da Silva" userId="S::renata.leite@petrobras.com.br::47b71ab3-6d7e-48d4-b51d-d52c61ad46ac" providerId="AD" clId="Web-{2343B8C4-4C58-462C-89EE-0740900F5EBE}" dt="2025-11-27T11:29:25.309" v="4" actId="1076"/>
        <pc:sldMkLst>
          <pc:docMk/>
          <pc:sldMk cId="1798892573" sldId="259"/>
        </pc:sldMkLst>
        <pc:spChg chg="mod">
          <ac:chgData name="Renata Leite da Silva" userId="S::renata.leite@petrobras.com.br::47b71ab3-6d7e-48d4-b51d-d52c61ad46ac" providerId="AD" clId="Web-{2343B8C4-4C58-462C-89EE-0740900F5EBE}" dt="2025-11-27T11:29:25.309" v="4" actId="1076"/>
          <ac:spMkLst>
            <pc:docMk/>
            <pc:sldMk cId="1798892573" sldId="259"/>
            <ac:spMk id="7" creationId="{6242E2F2-6BB4-4B55-1005-13CDD91FD769}"/>
          </ac:spMkLst>
        </pc:spChg>
      </pc:sldChg>
      <pc:sldChg chg="modSp">
        <pc:chgData name="Renata Leite da Silva" userId="S::renata.leite@petrobras.com.br::47b71ab3-6d7e-48d4-b51d-d52c61ad46ac" providerId="AD" clId="Web-{2343B8C4-4C58-462C-89EE-0740900F5EBE}" dt="2025-11-27T11:28:56.417" v="3" actId="1076"/>
        <pc:sldMkLst>
          <pc:docMk/>
          <pc:sldMk cId="939469080" sldId="261"/>
        </pc:sldMkLst>
        <pc:spChg chg="mod">
          <ac:chgData name="Renata Leite da Silva" userId="S::renata.leite@petrobras.com.br::47b71ab3-6d7e-48d4-b51d-d52c61ad46ac" providerId="AD" clId="Web-{2343B8C4-4C58-462C-89EE-0740900F5EBE}" dt="2025-11-27T11:28:56.417" v="3" actId="1076"/>
          <ac:spMkLst>
            <pc:docMk/>
            <pc:sldMk cId="939469080" sldId="261"/>
            <ac:spMk id="3" creationId="{CF71EFB8-1E76-DFD5-2E42-93C5428E280C}"/>
          </ac:spMkLst>
        </pc:spChg>
        <pc:picChg chg="mod">
          <ac:chgData name="Renata Leite da Silva" userId="S::renata.leite@petrobras.com.br::47b71ab3-6d7e-48d4-b51d-d52c61ad46ac" providerId="AD" clId="Web-{2343B8C4-4C58-462C-89EE-0740900F5EBE}" dt="2025-11-27T11:28:43.042" v="2" actId="1076"/>
          <ac:picMkLst>
            <pc:docMk/>
            <pc:sldMk cId="939469080" sldId="261"/>
            <ac:picMk id="13" creationId="{E6C33415-6534-7D6D-72F3-BE828BC9AA41}"/>
          </ac:picMkLst>
        </pc:picChg>
      </pc:sldChg>
      <pc:sldChg chg="modSp">
        <pc:chgData name="Renata Leite da Silva" userId="S::renata.leite@petrobras.com.br::47b71ab3-6d7e-48d4-b51d-d52c61ad46ac" providerId="AD" clId="Web-{2343B8C4-4C58-462C-89EE-0740900F5EBE}" dt="2025-11-27T11:27:22.303" v="1" actId="1076"/>
        <pc:sldMkLst>
          <pc:docMk/>
          <pc:sldMk cId="3474462501" sldId="262"/>
        </pc:sldMkLst>
        <pc:spChg chg="mod">
          <ac:chgData name="Renata Leite da Silva" userId="S::renata.leite@petrobras.com.br::47b71ab3-6d7e-48d4-b51d-d52c61ad46ac" providerId="AD" clId="Web-{2343B8C4-4C58-462C-89EE-0740900F5EBE}" dt="2025-11-27T11:27:22.303" v="1" actId="1076"/>
          <ac:spMkLst>
            <pc:docMk/>
            <pc:sldMk cId="3474462501" sldId="262"/>
            <ac:spMk id="11" creationId="{AA939159-BBBB-9CB2-1D9E-2530CC3EAD5C}"/>
          </ac:spMkLst>
        </pc:spChg>
      </pc:sldChg>
      <pc:sldChg chg="modSp">
        <pc:chgData name="Renata Leite da Silva" userId="S::renata.leite@petrobras.com.br::47b71ab3-6d7e-48d4-b51d-d52c61ad46ac" providerId="AD" clId="Web-{2343B8C4-4C58-462C-89EE-0740900F5EBE}" dt="2025-11-27T11:27:21.147" v="0" actId="1076"/>
        <pc:sldMkLst>
          <pc:docMk/>
          <pc:sldMk cId="3893939341" sldId="2147472652"/>
        </pc:sldMkLst>
        <pc:spChg chg="mod">
          <ac:chgData name="Renata Leite da Silva" userId="S::renata.leite@petrobras.com.br::47b71ab3-6d7e-48d4-b51d-d52c61ad46ac" providerId="AD" clId="Web-{2343B8C4-4C58-462C-89EE-0740900F5EBE}" dt="2025-11-27T11:27:21.147" v="0" actId="1076"/>
          <ac:spMkLst>
            <pc:docMk/>
            <pc:sldMk cId="3893939341" sldId="2147472652"/>
            <ac:spMk id="5" creationId="{685E838C-FA28-403F-F61E-59190ECA52AF}"/>
          </ac:spMkLst>
        </pc:spChg>
      </pc:sldChg>
    </pc:docChg>
  </pc:docChgLst>
  <pc:docChgLst>
    <pc:chgData name="Renata de Faria Noronha" userId="69837e00-c8ae-4e85-9af6-6f6a06ee8811" providerId="ADAL" clId="{88DC8E98-6C23-4E36-98F9-C297E992079A}"/>
    <pc:docChg chg="undo custSel modSld">
      <pc:chgData name="Renata de Faria Noronha" userId="69837e00-c8ae-4e85-9af6-6f6a06ee8811" providerId="ADAL" clId="{88DC8E98-6C23-4E36-98F9-C297E992079A}" dt="2025-11-26T13:28:45.186" v="189" actId="20577"/>
      <pc:docMkLst>
        <pc:docMk/>
      </pc:docMkLst>
      <pc:sldChg chg="modSp mod">
        <pc:chgData name="Renata de Faria Noronha" userId="69837e00-c8ae-4e85-9af6-6f6a06ee8811" providerId="ADAL" clId="{88DC8E98-6C23-4E36-98F9-C297E992079A}" dt="2025-11-26T13:28:45.186" v="189" actId="20577"/>
        <pc:sldMkLst>
          <pc:docMk/>
          <pc:sldMk cId="939469080" sldId="261"/>
        </pc:sldMkLst>
        <pc:spChg chg="mod">
          <ac:chgData name="Renata de Faria Noronha" userId="69837e00-c8ae-4e85-9af6-6f6a06ee8811" providerId="ADAL" clId="{88DC8E98-6C23-4E36-98F9-C297E992079A}" dt="2025-11-25T14:37:49.567" v="19"/>
          <ac:spMkLst>
            <pc:docMk/>
            <pc:sldMk cId="939469080" sldId="261"/>
            <ac:spMk id="8" creationId="{F5357453-6BA3-1689-84C5-2AAE6A587F39}"/>
          </ac:spMkLst>
        </pc:spChg>
        <pc:spChg chg="mod">
          <ac:chgData name="Renata de Faria Noronha" userId="69837e00-c8ae-4e85-9af6-6f6a06ee8811" providerId="ADAL" clId="{88DC8E98-6C23-4E36-98F9-C297E992079A}" dt="2025-11-26T13:28:45.186" v="189" actId="20577"/>
          <ac:spMkLst>
            <pc:docMk/>
            <pc:sldMk cId="939469080" sldId="261"/>
            <ac:spMk id="11" creationId="{0897597C-990B-2D7B-01AB-63AF47435766}"/>
          </ac:spMkLst>
        </pc:spChg>
      </pc:sldChg>
      <pc:sldChg chg="modSp mod">
        <pc:chgData name="Renata de Faria Noronha" userId="69837e00-c8ae-4e85-9af6-6f6a06ee8811" providerId="ADAL" clId="{88DC8E98-6C23-4E36-98F9-C297E992079A}" dt="2025-11-25T14:58:58.781" v="161"/>
        <pc:sldMkLst>
          <pc:docMk/>
          <pc:sldMk cId="1184031882" sldId="2147472985"/>
        </pc:sldMkLst>
        <pc:graphicFrameChg chg="mod modGraphic">
          <ac:chgData name="Renata de Faria Noronha" userId="69837e00-c8ae-4e85-9af6-6f6a06ee8811" providerId="ADAL" clId="{88DC8E98-6C23-4E36-98F9-C297E992079A}" dt="2025-11-25T14:58:58.781" v="161"/>
          <ac:graphicFrameMkLst>
            <pc:docMk/>
            <pc:sldMk cId="1184031882" sldId="2147472985"/>
            <ac:graphicFrameMk id="13" creationId="{FF8CA3A9-6FF1-34CA-BAF3-63DCDFE998E1}"/>
          </ac:graphicFrameMkLst>
        </pc:graphicFrameChg>
      </pc:sldChg>
    </pc:docChg>
  </pc:docChgLst>
  <pc:docChgLst>
    <pc:chgData name="Joao Roberto do Nascimento Fernandes" userId="609cfebf-ffe3-4b39-807c-ac45e19be10f" providerId="ADAL" clId="{FC705AC0-DDC2-4901-86FA-43F1431F5768}"/>
    <pc:docChg chg="modSld">
      <pc:chgData name="Joao Roberto do Nascimento Fernandes" userId="609cfebf-ffe3-4b39-807c-ac45e19be10f" providerId="ADAL" clId="{FC705AC0-DDC2-4901-86FA-43F1431F5768}" dt="2025-11-26T16:35:12.960" v="19" actId="20577"/>
      <pc:docMkLst>
        <pc:docMk/>
      </pc:docMkLst>
      <pc:sldChg chg="modSp mod">
        <pc:chgData name="Joao Roberto do Nascimento Fernandes" userId="609cfebf-ffe3-4b39-807c-ac45e19be10f" providerId="ADAL" clId="{FC705AC0-DDC2-4901-86FA-43F1431F5768}" dt="2025-11-26T16:35:12.960" v="19" actId="20577"/>
        <pc:sldMkLst>
          <pc:docMk/>
          <pc:sldMk cId="519396587" sldId="2147483640"/>
        </pc:sldMkLst>
        <pc:graphicFrameChg chg="modGraphic">
          <ac:chgData name="Joao Roberto do Nascimento Fernandes" userId="609cfebf-ffe3-4b39-807c-ac45e19be10f" providerId="ADAL" clId="{FC705AC0-DDC2-4901-86FA-43F1431F5768}" dt="2025-11-26T16:35:12.960" v="19" actId="20577"/>
          <ac:graphicFrameMkLst>
            <pc:docMk/>
            <pc:sldMk cId="519396587" sldId="2147483640"/>
            <ac:graphicFrameMk id="13" creationId="{22E518A7-764F-B240-0D1A-F0075F85D0EC}"/>
          </ac:graphicFrameMkLst>
        </pc:graphicFrameChg>
      </pc:sldChg>
    </pc:docChg>
  </pc:docChgLst>
  <pc:docChgLst>
    <pc:chgData name="Renata Leite da Silva" userId="S::renata.leite@petrobras.com.br::47b71ab3-6d7e-48d4-b51d-d52c61ad46ac" providerId="AD" clId="Web-{1D757EE5-E924-28A2-834C-0C7D2B516665}"/>
    <pc:docChg chg="modSld">
      <pc:chgData name="Renata Leite da Silva" userId="S::renata.leite@petrobras.com.br::47b71ab3-6d7e-48d4-b51d-d52c61ad46ac" providerId="AD" clId="Web-{1D757EE5-E924-28A2-834C-0C7D2B516665}" dt="2025-11-24T11:00:08.746" v="1" actId="1076"/>
      <pc:docMkLst>
        <pc:docMk/>
      </pc:docMkLst>
      <pc:sldChg chg="modSp">
        <pc:chgData name="Renata Leite da Silva" userId="S::renata.leite@petrobras.com.br::47b71ab3-6d7e-48d4-b51d-d52c61ad46ac" providerId="AD" clId="Web-{1D757EE5-E924-28A2-834C-0C7D2B516665}" dt="2025-11-24T10:59:44.448" v="0" actId="1076"/>
        <pc:sldMkLst>
          <pc:docMk/>
          <pc:sldMk cId="939469080" sldId="261"/>
        </pc:sldMkLst>
        <pc:spChg chg="mod">
          <ac:chgData name="Renata Leite da Silva" userId="S::renata.leite@petrobras.com.br::47b71ab3-6d7e-48d4-b51d-d52c61ad46ac" providerId="AD" clId="Web-{1D757EE5-E924-28A2-834C-0C7D2B516665}" dt="2025-11-24T10:59:44.448" v="0" actId="1076"/>
          <ac:spMkLst>
            <pc:docMk/>
            <pc:sldMk cId="939469080" sldId="261"/>
            <ac:spMk id="16" creationId="{0301A526-8DF5-F949-EA21-D25139F16079}"/>
          </ac:spMkLst>
        </pc:spChg>
      </pc:sldChg>
      <pc:sldChg chg="modSp">
        <pc:chgData name="Renata Leite da Silva" userId="S::renata.leite@petrobras.com.br::47b71ab3-6d7e-48d4-b51d-d52c61ad46ac" providerId="AD" clId="Web-{1D757EE5-E924-28A2-834C-0C7D2B516665}" dt="2025-11-24T11:00:08.746" v="1" actId="1076"/>
        <pc:sldMkLst>
          <pc:docMk/>
          <pc:sldMk cId="1602518188" sldId="264"/>
        </pc:sldMkLst>
        <pc:picChg chg="mod">
          <ac:chgData name="Renata Leite da Silva" userId="S::renata.leite@petrobras.com.br::47b71ab3-6d7e-48d4-b51d-d52c61ad46ac" providerId="AD" clId="Web-{1D757EE5-E924-28A2-834C-0C7D2B516665}" dt="2025-11-24T11:00:08.746" v="1" actId="1076"/>
          <ac:picMkLst>
            <pc:docMk/>
            <pc:sldMk cId="1602518188" sldId="264"/>
            <ac:picMk id="9" creationId="{CF85A115-3407-ADEB-FB13-352214B1DE6C}"/>
          </ac:picMkLst>
        </pc:picChg>
      </pc:sldChg>
    </pc:docChg>
  </pc:docChgLst>
  <pc:docChgLst>
    <pc:chgData name="Renata Leite da Silva" userId="S::renata.leite@petrobras.com.br::47b71ab3-6d7e-48d4-b51d-d52c61ad46ac" providerId="AD" clId="Web-{031D3859-C955-CCC4-3A49-60EA28DD156F}"/>
    <pc:docChg chg="addSld delSld modSld sldOrd modSection">
      <pc:chgData name="Renata Leite da Silva" userId="S::renata.leite@petrobras.com.br::47b71ab3-6d7e-48d4-b51d-d52c61ad46ac" providerId="AD" clId="Web-{031D3859-C955-CCC4-3A49-60EA28DD156F}" dt="2025-11-21T15:17:38.273" v="19" actId="1076"/>
      <pc:docMkLst>
        <pc:docMk/>
      </pc:docMkLst>
      <pc:sldChg chg="modSp">
        <pc:chgData name="Renata Leite da Silva" userId="S::renata.leite@petrobras.com.br::47b71ab3-6d7e-48d4-b51d-d52c61ad46ac" providerId="AD" clId="Web-{031D3859-C955-CCC4-3A49-60EA28DD156F}" dt="2025-11-21T15:17:38.273" v="19" actId="1076"/>
        <pc:sldMkLst>
          <pc:docMk/>
          <pc:sldMk cId="939469080" sldId="261"/>
        </pc:sldMkLst>
        <pc:picChg chg="mod">
          <ac:chgData name="Renata Leite da Silva" userId="S::renata.leite@petrobras.com.br::47b71ab3-6d7e-48d4-b51d-d52c61ad46ac" providerId="AD" clId="Web-{031D3859-C955-CCC4-3A49-60EA28DD156F}" dt="2025-11-21T15:17:38.273" v="19" actId="1076"/>
          <ac:picMkLst>
            <pc:docMk/>
            <pc:sldMk cId="939469080" sldId="261"/>
            <ac:picMk id="13" creationId="{E6C33415-6534-7D6D-72F3-BE828BC9AA41}"/>
          </ac:picMkLst>
        </pc:picChg>
      </pc:sldChg>
      <pc:sldChg chg="addSp delSp modSp add del ord">
        <pc:chgData name="Renata Leite da Silva" userId="S::renata.leite@petrobras.com.br::47b71ab3-6d7e-48d4-b51d-d52c61ad46ac" providerId="AD" clId="Web-{031D3859-C955-CCC4-3A49-60EA28DD156F}" dt="2025-11-21T15:00:44.206" v="18" actId="1076"/>
        <pc:sldMkLst>
          <pc:docMk/>
          <pc:sldMk cId="3474462501" sldId="262"/>
        </pc:sldMkLst>
        <pc:spChg chg="mod">
          <ac:chgData name="Renata Leite da Silva" userId="S::renata.leite@petrobras.com.br::47b71ab3-6d7e-48d4-b51d-d52c61ad46ac" providerId="AD" clId="Web-{031D3859-C955-CCC4-3A49-60EA28DD156F}" dt="2025-11-21T15:00:44.206" v="18" actId="1076"/>
          <ac:spMkLst>
            <pc:docMk/>
            <pc:sldMk cId="3474462501" sldId="262"/>
            <ac:spMk id="11" creationId="{AA939159-BBBB-9CB2-1D9E-2530CC3EAD5C}"/>
          </ac:spMkLst>
        </pc:spChg>
      </pc:sldChg>
    </pc:docChg>
  </pc:docChgLst>
  <pc:docChgLst>
    <pc:chgData name="Renata Leite da Silva" userId="S::renata.leite@petrobras.com.br::47b71ab3-6d7e-48d4-b51d-d52c61ad46ac" providerId="AD" clId="Web-{4DCD7AB1-00B4-532E-3612-A02F07204CB9}"/>
    <pc:docChg chg="modSld">
      <pc:chgData name="Renata Leite da Silva" userId="S::renata.leite@petrobras.com.br::47b71ab3-6d7e-48d4-b51d-d52c61ad46ac" providerId="AD" clId="Web-{4DCD7AB1-00B4-532E-3612-A02F07204CB9}" dt="2025-11-26T21:32:37.208" v="0" actId="1076"/>
      <pc:docMkLst>
        <pc:docMk/>
      </pc:docMkLst>
      <pc:sldChg chg="modSp">
        <pc:chgData name="Renata Leite da Silva" userId="S::renata.leite@petrobras.com.br::47b71ab3-6d7e-48d4-b51d-d52c61ad46ac" providerId="AD" clId="Web-{4DCD7AB1-00B4-532E-3612-A02F07204CB9}" dt="2025-11-26T21:32:37.208" v="0" actId="1076"/>
        <pc:sldMkLst>
          <pc:docMk/>
          <pc:sldMk cId="939469080" sldId="261"/>
        </pc:sldMkLst>
        <pc:spChg chg="mod">
          <ac:chgData name="Renata Leite da Silva" userId="S::renata.leite@petrobras.com.br::47b71ab3-6d7e-48d4-b51d-d52c61ad46ac" providerId="AD" clId="Web-{4DCD7AB1-00B4-532E-3612-A02F07204CB9}" dt="2025-11-26T21:32:37.208" v="0" actId="1076"/>
          <ac:spMkLst>
            <pc:docMk/>
            <pc:sldMk cId="939469080" sldId="261"/>
            <ac:spMk id="16" creationId="{0301A526-8DF5-F949-EA21-D25139F16079}"/>
          </ac:spMkLst>
        </pc:spChg>
      </pc:sldChg>
    </pc:docChg>
  </pc:docChgLst>
  <pc:docChgLst>
    <pc:chgData name="Marcus Antonio Estrella Guimaraes" userId="0a018dd0-c133-409e-b056-7b6629a3e5bd" providerId="ADAL" clId="{2B7F9534-3C51-43AC-BEE2-8D0D47FD2F38}"/>
    <pc:docChg chg="undo custSel modSld">
      <pc:chgData name="Marcus Antonio Estrella Guimaraes" userId="0a018dd0-c133-409e-b056-7b6629a3e5bd" providerId="ADAL" clId="{2B7F9534-3C51-43AC-BEE2-8D0D47FD2F38}" dt="2025-11-27T13:01:52.234" v="22" actId="20577"/>
      <pc:docMkLst>
        <pc:docMk/>
      </pc:docMkLst>
      <pc:sldChg chg="modSp mod">
        <pc:chgData name="Marcus Antonio Estrella Guimaraes" userId="0a018dd0-c133-409e-b056-7b6629a3e5bd" providerId="ADAL" clId="{2B7F9534-3C51-43AC-BEE2-8D0D47FD2F38}" dt="2025-11-27T12:59:51.413" v="20" actId="20577"/>
        <pc:sldMkLst>
          <pc:docMk/>
          <pc:sldMk cId="939469080" sldId="261"/>
        </pc:sldMkLst>
        <pc:spChg chg="mod">
          <ac:chgData name="Marcus Antonio Estrella Guimaraes" userId="0a018dd0-c133-409e-b056-7b6629a3e5bd" providerId="ADAL" clId="{2B7F9534-3C51-43AC-BEE2-8D0D47FD2F38}" dt="2025-11-27T12:59:51.413" v="20" actId="20577"/>
          <ac:spMkLst>
            <pc:docMk/>
            <pc:sldMk cId="939469080" sldId="261"/>
            <ac:spMk id="8" creationId="{F5357453-6BA3-1689-84C5-2AAE6A587F39}"/>
          </ac:spMkLst>
        </pc:spChg>
        <pc:spChg chg="mod">
          <ac:chgData name="Marcus Antonio Estrella Guimaraes" userId="0a018dd0-c133-409e-b056-7b6629a3e5bd" providerId="ADAL" clId="{2B7F9534-3C51-43AC-BEE2-8D0D47FD2F38}" dt="2025-11-27T12:57:35.845" v="4" actId="1076"/>
          <ac:spMkLst>
            <pc:docMk/>
            <pc:sldMk cId="939469080" sldId="261"/>
            <ac:spMk id="16" creationId="{0301A526-8DF5-F949-EA21-D25139F16079}"/>
          </ac:spMkLst>
        </pc:spChg>
        <pc:spChg chg="mod">
          <ac:chgData name="Marcus Antonio Estrella Guimaraes" userId="0a018dd0-c133-409e-b056-7b6629a3e5bd" providerId="ADAL" clId="{2B7F9534-3C51-43AC-BEE2-8D0D47FD2F38}" dt="2025-11-27T12:59:37.996" v="16" actId="20577"/>
          <ac:spMkLst>
            <pc:docMk/>
            <pc:sldMk cId="939469080" sldId="261"/>
            <ac:spMk id="23" creationId="{15AB79A1-15EC-D55D-A9F5-8C484DC83610}"/>
          </ac:spMkLst>
        </pc:spChg>
      </pc:sldChg>
      <pc:sldChg chg="modSp mod">
        <pc:chgData name="Marcus Antonio Estrella Guimaraes" userId="0a018dd0-c133-409e-b056-7b6629a3e5bd" providerId="ADAL" clId="{2B7F9534-3C51-43AC-BEE2-8D0D47FD2F38}" dt="2025-11-27T12:47:52.213" v="0" actId="6549"/>
        <pc:sldMkLst>
          <pc:docMk/>
          <pc:sldMk cId="2653727919" sldId="279"/>
        </pc:sldMkLst>
        <pc:spChg chg="mod">
          <ac:chgData name="Marcus Antonio Estrella Guimaraes" userId="0a018dd0-c133-409e-b056-7b6629a3e5bd" providerId="ADAL" clId="{2B7F9534-3C51-43AC-BEE2-8D0D47FD2F38}" dt="2025-11-27T12:47:52.213" v="0" actId="6549"/>
          <ac:spMkLst>
            <pc:docMk/>
            <pc:sldMk cId="2653727919" sldId="279"/>
            <ac:spMk id="9" creationId="{551AF77A-1BAE-E9D0-F725-1776C4C25BFE}"/>
          </ac:spMkLst>
        </pc:spChg>
      </pc:sldChg>
      <pc:sldChg chg="modSp mod">
        <pc:chgData name="Marcus Antonio Estrella Guimaraes" userId="0a018dd0-c133-409e-b056-7b6629a3e5bd" providerId="ADAL" clId="{2B7F9534-3C51-43AC-BEE2-8D0D47FD2F38}" dt="2025-11-27T12:51:35.955" v="3" actId="108"/>
        <pc:sldMkLst>
          <pc:docMk/>
          <pc:sldMk cId="2428920353" sldId="2147472983"/>
        </pc:sldMkLst>
        <pc:spChg chg="mod">
          <ac:chgData name="Marcus Antonio Estrella Guimaraes" userId="0a018dd0-c133-409e-b056-7b6629a3e5bd" providerId="ADAL" clId="{2B7F9534-3C51-43AC-BEE2-8D0D47FD2F38}" dt="2025-11-27T12:51:35.955" v="3" actId="108"/>
          <ac:spMkLst>
            <pc:docMk/>
            <pc:sldMk cId="2428920353" sldId="2147472983"/>
            <ac:spMk id="6" creationId="{4A641AE9-27CD-5A05-B910-1A307C489975}"/>
          </ac:spMkLst>
        </pc:spChg>
      </pc:sldChg>
      <pc:sldChg chg="modSp mod">
        <pc:chgData name="Marcus Antonio Estrella Guimaraes" userId="0a018dd0-c133-409e-b056-7b6629a3e5bd" providerId="ADAL" clId="{2B7F9534-3C51-43AC-BEE2-8D0D47FD2F38}" dt="2025-11-27T13:01:52.234" v="22" actId="20577"/>
        <pc:sldMkLst>
          <pc:docMk/>
          <pc:sldMk cId="417541705" sldId="2147483642"/>
        </pc:sldMkLst>
        <pc:spChg chg="mod">
          <ac:chgData name="Marcus Antonio Estrella Guimaraes" userId="0a018dd0-c133-409e-b056-7b6629a3e5bd" providerId="ADAL" clId="{2B7F9534-3C51-43AC-BEE2-8D0D47FD2F38}" dt="2025-11-27T13:01:52.234" v="22" actId="20577"/>
          <ac:spMkLst>
            <pc:docMk/>
            <pc:sldMk cId="417541705" sldId="2147483642"/>
            <ac:spMk id="36" creationId="{C49599E0-13ED-255D-7E57-83127E4F0615}"/>
          </ac:spMkLst>
        </pc:spChg>
      </pc:sldChg>
    </pc:docChg>
  </pc:docChgLst>
  <pc:docChgLst>
    <pc:chgData name="Renata Leite da Silva" userId="47b71ab3-6d7e-48d4-b51d-d52c61ad46ac" providerId="ADAL" clId="{A26BFB71-E7A3-4A29-AB2F-C6CF98456BCA}"/>
    <pc:docChg chg="undo redo custSel addSld delSld modSld sldOrd delMainMaster modMainMaster modSection">
      <pc:chgData name="Renata Leite da Silva" userId="47b71ab3-6d7e-48d4-b51d-d52c61ad46ac" providerId="ADAL" clId="{A26BFB71-E7A3-4A29-AB2F-C6CF98456BCA}" dt="2025-11-27T18:01:38.459" v="4198" actId="6549"/>
      <pc:docMkLst>
        <pc:docMk/>
      </pc:docMkLst>
      <pc:sldChg chg="addSp delSp modSp mod ord">
        <pc:chgData name="Renata Leite da Silva" userId="47b71ab3-6d7e-48d4-b51d-d52c61ad46ac" providerId="ADAL" clId="{A26BFB71-E7A3-4A29-AB2F-C6CF98456BCA}" dt="2025-11-26T00:16:41.711" v="3543" actId="1076"/>
        <pc:sldMkLst>
          <pc:docMk/>
          <pc:sldMk cId="460511032" sldId="257"/>
        </pc:sldMkLst>
        <pc:spChg chg="mod">
          <ac:chgData name="Renata Leite da Silva" userId="47b71ab3-6d7e-48d4-b51d-d52c61ad46ac" providerId="ADAL" clId="{A26BFB71-E7A3-4A29-AB2F-C6CF98456BCA}" dt="2025-11-26T00:14:37.434" v="3537" actId="1076"/>
          <ac:spMkLst>
            <pc:docMk/>
            <pc:sldMk cId="460511032" sldId="257"/>
            <ac:spMk id="6" creationId="{BD2EB025-A526-4AC4-2C45-3354C9C17E37}"/>
          </ac:spMkLst>
        </pc:spChg>
        <pc:spChg chg="add del mod">
          <ac:chgData name="Renata Leite da Silva" userId="47b71ab3-6d7e-48d4-b51d-d52c61ad46ac" providerId="ADAL" clId="{A26BFB71-E7A3-4A29-AB2F-C6CF98456BCA}" dt="2025-11-23T12:46:01.132" v="934" actId="20577"/>
          <ac:spMkLst>
            <pc:docMk/>
            <pc:sldMk cId="460511032" sldId="257"/>
            <ac:spMk id="11" creationId="{489521A9-C57E-301C-B208-0A4960467696}"/>
          </ac:spMkLst>
        </pc:spChg>
        <pc:spChg chg="mod">
          <ac:chgData name="Renata Leite da Silva" userId="47b71ab3-6d7e-48d4-b51d-d52c61ad46ac" providerId="ADAL" clId="{A26BFB71-E7A3-4A29-AB2F-C6CF98456BCA}" dt="2025-11-17T13:13:01.905" v="137" actId="20577"/>
          <ac:spMkLst>
            <pc:docMk/>
            <pc:sldMk cId="460511032" sldId="257"/>
            <ac:spMk id="13" creationId="{2D7593E6-B851-D555-D1C3-7DA5EDE8EA52}"/>
          </ac:spMkLst>
        </pc:spChg>
        <pc:spChg chg="mod">
          <ac:chgData name="Renata Leite da Silva" userId="47b71ab3-6d7e-48d4-b51d-d52c61ad46ac" providerId="ADAL" clId="{A26BFB71-E7A3-4A29-AB2F-C6CF98456BCA}" dt="2025-11-17T13:12:25.604" v="135" actId="6549"/>
          <ac:spMkLst>
            <pc:docMk/>
            <pc:sldMk cId="460511032" sldId="257"/>
            <ac:spMk id="14" creationId="{B7493B83-0CF4-DBF2-992A-9F71BE7098B8}"/>
          </ac:spMkLst>
        </pc:spChg>
        <pc:spChg chg="mod">
          <ac:chgData name="Renata Leite da Silva" userId="47b71ab3-6d7e-48d4-b51d-d52c61ad46ac" providerId="ADAL" clId="{A26BFB71-E7A3-4A29-AB2F-C6CF98456BCA}" dt="2025-11-17T13:13:25.379" v="155" actId="6549"/>
          <ac:spMkLst>
            <pc:docMk/>
            <pc:sldMk cId="460511032" sldId="257"/>
            <ac:spMk id="18" creationId="{3BB06A53-F29F-A715-D622-C5FF35EB88E6}"/>
          </ac:spMkLst>
        </pc:spChg>
        <pc:spChg chg="mod">
          <ac:chgData name="Renata Leite da Silva" userId="47b71ab3-6d7e-48d4-b51d-d52c61ad46ac" providerId="ADAL" clId="{A26BFB71-E7A3-4A29-AB2F-C6CF98456BCA}" dt="2025-11-17T13:13:58.300" v="169" actId="6549"/>
          <ac:spMkLst>
            <pc:docMk/>
            <pc:sldMk cId="460511032" sldId="257"/>
            <ac:spMk id="19" creationId="{B4164E25-EA22-8C54-80FE-956390E6B321}"/>
          </ac:spMkLst>
        </pc:spChg>
        <pc:picChg chg="mod">
          <ac:chgData name="Renata Leite da Silva" userId="47b71ab3-6d7e-48d4-b51d-d52c61ad46ac" providerId="ADAL" clId="{A26BFB71-E7A3-4A29-AB2F-C6CF98456BCA}" dt="2025-11-26T00:14:27.858" v="3535" actId="14100"/>
          <ac:picMkLst>
            <pc:docMk/>
            <pc:sldMk cId="460511032" sldId="257"/>
            <ac:picMk id="22" creationId="{55AB263C-65FC-EE75-D2D1-2CA855369E3F}"/>
          </ac:picMkLst>
        </pc:picChg>
        <pc:picChg chg="mod">
          <ac:chgData name="Renata Leite da Silva" userId="47b71ab3-6d7e-48d4-b51d-d52c61ad46ac" providerId="ADAL" clId="{A26BFB71-E7A3-4A29-AB2F-C6CF98456BCA}" dt="2025-11-26T00:16:41.711" v="3543" actId="1076"/>
          <ac:picMkLst>
            <pc:docMk/>
            <pc:sldMk cId="460511032" sldId="257"/>
            <ac:picMk id="41" creationId="{21AD088C-9994-62FD-624D-141331248B7D}"/>
          </ac:picMkLst>
        </pc:picChg>
        <pc:picChg chg="mod">
          <ac:chgData name="Renata Leite da Silva" userId="47b71ab3-6d7e-48d4-b51d-d52c61ad46ac" providerId="ADAL" clId="{A26BFB71-E7A3-4A29-AB2F-C6CF98456BCA}" dt="2025-11-26T00:16:21.492" v="3542" actId="1076"/>
          <ac:picMkLst>
            <pc:docMk/>
            <pc:sldMk cId="460511032" sldId="257"/>
            <ac:picMk id="43" creationId="{BBC82EFB-D0E6-4A03-901B-40E22678F4E2}"/>
          </ac:picMkLst>
        </pc:picChg>
      </pc:sldChg>
      <pc:sldChg chg="addSp delSp modSp del mod">
        <pc:chgData name="Renata Leite da Silva" userId="47b71ab3-6d7e-48d4-b51d-d52c61ad46ac" providerId="ADAL" clId="{A26BFB71-E7A3-4A29-AB2F-C6CF98456BCA}" dt="2025-11-25T13:36:10.918" v="2926" actId="2696"/>
        <pc:sldMkLst>
          <pc:docMk/>
          <pc:sldMk cId="1193014606" sldId="258"/>
        </pc:sldMkLst>
      </pc:sldChg>
      <pc:sldChg chg="addSp delSp modSp mod">
        <pc:chgData name="Renata Leite da Silva" userId="47b71ab3-6d7e-48d4-b51d-d52c61ad46ac" providerId="ADAL" clId="{A26BFB71-E7A3-4A29-AB2F-C6CF98456BCA}" dt="2025-11-27T12:24:19.821" v="4124" actId="20577"/>
        <pc:sldMkLst>
          <pc:docMk/>
          <pc:sldMk cId="1798892573" sldId="259"/>
        </pc:sldMkLst>
        <pc:spChg chg="add mod">
          <ac:chgData name="Renata Leite da Silva" userId="47b71ab3-6d7e-48d4-b51d-d52c61ad46ac" providerId="ADAL" clId="{A26BFB71-E7A3-4A29-AB2F-C6CF98456BCA}" dt="2025-11-25T16:22:17.419" v="3111" actId="1076"/>
          <ac:spMkLst>
            <pc:docMk/>
            <pc:sldMk cId="1798892573" sldId="259"/>
            <ac:spMk id="3" creationId="{72F50F43-487E-FA5A-D797-8C5769174FAA}"/>
          </ac:spMkLst>
        </pc:spChg>
        <pc:spChg chg="mod">
          <ac:chgData name="Renata Leite da Silva" userId="47b71ab3-6d7e-48d4-b51d-d52c61ad46ac" providerId="ADAL" clId="{A26BFB71-E7A3-4A29-AB2F-C6CF98456BCA}" dt="2025-11-25T15:41:56.839" v="2999" actId="1076"/>
          <ac:spMkLst>
            <pc:docMk/>
            <pc:sldMk cId="1798892573" sldId="259"/>
            <ac:spMk id="7" creationId="{6242E2F2-6BB4-4B55-1005-13CDD91FD769}"/>
          </ac:spMkLst>
        </pc:spChg>
        <pc:spChg chg="mod">
          <ac:chgData name="Renata Leite da Silva" userId="47b71ab3-6d7e-48d4-b51d-d52c61ad46ac" providerId="ADAL" clId="{A26BFB71-E7A3-4A29-AB2F-C6CF98456BCA}" dt="2025-11-25T16:23:10.352" v="3113" actId="14100"/>
          <ac:spMkLst>
            <pc:docMk/>
            <pc:sldMk cId="1798892573" sldId="259"/>
            <ac:spMk id="8" creationId="{0B79EB26-8E38-4AF5-D419-68A95D614584}"/>
          </ac:spMkLst>
        </pc:spChg>
        <pc:grpChg chg="mod">
          <ac:chgData name="Renata Leite da Silva" userId="47b71ab3-6d7e-48d4-b51d-d52c61ad46ac" providerId="ADAL" clId="{A26BFB71-E7A3-4A29-AB2F-C6CF98456BCA}" dt="2025-11-25T16:23:14.914" v="3114" actId="14100"/>
          <ac:grpSpMkLst>
            <pc:docMk/>
            <pc:sldMk cId="1798892573" sldId="259"/>
            <ac:grpSpMk id="9" creationId="{F4E8A2FC-FA2C-426A-728B-EF407070D765}"/>
          </ac:grpSpMkLst>
        </pc:grpChg>
        <pc:graphicFrameChg chg="mod modGraphic">
          <ac:chgData name="Renata Leite da Silva" userId="47b71ab3-6d7e-48d4-b51d-d52c61ad46ac" providerId="ADAL" clId="{A26BFB71-E7A3-4A29-AB2F-C6CF98456BCA}" dt="2025-11-27T12:24:19.821" v="4124" actId="20577"/>
          <ac:graphicFrameMkLst>
            <pc:docMk/>
            <pc:sldMk cId="1798892573" sldId="259"/>
            <ac:graphicFrameMk id="13" creationId="{6310CFBB-492E-A482-5D5C-B74232028959}"/>
          </ac:graphicFrameMkLst>
        </pc:graphicFrameChg>
        <pc:picChg chg="mod">
          <ac:chgData name="Renata Leite da Silva" userId="47b71ab3-6d7e-48d4-b51d-d52c61ad46ac" providerId="ADAL" clId="{A26BFB71-E7A3-4A29-AB2F-C6CF98456BCA}" dt="2025-11-24T22:52:13.892" v="2549" actId="14100"/>
          <ac:picMkLst>
            <pc:docMk/>
            <pc:sldMk cId="1798892573" sldId="259"/>
            <ac:picMk id="12" creationId="{EA9BAE46-2481-F215-7ABA-DBB3B1E36949}"/>
          </ac:picMkLst>
        </pc:picChg>
      </pc:sldChg>
      <pc:sldChg chg="delSp modSp mod ord modCm">
        <pc:chgData name="Renata Leite da Silva" userId="47b71ab3-6d7e-48d4-b51d-d52c61ad46ac" providerId="ADAL" clId="{A26BFB71-E7A3-4A29-AB2F-C6CF98456BCA}" dt="2025-11-26T20:58:18.012" v="4016" actId="207"/>
        <pc:sldMkLst>
          <pc:docMk/>
          <pc:sldMk cId="939469080" sldId="261"/>
        </pc:sldMkLst>
        <pc:spChg chg="mod">
          <ac:chgData name="Renata Leite da Silva" userId="47b71ab3-6d7e-48d4-b51d-d52c61ad46ac" providerId="ADAL" clId="{A26BFB71-E7A3-4A29-AB2F-C6CF98456BCA}" dt="2025-11-26T20:58:00.097" v="4015" actId="6549"/>
          <ac:spMkLst>
            <pc:docMk/>
            <pc:sldMk cId="939469080" sldId="261"/>
            <ac:spMk id="2" creationId="{4E60C1FF-1C1A-97DB-E30E-89208241BC27}"/>
          </ac:spMkLst>
        </pc:spChg>
        <pc:spChg chg="mod">
          <ac:chgData name="Renata Leite da Silva" userId="47b71ab3-6d7e-48d4-b51d-d52c61ad46ac" providerId="ADAL" clId="{A26BFB71-E7A3-4A29-AB2F-C6CF98456BCA}" dt="2025-11-26T09:23:19.246" v="3564" actId="1076"/>
          <ac:spMkLst>
            <pc:docMk/>
            <pc:sldMk cId="939469080" sldId="261"/>
            <ac:spMk id="3" creationId="{CF71EFB8-1E76-DFD5-2E42-93C5428E280C}"/>
          </ac:spMkLst>
        </pc:spChg>
        <pc:spChg chg="mod">
          <ac:chgData name="Renata Leite da Silva" userId="47b71ab3-6d7e-48d4-b51d-d52c61ad46ac" providerId="ADAL" clId="{A26BFB71-E7A3-4A29-AB2F-C6CF98456BCA}" dt="2025-11-26T10:31:29.585" v="3805"/>
          <ac:spMkLst>
            <pc:docMk/>
            <pc:sldMk cId="939469080" sldId="261"/>
            <ac:spMk id="8" creationId="{F5357453-6BA3-1689-84C5-2AAE6A587F39}"/>
          </ac:spMkLst>
        </pc:spChg>
        <pc:spChg chg="mod">
          <ac:chgData name="Renata Leite da Silva" userId="47b71ab3-6d7e-48d4-b51d-d52c61ad46ac" providerId="ADAL" clId="{A26BFB71-E7A3-4A29-AB2F-C6CF98456BCA}" dt="2025-11-21T19:25:57.859" v="654" actId="1076"/>
          <ac:spMkLst>
            <pc:docMk/>
            <pc:sldMk cId="939469080" sldId="261"/>
            <ac:spMk id="9" creationId="{78B08385-E38B-1D9C-E7E8-8D5C7D11167E}"/>
          </ac:spMkLst>
        </pc:spChg>
        <pc:spChg chg="mod">
          <ac:chgData name="Renata Leite da Silva" userId="47b71ab3-6d7e-48d4-b51d-d52c61ad46ac" providerId="ADAL" clId="{A26BFB71-E7A3-4A29-AB2F-C6CF98456BCA}" dt="2025-11-26T20:13:11.990" v="3966" actId="6549"/>
          <ac:spMkLst>
            <pc:docMk/>
            <pc:sldMk cId="939469080" sldId="261"/>
            <ac:spMk id="11" creationId="{0897597C-990B-2D7B-01AB-63AF47435766}"/>
          </ac:spMkLst>
        </pc:spChg>
        <pc:spChg chg="mod">
          <ac:chgData name="Renata Leite da Silva" userId="47b71ab3-6d7e-48d4-b51d-d52c61ad46ac" providerId="ADAL" clId="{A26BFB71-E7A3-4A29-AB2F-C6CF98456BCA}" dt="2025-11-26T20:58:18.012" v="4016" actId="207"/>
          <ac:spMkLst>
            <pc:docMk/>
            <pc:sldMk cId="939469080" sldId="261"/>
            <ac:spMk id="15" creationId="{4ED9F4D7-35CC-C192-DFE8-E6A88D8F7DDD}"/>
          </ac:spMkLst>
        </pc:spChg>
        <pc:spChg chg="mod">
          <ac:chgData name="Renata Leite da Silva" userId="47b71ab3-6d7e-48d4-b51d-d52c61ad46ac" providerId="ADAL" clId="{A26BFB71-E7A3-4A29-AB2F-C6CF98456BCA}" dt="2025-11-26T20:14:55.644" v="3968" actId="20577"/>
          <ac:spMkLst>
            <pc:docMk/>
            <pc:sldMk cId="939469080" sldId="261"/>
            <ac:spMk id="20" creationId="{9D7E3CBC-AFC9-D28D-E705-575551AC1CC8}"/>
          </ac:spMkLst>
        </pc:spChg>
        <pc:spChg chg="mod">
          <ac:chgData name="Renata Leite da Silva" userId="47b71ab3-6d7e-48d4-b51d-d52c61ad46ac" providerId="ADAL" clId="{A26BFB71-E7A3-4A29-AB2F-C6CF98456BCA}" dt="2025-11-26T10:31:59.787" v="3806"/>
          <ac:spMkLst>
            <pc:docMk/>
            <pc:sldMk cId="939469080" sldId="261"/>
            <ac:spMk id="23" creationId="{15AB79A1-15EC-D55D-A9F5-8C484DC83610}"/>
          </ac:spMkLst>
        </pc:spChg>
        <pc:spChg chg="mod">
          <ac:chgData name="Renata Leite da Silva" userId="47b71ab3-6d7e-48d4-b51d-d52c61ad46ac" providerId="ADAL" clId="{A26BFB71-E7A3-4A29-AB2F-C6CF98456BCA}" dt="2025-11-23T13:34:39.813" v="1116" actId="6549"/>
          <ac:spMkLst>
            <pc:docMk/>
            <pc:sldMk cId="939469080" sldId="261"/>
            <ac:spMk id="30" creationId="{BEB1D585-D2C4-7D4F-8148-FF8F498919BD}"/>
          </ac:spMkLst>
        </pc:spChg>
        <pc:spChg chg="mod">
          <ac:chgData name="Renata Leite da Silva" userId="47b71ab3-6d7e-48d4-b51d-d52c61ad46ac" providerId="ADAL" clId="{A26BFB71-E7A3-4A29-AB2F-C6CF98456BCA}" dt="2025-11-26T20:16:21.296" v="3978" actId="6549"/>
          <ac:spMkLst>
            <pc:docMk/>
            <pc:sldMk cId="939469080" sldId="261"/>
            <ac:spMk id="31" creationId="{F9CBFE12-2B99-5C8D-2A41-9FBAD1B369A6}"/>
          </ac:spMkLst>
        </pc:spChg>
        <pc:spChg chg="mod">
          <ac:chgData name="Renata Leite da Silva" userId="47b71ab3-6d7e-48d4-b51d-d52c61ad46ac" providerId="ADAL" clId="{A26BFB71-E7A3-4A29-AB2F-C6CF98456BCA}" dt="2025-11-26T20:15:31.638" v="3972" actId="6549"/>
          <ac:spMkLst>
            <pc:docMk/>
            <pc:sldMk cId="939469080" sldId="261"/>
            <ac:spMk id="32" creationId="{C8AF4828-C878-8498-AEF2-C109D4882D07}"/>
          </ac:spMkLst>
        </pc:spChg>
        <pc:spChg chg="mod">
          <ac:chgData name="Renata Leite da Silva" userId="47b71ab3-6d7e-48d4-b51d-d52c61ad46ac" providerId="ADAL" clId="{A26BFB71-E7A3-4A29-AB2F-C6CF98456BCA}" dt="2025-11-26T11:29:02.519" v="3808" actId="1076"/>
          <ac:spMkLst>
            <pc:docMk/>
            <pc:sldMk cId="939469080" sldId="261"/>
            <ac:spMk id="35" creationId="{236B2462-7D9C-FB43-AC0C-54E34E0B7EE1}"/>
          </ac:spMkLst>
        </pc:spChg>
        <pc:picChg chg="mod">
          <ac:chgData name="Renata Leite da Silva" userId="47b71ab3-6d7e-48d4-b51d-d52c61ad46ac" providerId="ADAL" clId="{A26BFB71-E7A3-4A29-AB2F-C6CF98456BCA}" dt="2025-11-23T17:16:40.034" v="1596" actId="14826"/>
          <ac:picMkLst>
            <pc:docMk/>
            <pc:sldMk cId="939469080" sldId="261"/>
            <ac:picMk id="10" creationId="{32D6A0AF-2C4A-4789-671B-7B3119461479}"/>
          </ac:picMkLst>
        </pc:picChg>
        <pc:picChg chg="mod">
          <ac:chgData name="Renata Leite da Silva" userId="47b71ab3-6d7e-48d4-b51d-d52c61ad46ac" providerId="ADAL" clId="{A26BFB71-E7A3-4A29-AB2F-C6CF98456BCA}" dt="2025-11-21T19:16:15.008" v="602" actId="1076"/>
          <ac:picMkLst>
            <pc:docMk/>
            <pc:sldMk cId="939469080" sldId="261"/>
            <ac:picMk id="13" creationId="{E6C33415-6534-7D6D-72F3-BE828BC9AA4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Renata Leite da Silva" userId="47b71ab3-6d7e-48d4-b51d-d52c61ad46ac" providerId="ADAL" clId="{A26BFB71-E7A3-4A29-AB2F-C6CF98456BCA}" dt="2025-11-17T13:18:35.342" v="224" actId="20577"/>
              <pc2:cmMkLst xmlns:pc2="http://schemas.microsoft.com/office/powerpoint/2019/9/main/command">
                <pc:docMk/>
                <pc:sldMk cId="939469080" sldId="261"/>
                <pc2:cmMk id="{F382EC4C-826D-41F7-81B4-735C4D55932D}"/>
              </pc2:cmMkLst>
            </pc226:cmChg>
          </p:ext>
        </pc:extLst>
      </pc:sldChg>
      <pc:sldChg chg="addSp delSp modSp mod setBg modShow">
        <pc:chgData name="Renata Leite da Silva" userId="47b71ab3-6d7e-48d4-b51d-d52c61ad46ac" providerId="ADAL" clId="{A26BFB71-E7A3-4A29-AB2F-C6CF98456BCA}" dt="2025-11-26T09:17:23.791" v="3562" actId="1076"/>
        <pc:sldMkLst>
          <pc:docMk/>
          <pc:sldMk cId="3474462501" sldId="262"/>
        </pc:sldMkLst>
        <pc:spChg chg="mod">
          <ac:chgData name="Renata Leite da Silva" userId="47b71ab3-6d7e-48d4-b51d-d52c61ad46ac" providerId="ADAL" clId="{A26BFB71-E7A3-4A29-AB2F-C6CF98456BCA}" dt="2025-11-23T19:55:52.182" v="2137" actId="2711"/>
          <ac:spMkLst>
            <pc:docMk/>
            <pc:sldMk cId="3474462501" sldId="262"/>
            <ac:spMk id="2" creationId="{A97A715C-31E9-F31C-2F4F-D849C01943CE}"/>
          </ac:spMkLst>
        </pc:spChg>
        <pc:spChg chg="mod">
          <ac:chgData name="Renata Leite da Silva" userId="47b71ab3-6d7e-48d4-b51d-d52c61ad46ac" providerId="ADAL" clId="{A26BFB71-E7A3-4A29-AB2F-C6CF98456BCA}" dt="2025-11-21T16:00:19.616" v="372" actId="1076"/>
          <ac:spMkLst>
            <pc:docMk/>
            <pc:sldMk cId="3474462501" sldId="262"/>
            <ac:spMk id="6" creationId="{D3A18FA6-2E59-3EBF-90FA-C1DE39379FA7}"/>
          </ac:spMkLst>
        </pc:spChg>
        <pc:spChg chg="mod">
          <ac:chgData name="Renata Leite da Silva" userId="47b71ab3-6d7e-48d4-b51d-d52c61ad46ac" providerId="ADAL" clId="{A26BFB71-E7A3-4A29-AB2F-C6CF98456BCA}" dt="2025-11-23T17:23:57.632" v="1625" actId="207"/>
          <ac:spMkLst>
            <pc:docMk/>
            <pc:sldMk cId="3474462501" sldId="262"/>
            <ac:spMk id="11" creationId="{AA939159-BBBB-9CB2-1D9E-2530CC3EAD5C}"/>
          </ac:spMkLst>
        </pc:spChg>
        <pc:picChg chg="add mod">
          <ac:chgData name="Renata Leite da Silva" userId="47b71ab3-6d7e-48d4-b51d-d52c61ad46ac" providerId="ADAL" clId="{A26BFB71-E7A3-4A29-AB2F-C6CF98456BCA}" dt="2025-11-23T17:20:11.802" v="1608" actId="1076"/>
          <ac:picMkLst>
            <pc:docMk/>
            <pc:sldMk cId="3474462501" sldId="262"/>
            <ac:picMk id="3" creationId="{492C07F2-0AAA-2E8E-BDFD-2C5047029A08}"/>
          </ac:picMkLst>
        </pc:picChg>
        <pc:picChg chg="mod">
          <ac:chgData name="Renata Leite da Silva" userId="47b71ab3-6d7e-48d4-b51d-d52c61ad46ac" providerId="ADAL" clId="{A26BFB71-E7A3-4A29-AB2F-C6CF98456BCA}" dt="2025-11-26T09:17:23.791" v="3562" actId="1076"/>
          <ac:picMkLst>
            <pc:docMk/>
            <pc:sldMk cId="3474462501" sldId="262"/>
            <ac:picMk id="7" creationId="{174EDA67-8022-A698-5905-DE944563C8E7}"/>
          </ac:picMkLst>
        </pc:picChg>
      </pc:sldChg>
      <pc:sldChg chg="addSp delSp modSp add del mod modShow">
        <pc:chgData name="Renata Leite da Silva" userId="47b71ab3-6d7e-48d4-b51d-d52c61ad46ac" providerId="ADAL" clId="{A26BFB71-E7A3-4A29-AB2F-C6CF98456BCA}" dt="2025-11-26T09:18:28.200" v="3563" actId="2696"/>
        <pc:sldMkLst>
          <pc:docMk/>
          <pc:sldMk cId="3341602616" sldId="263"/>
        </pc:sldMkLst>
      </pc:sldChg>
      <pc:sldChg chg="addSp delSp modSp add mod">
        <pc:chgData name="Renata Leite da Silva" userId="47b71ab3-6d7e-48d4-b51d-d52c61ad46ac" providerId="ADAL" clId="{A26BFB71-E7A3-4A29-AB2F-C6CF98456BCA}" dt="2025-11-26T09:28:14.747" v="3579" actId="478"/>
        <pc:sldMkLst>
          <pc:docMk/>
          <pc:sldMk cId="1602518188" sldId="264"/>
        </pc:sldMkLst>
        <pc:spChg chg="add mod">
          <ac:chgData name="Renata Leite da Silva" userId="47b71ab3-6d7e-48d4-b51d-d52c61ad46ac" providerId="ADAL" clId="{A26BFB71-E7A3-4A29-AB2F-C6CF98456BCA}" dt="2025-11-24T12:18:46.239" v="2218" actId="1076"/>
          <ac:spMkLst>
            <pc:docMk/>
            <pc:sldMk cId="1602518188" sldId="264"/>
            <ac:spMk id="2" creationId="{60CAA952-88AC-BD10-4F45-680A463B35B9}"/>
          </ac:spMkLst>
        </pc:spChg>
        <pc:spChg chg="mod">
          <ac:chgData name="Renata Leite da Silva" userId="47b71ab3-6d7e-48d4-b51d-d52c61ad46ac" providerId="ADAL" clId="{A26BFB71-E7A3-4A29-AB2F-C6CF98456BCA}" dt="2025-11-24T12:22:37.093" v="2237" actId="1076"/>
          <ac:spMkLst>
            <pc:docMk/>
            <pc:sldMk cId="1602518188" sldId="264"/>
            <ac:spMk id="3" creationId="{133F0AD4-FF55-8928-3763-7289E834F3B9}"/>
          </ac:spMkLst>
        </pc:spChg>
        <pc:spChg chg="mod">
          <ac:chgData name="Renata Leite da Silva" userId="47b71ab3-6d7e-48d4-b51d-d52c61ad46ac" providerId="ADAL" clId="{A26BFB71-E7A3-4A29-AB2F-C6CF98456BCA}" dt="2025-11-24T12:22:40.240" v="2238" actId="1076"/>
          <ac:spMkLst>
            <pc:docMk/>
            <pc:sldMk cId="1602518188" sldId="264"/>
            <ac:spMk id="4" creationId="{8A76ED41-41F4-913C-F3CC-D218E75AB067}"/>
          </ac:spMkLst>
        </pc:spChg>
        <pc:spChg chg="mod">
          <ac:chgData name="Renata Leite da Silva" userId="47b71ab3-6d7e-48d4-b51d-d52c61ad46ac" providerId="ADAL" clId="{A26BFB71-E7A3-4A29-AB2F-C6CF98456BCA}" dt="2025-11-24T12:21:16.804" v="2223" actId="1036"/>
          <ac:spMkLst>
            <pc:docMk/>
            <pc:sldMk cId="1602518188" sldId="264"/>
            <ac:spMk id="6" creationId="{AF0763B4-7E85-BFE5-0FFB-829EE1DB35C4}"/>
          </ac:spMkLst>
        </pc:spChg>
        <pc:spChg chg="mod">
          <ac:chgData name="Renata Leite da Silva" userId="47b71ab3-6d7e-48d4-b51d-d52c61ad46ac" providerId="ADAL" clId="{A26BFB71-E7A3-4A29-AB2F-C6CF98456BCA}" dt="2025-11-24T12:21:38.634" v="2227" actId="14100"/>
          <ac:spMkLst>
            <pc:docMk/>
            <pc:sldMk cId="1602518188" sldId="264"/>
            <ac:spMk id="19" creationId="{E341D47C-4DAF-6CCD-3DC9-C6FE62C88A93}"/>
          </ac:spMkLst>
        </pc:spChg>
        <pc:spChg chg="mod">
          <ac:chgData name="Renata Leite da Silva" userId="47b71ab3-6d7e-48d4-b51d-d52c61ad46ac" providerId="ADAL" clId="{A26BFB71-E7A3-4A29-AB2F-C6CF98456BCA}" dt="2025-11-24T12:21:31.414" v="2225" actId="1076"/>
          <ac:spMkLst>
            <pc:docMk/>
            <pc:sldMk cId="1602518188" sldId="264"/>
            <ac:spMk id="22" creationId="{B5ABED9A-B9E4-B612-4DED-370E4EB94B7D}"/>
          </ac:spMkLst>
        </pc:spChg>
        <pc:spChg chg="mod">
          <ac:chgData name="Renata Leite da Silva" userId="47b71ab3-6d7e-48d4-b51d-d52c61ad46ac" providerId="ADAL" clId="{A26BFB71-E7A3-4A29-AB2F-C6CF98456BCA}" dt="2025-11-24T12:21:34.373" v="2226" actId="1076"/>
          <ac:spMkLst>
            <pc:docMk/>
            <pc:sldMk cId="1602518188" sldId="264"/>
            <ac:spMk id="23" creationId="{C3C6FAD7-3F23-C586-E351-B7046F8B8DBC}"/>
          </ac:spMkLst>
        </pc:spChg>
        <pc:spChg chg="mod">
          <ac:chgData name="Renata Leite da Silva" userId="47b71ab3-6d7e-48d4-b51d-d52c61ad46ac" providerId="ADAL" clId="{A26BFB71-E7A3-4A29-AB2F-C6CF98456BCA}" dt="2025-11-24T12:21:42.486" v="2228" actId="1076"/>
          <ac:spMkLst>
            <pc:docMk/>
            <pc:sldMk cId="1602518188" sldId="264"/>
            <ac:spMk id="24" creationId="{878C972A-5C62-7015-259B-919E4D70D6E6}"/>
          </ac:spMkLst>
        </pc:spChg>
        <pc:spChg chg="mod">
          <ac:chgData name="Renata Leite da Silva" userId="47b71ab3-6d7e-48d4-b51d-d52c61ad46ac" providerId="ADAL" clId="{A26BFB71-E7A3-4A29-AB2F-C6CF98456BCA}" dt="2025-11-24T12:22:01.199" v="2233" actId="1076"/>
          <ac:spMkLst>
            <pc:docMk/>
            <pc:sldMk cId="1602518188" sldId="264"/>
            <ac:spMk id="25" creationId="{BEEC01C1-B743-A0EA-DFBD-B79BEBAC7A9D}"/>
          </ac:spMkLst>
        </pc:spChg>
        <pc:spChg chg="mod">
          <ac:chgData name="Renata Leite da Silva" userId="47b71ab3-6d7e-48d4-b51d-d52c61ad46ac" providerId="ADAL" clId="{A26BFB71-E7A3-4A29-AB2F-C6CF98456BCA}" dt="2025-11-24T12:21:52.687" v="2231" actId="1076"/>
          <ac:spMkLst>
            <pc:docMk/>
            <pc:sldMk cId="1602518188" sldId="264"/>
            <ac:spMk id="26" creationId="{F0A35B46-7004-B921-04EB-23FFAF5FDD1A}"/>
          </ac:spMkLst>
        </pc:spChg>
        <pc:spChg chg="mod">
          <ac:chgData name="Renata Leite da Silva" userId="47b71ab3-6d7e-48d4-b51d-d52c61ad46ac" providerId="ADAL" clId="{A26BFB71-E7A3-4A29-AB2F-C6CF98456BCA}" dt="2025-11-24T12:21:48.186" v="2230" actId="1076"/>
          <ac:spMkLst>
            <pc:docMk/>
            <pc:sldMk cId="1602518188" sldId="264"/>
            <ac:spMk id="27" creationId="{A6092533-4488-A91A-A3B9-D3E3A2368046}"/>
          </ac:spMkLst>
        </pc:spChg>
        <pc:spChg chg="mod">
          <ac:chgData name="Renata Leite da Silva" userId="47b71ab3-6d7e-48d4-b51d-d52c61ad46ac" providerId="ADAL" clId="{A26BFB71-E7A3-4A29-AB2F-C6CF98456BCA}" dt="2025-11-24T12:21:55.827" v="2232" actId="1076"/>
          <ac:spMkLst>
            <pc:docMk/>
            <pc:sldMk cId="1602518188" sldId="264"/>
            <ac:spMk id="28" creationId="{0C70DB93-0EDF-1C66-8771-E48FA0A1BBF4}"/>
          </ac:spMkLst>
        </pc:spChg>
        <pc:spChg chg="mod">
          <ac:chgData name="Renata Leite da Silva" userId="47b71ab3-6d7e-48d4-b51d-d52c61ad46ac" providerId="ADAL" clId="{A26BFB71-E7A3-4A29-AB2F-C6CF98456BCA}" dt="2025-11-24T12:21:45.047" v="2229" actId="1076"/>
          <ac:spMkLst>
            <pc:docMk/>
            <pc:sldMk cId="1602518188" sldId="264"/>
            <ac:spMk id="30" creationId="{BE2D99F1-D0D7-8DB3-F8DD-F07BEB2DD1E5}"/>
          </ac:spMkLst>
        </pc:spChg>
        <pc:picChg chg="add del mod">
          <ac:chgData name="Renata Leite da Silva" userId="47b71ab3-6d7e-48d4-b51d-d52c61ad46ac" providerId="ADAL" clId="{A26BFB71-E7A3-4A29-AB2F-C6CF98456BCA}" dt="2025-11-26T09:28:14.747" v="3579" actId="478"/>
          <ac:picMkLst>
            <pc:docMk/>
            <pc:sldMk cId="1602518188" sldId="264"/>
            <ac:picMk id="5" creationId="{F3FA0DDA-18D7-B16D-F7DC-CC23E1EBADF2}"/>
          </ac:picMkLst>
        </pc:picChg>
        <pc:picChg chg="mod">
          <ac:chgData name="Renata Leite da Silva" userId="47b71ab3-6d7e-48d4-b51d-d52c61ad46ac" providerId="ADAL" clId="{A26BFB71-E7A3-4A29-AB2F-C6CF98456BCA}" dt="2025-11-24T12:19:29.527" v="2222" actId="1076"/>
          <ac:picMkLst>
            <pc:docMk/>
            <pc:sldMk cId="1602518188" sldId="264"/>
            <ac:picMk id="9" creationId="{CF85A115-3407-ADEB-FB13-352214B1DE6C}"/>
          </ac:picMkLst>
        </pc:picChg>
      </pc:sldChg>
      <pc:sldChg chg="add del">
        <pc:chgData name="Renata Leite da Silva" userId="47b71ab3-6d7e-48d4-b51d-d52c61ad46ac" providerId="ADAL" clId="{A26BFB71-E7A3-4A29-AB2F-C6CF98456BCA}" dt="2025-11-25T13:35:09.727" v="2922" actId="47"/>
        <pc:sldMkLst>
          <pc:docMk/>
          <pc:sldMk cId="3059670803" sldId="275"/>
        </pc:sldMkLst>
      </pc:sldChg>
      <pc:sldChg chg="addSp delSp modSp add del mod modClrScheme chgLayout">
        <pc:chgData name="Renata Leite da Silva" userId="47b71ab3-6d7e-48d4-b51d-d52c61ad46ac" providerId="ADAL" clId="{A26BFB71-E7A3-4A29-AB2F-C6CF98456BCA}" dt="2025-11-25T23:20:44.501" v="3508" actId="20577"/>
        <pc:sldMkLst>
          <pc:docMk/>
          <pc:sldMk cId="2653727919" sldId="279"/>
        </pc:sldMkLst>
        <pc:spChg chg="mod">
          <ac:chgData name="Renata Leite da Silva" userId="47b71ab3-6d7e-48d4-b51d-d52c61ad46ac" providerId="ADAL" clId="{A26BFB71-E7A3-4A29-AB2F-C6CF98456BCA}" dt="2025-11-25T23:20:44.501" v="3508" actId="20577"/>
          <ac:spMkLst>
            <pc:docMk/>
            <pc:sldMk cId="2653727919" sldId="279"/>
            <ac:spMk id="9" creationId="{551AF77A-1BAE-E9D0-F725-1776C4C25BFE}"/>
          </ac:spMkLst>
        </pc:spChg>
        <pc:picChg chg="add mod">
          <ac:chgData name="Renata Leite da Silva" userId="47b71ab3-6d7e-48d4-b51d-d52c61ad46ac" providerId="ADAL" clId="{A26BFB71-E7A3-4A29-AB2F-C6CF98456BCA}" dt="2025-11-23T19:48:20.416" v="2079"/>
          <ac:picMkLst>
            <pc:docMk/>
            <pc:sldMk cId="2653727919" sldId="279"/>
            <ac:picMk id="2" creationId="{E6BF2654-E078-7527-44D9-22CDFE6CC86F}"/>
          </ac:picMkLst>
        </pc:picChg>
      </pc:sldChg>
      <pc:sldChg chg="modSp add del mod">
        <pc:chgData name="Renata Leite da Silva" userId="47b71ab3-6d7e-48d4-b51d-d52c61ad46ac" providerId="ADAL" clId="{A26BFB71-E7A3-4A29-AB2F-C6CF98456BCA}" dt="2025-11-26T20:23:18.654" v="3980" actId="47"/>
        <pc:sldMkLst>
          <pc:docMk/>
          <pc:sldMk cId="4051705746" sldId="283"/>
        </pc:sldMkLst>
        <pc:spChg chg="mod">
          <ac:chgData name="Renata Leite da Silva" userId="47b71ab3-6d7e-48d4-b51d-d52c61ad46ac" providerId="ADAL" clId="{A26BFB71-E7A3-4A29-AB2F-C6CF98456BCA}" dt="2025-11-26T18:51:25.204" v="3926" actId="20577"/>
          <ac:spMkLst>
            <pc:docMk/>
            <pc:sldMk cId="4051705746" sldId="283"/>
            <ac:spMk id="27" creationId="{A98F3E63-7ECF-77A2-5470-AC1490AD6C44}"/>
          </ac:spMkLst>
        </pc:spChg>
      </pc:sldChg>
      <pc:sldChg chg="addSp modSp add mod ord">
        <pc:chgData name="Renata Leite da Silva" userId="47b71ab3-6d7e-48d4-b51d-d52c61ad46ac" providerId="ADAL" clId="{A26BFB71-E7A3-4A29-AB2F-C6CF98456BCA}" dt="2025-11-27T17:04:05.687" v="4177" actId="1076"/>
        <pc:sldMkLst>
          <pc:docMk/>
          <pc:sldMk cId="1231827039" sldId="292"/>
        </pc:sldMkLst>
        <pc:spChg chg="mod">
          <ac:chgData name="Renata Leite da Silva" userId="47b71ab3-6d7e-48d4-b51d-d52c61ad46ac" providerId="ADAL" clId="{A26BFB71-E7A3-4A29-AB2F-C6CF98456BCA}" dt="2025-11-26T00:20:50.339" v="3561" actId="1076"/>
          <ac:spMkLst>
            <pc:docMk/>
            <pc:sldMk cId="1231827039" sldId="292"/>
            <ac:spMk id="3" creationId="{A582DA0E-8191-87F7-DA11-A4554F59E8FE}"/>
          </ac:spMkLst>
        </pc:spChg>
        <pc:spChg chg="add mod">
          <ac:chgData name="Renata Leite da Silva" userId="47b71ab3-6d7e-48d4-b51d-d52c61ad46ac" providerId="ADAL" clId="{A26BFB71-E7A3-4A29-AB2F-C6CF98456BCA}" dt="2025-11-24T12:18:21.983" v="2210"/>
          <ac:spMkLst>
            <pc:docMk/>
            <pc:sldMk cId="1231827039" sldId="292"/>
            <ac:spMk id="7" creationId="{4CA3C483-BD0B-AD11-90ED-C23022BDB311}"/>
          </ac:spMkLst>
        </pc:spChg>
        <pc:spChg chg="add mod">
          <ac:chgData name="Renata Leite da Silva" userId="47b71ab3-6d7e-48d4-b51d-d52c61ad46ac" providerId="ADAL" clId="{A26BFB71-E7A3-4A29-AB2F-C6CF98456BCA}" dt="2025-11-27T17:04:05.687" v="4177" actId="1076"/>
          <ac:spMkLst>
            <pc:docMk/>
            <pc:sldMk cId="1231827039" sldId="292"/>
            <ac:spMk id="11" creationId="{0E036503-690B-7742-15AB-3E3542CBBD51}"/>
          </ac:spMkLst>
        </pc:spChg>
        <pc:spChg chg="mod">
          <ac:chgData name="Renata Leite da Silva" userId="47b71ab3-6d7e-48d4-b51d-d52c61ad46ac" providerId="ADAL" clId="{A26BFB71-E7A3-4A29-AB2F-C6CF98456BCA}" dt="2025-11-27T17:03:31.855" v="4174" actId="255"/>
          <ac:spMkLst>
            <pc:docMk/>
            <pc:sldMk cId="1231827039" sldId="292"/>
            <ac:spMk id="13" creationId="{1752F68E-70B2-EDE2-1CD1-7BD112A38513}"/>
          </ac:spMkLst>
        </pc:spChg>
        <pc:spChg chg="mod">
          <ac:chgData name="Renata Leite da Silva" userId="47b71ab3-6d7e-48d4-b51d-d52c61ad46ac" providerId="ADAL" clId="{A26BFB71-E7A3-4A29-AB2F-C6CF98456BCA}" dt="2025-11-26T14:59:52.007" v="3920" actId="6549"/>
          <ac:spMkLst>
            <pc:docMk/>
            <pc:sldMk cId="1231827039" sldId="292"/>
            <ac:spMk id="42" creationId="{8B403513-AF40-E7BA-D516-93DB9E28BA3D}"/>
          </ac:spMkLst>
        </pc:spChg>
        <pc:spChg chg="mod">
          <ac:chgData name="Renata Leite da Silva" userId="47b71ab3-6d7e-48d4-b51d-d52c61ad46ac" providerId="ADAL" clId="{A26BFB71-E7A3-4A29-AB2F-C6CF98456BCA}" dt="2025-11-26T21:14:45.486" v="4023" actId="113"/>
          <ac:spMkLst>
            <pc:docMk/>
            <pc:sldMk cId="1231827039" sldId="292"/>
            <ac:spMk id="102" creationId="{85818FCD-0A27-3B97-3985-AC4D97133E70}"/>
          </ac:spMkLst>
        </pc:spChg>
        <pc:grpChg chg="mod">
          <ac:chgData name="Renata Leite da Silva" userId="47b71ab3-6d7e-48d4-b51d-d52c61ad46ac" providerId="ADAL" clId="{A26BFB71-E7A3-4A29-AB2F-C6CF98456BCA}" dt="2025-11-24T12:26:15.399" v="2258" actId="14100"/>
          <ac:grpSpMkLst>
            <pc:docMk/>
            <pc:sldMk cId="1231827039" sldId="292"/>
            <ac:grpSpMk id="75" creationId="{0AEDA938-ECC8-FAFB-67DC-F9E1C008E5CE}"/>
          </ac:grpSpMkLst>
        </pc:grpChg>
        <pc:picChg chg="mod">
          <ac:chgData name="Renata Leite da Silva" userId="47b71ab3-6d7e-48d4-b51d-d52c61ad46ac" providerId="ADAL" clId="{A26BFB71-E7A3-4A29-AB2F-C6CF98456BCA}" dt="2025-11-24T12:26:27.920" v="2259" actId="1076"/>
          <ac:picMkLst>
            <pc:docMk/>
            <pc:sldMk cId="1231827039" sldId="292"/>
            <ac:picMk id="5" creationId="{031E9303-F1F9-D98B-EA01-C58552AC20D2}"/>
          </ac:picMkLst>
        </pc:picChg>
        <pc:picChg chg="add mod">
          <ac:chgData name="Renata Leite da Silva" userId="47b71ab3-6d7e-48d4-b51d-d52c61ad46ac" providerId="ADAL" clId="{A26BFB71-E7A3-4A29-AB2F-C6CF98456BCA}" dt="2025-11-21T21:20:55.660" v="920"/>
          <ac:picMkLst>
            <pc:docMk/>
            <pc:sldMk cId="1231827039" sldId="292"/>
            <ac:picMk id="6" creationId="{B115E555-53C4-0983-295B-62D75A188740}"/>
          </ac:picMkLst>
        </pc:picChg>
      </pc:sldChg>
      <pc:sldChg chg="addSp modSp del mod ord modShow">
        <pc:chgData name="Renata Leite da Silva" userId="47b71ab3-6d7e-48d4-b51d-d52c61ad46ac" providerId="ADAL" clId="{A26BFB71-E7A3-4A29-AB2F-C6CF98456BCA}" dt="2025-11-25T19:42:33.378" v="3491" actId="47"/>
        <pc:sldMkLst>
          <pc:docMk/>
          <pc:sldMk cId="2958806639" sldId="294"/>
        </pc:sldMkLst>
      </pc:sldChg>
      <pc:sldChg chg="add del">
        <pc:chgData name="Renata Leite da Silva" userId="47b71ab3-6d7e-48d4-b51d-d52c61ad46ac" providerId="ADAL" clId="{A26BFB71-E7A3-4A29-AB2F-C6CF98456BCA}" dt="2025-11-25T13:35:13.079" v="2923" actId="47"/>
        <pc:sldMkLst>
          <pc:docMk/>
          <pc:sldMk cId="4657013" sldId="295"/>
        </pc:sldMkLst>
      </pc:sldChg>
      <pc:sldChg chg="modSp mod ord setBg">
        <pc:chgData name="Renata Leite da Silva" userId="47b71ab3-6d7e-48d4-b51d-d52c61ad46ac" providerId="ADAL" clId="{A26BFB71-E7A3-4A29-AB2F-C6CF98456BCA}" dt="2025-11-27T18:01:38.459" v="4198" actId="6549"/>
        <pc:sldMkLst>
          <pc:docMk/>
          <pc:sldMk cId="4243523648" sldId="410"/>
        </pc:sldMkLst>
        <pc:spChg chg="mod">
          <ac:chgData name="Renata Leite da Silva" userId="47b71ab3-6d7e-48d4-b51d-d52c61ad46ac" providerId="ADAL" clId="{A26BFB71-E7A3-4A29-AB2F-C6CF98456BCA}" dt="2025-11-27T18:01:33.273" v="4194" actId="6549"/>
          <ac:spMkLst>
            <pc:docMk/>
            <pc:sldMk cId="4243523648" sldId="410"/>
            <ac:spMk id="2" creationId="{56F8A802-A460-D67E-7560-15FC67F41C3B}"/>
          </ac:spMkLst>
        </pc:spChg>
        <pc:spChg chg="mod">
          <ac:chgData name="Renata Leite da Silva" userId="47b71ab3-6d7e-48d4-b51d-d52c61ad46ac" providerId="ADAL" clId="{A26BFB71-E7A3-4A29-AB2F-C6CF98456BCA}" dt="2025-11-26T19:53:46.374" v="3962" actId="13926"/>
          <ac:spMkLst>
            <pc:docMk/>
            <pc:sldMk cId="4243523648" sldId="410"/>
            <ac:spMk id="4" creationId="{05D44AFE-5A6F-D668-1A2F-F110BE0C7A2A}"/>
          </ac:spMkLst>
        </pc:spChg>
        <pc:spChg chg="mod">
          <ac:chgData name="Renata Leite da Silva" userId="47b71ab3-6d7e-48d4-b51d-d52c61ad46ac" providerId="ADAL" clId="{A26BFB71-E7A3-4A29-AB2F-C6CF98456BCA}" dt="2025-11-23T17:08:43.435" v="1523" actId="14100"/>
          <ac:spMkLst>
            <pc:docMk/>
            <pc:sldMk cId="4243523648" sldId="410"/>
            <ac:spMk id="9" creationId="{90401BB0-FC0C-5936-361B-C9AE77BCB5A5}"/>
          </ac:spMkLst>
        </pc:spChg>
        <pc:spChg chg="mod">
          <ac:chgData name="Renata Leite da Silva" userId="47b71ab3-6d7e-48d4-b51d-d52c61ad46ac" providerId="ADAL" clId="{A26BFB71-E7A3-4A29-AB2F-C6CF98456BCA}" dt="2025-11-26T20:03:31.116" v="3964" actId="20577"/>
          <ac:spMkLst>
            <pc:docMk/>
            <pc:sldMk cId="4243523648" sldId="410"/>
            <ac:spMk id="51" creationId="{B1F04863-3F4F-D9B7-6EA6-D14DE14C6B45}"/>
          </ac:spMkLst>
        </pc:spChg>
        <pc:spChg chg="mod">
          <ac:chgData name="Renata Leite da Silva" userId="47b71ab3-6d7e-48d4-b51d-d52c61ad46ac" providerId="ADAL" clId="{A26BFB71-E7A3-4A29-AB2F-C6CF98456BCA}" dt="2025-11-25T14:48:25.375" v="2938" actId="1076"/>
          <ac:spMkLst>
            <pc:docMk/>
            <pc:sldMk cId="4243523648" sldId="410"/>
            <ac:spMk id="53" creationId="{C2E67B2F-EFED-85D0-441A-EE701CEB8B5A}"/>
          </ac:spMkLst>
        </pc:spChg>
        <pc:spChg chg="mod">
          <ac:chgData name="Renata Leite da Silva" userId="47b71ab3-6d7e-48d4-b51d-d52c61ad46ac" providerId="ADAL" clId="{A26BFB71-E7A3-4A29-AB2F-C6CF98456BCA}" dt="2025-11-27T18:01:38.459" v="4198" actId="6549"/>
          <ac:spMkLst>
            <pc:docMk/>
            <pc:sldMk cId="4243523648" sldId="410"/>
            <ac:spMk id="54" creationId="{B8BA7165-DD9E-330B-9FD8-531DA7E96D39}"/>
          </ac:spMkLst>
        </pc:spChg>
        <pc:spChg chg="mod">
          <ac:chgData name="Renata Leite da Silva" userId="47b71ab3-6d7e-48d4-b51d-d52c61ad46ac" providerId="ADAL" clId="{A26BFB71-E7A3-4A29-AB2F-C6CF98456BCA}" dt="2025-11-26T15:01:01.979" v="3921" actId="20577"/>
          <ac:spMkLst>
            <pc:docMk/>
            <pc:sldMk cId="4243523648" sldId="410"/>
            <ac:spMk id="58" creationId="{B8310A15-6254-A98B-6A9C-374F359C74F3}"/>
          </ac:spMkLst>
        </pc:spChg>
        <pc:spChg chg="mod">
          <ac:chgData name="Renata Leite da Silva" userId="47b71ab3-6d7e-48d4-b51d-d52c61ad46ac" providerId="ADAL" clId="{A26BFB71-E7A3-4A29-AB2F-C6CF98456BCA}" dt="2025-11-26T09:29:10.113" v="3580" actId="1076"/>
          <ac:spMkLst>
            <pc:docMk/>
            <pc:sldMk cId="4243523648" sldId="410"/>
            <ac:spMk id="77" creationId="{A9ABCFCB-22CC-1C4E-2CFE-0A027E03E59D}"/>
          </ac:spMkLst>
        </pc:spChg>
        <pc:spChg chg="mod">
          <ac:chgData name="Renata Leite da Silva" userId="47b71ab3-6d7e-48d4-b51d-d52c61ad46ac" providerId="ADAL" clId="{A26BFB71-E7A3-4A29-AB2F-C6CF98456BCA}" dt="2025-11-26T09:29:16.084" v="3581" actId="1076"/>
          <ac:spMkLst>
            <pc:docMk/>
            <pc:sldMk cId="4243523648" sldId="410"/>
            <ac:spMk id="78" creationId="{409B5ED9-1112-69D4-E4EC-728942E1402A}"/>
          </ac:spMkLst>
        </pc:spChg>
        <pc:spChg chg="mod">
          <ac:chgData name="Renata Leite da Silva" userId="47b71ab3-6d7e-48d4-b51d-d52c61ad46ac" providerId="ADAL" clId="{A26BFB71-E7A3-4A29-AB2F-C6CF98456BCA}" dt="2025-11-24T21:46:43.645" v="2511" actId="14861"/>
          <ac:spMkLst>
            <pc:docMk/>
            <pc:sldMk cId="4243523648" sldId="410"/>
            <ac:spMk id="81" creationId="{E931DBB9-C241-021B-3157-2DD88D70064A}"/>
          </ac:spMkLst>
        </pc:spChg>
        <pc:spChg chg="mod">
          <ac:chgData name="Renata Leite da Silva" userId="47b71ab3-6d7e-48d4-b51d-d52c61ad46ac" providerId="ADAL" clId="{A26BFB71-E7A3-4A29-AB2F-C6CF98456BCA}" dt="2025-11-23T17:59:45.592" v="1771" actId="14100"/>
          <ac:spMkLst>
            <pc:docMk/>
            <pc:sldMk cId="4243523648" sldId="410"/>
            <ac:spMk id="83" creationId="{D9984EAE-C91A-A5FC-F1BD-D2596F3E7017}"/>
          </ac:spMkLst>
        </pc:spChg>
        <pc:spChg chg="mod">
          <ac:chgData name="Renata Leite da Silva" userId="47b71ab3-6d7e-48d4-b51d-d52c61ad46ac" providerId="ADAL" clId="{A26BFB71-E7A3-4A29-AB2F-C6CF98456BCA}" dt="2025-11-23T18:10:39.192" v="2030" actId="1076"/>
          <ac:spMkLst>
            <pc:docMk/>
            <pc:sldMk cId="4243523648" sldId="410"/>
            <ac:spMk id="86" creationId="{413D2333-2A8C-E8E0-EAFC-8E9896919492}"/>
          </ac:spMkLst>
        </pc:spChg>
        <pc:graphicFrameChg chg="mod">
          <ac:chgData name="Renata Leite da Silva" userId="47b71ab3-6d7e-48d4-b51d-d52c61ad46ac" providerId="ADAL" clId="{A26BFB71-E7A3-4A29-AB2F-C6CF98456BCA}" dt="2025-11-26T19:32:50.099" v="3949"/>
          <ac:graphicFrameMkLst>
            <pc:docMk/>
            <pc:sldMk cId="4243523648" sldId="410"/>
            <ac:graphicFrameMk id="46" creationId="{53E4C93C-8129-9E9D-60D5-2648927C179C}"/>
          </ac:graphicFrameMkLst>
        </pc:graphicFrameChg>
        <pc:graphicFrameChg chg="mod">
          <ac:chgData name="Renata Leite da Silva" userId="47b71ab3-6d7e-48d4-b51d-d52c61ad46ac" providerId="ADAL" clId="{A26BFB71-E7A3-4A29-AB2F-C6CF98456BCA}" dt="2025-11-26T19:31:12.847" v="3939" actId="1076"/>
          <ac:graphicFrameMkLst>
            <pc:docMk/>
            <pc:sldMk cId="4243523648" sldId="410"/>
            <ac:graphicFrameMk id="50" creationId="{3B1C2C71-9916-9E16-61C3-9CF33A80FA1A}"/>
          </ac:graphicFrameMkLst>
        </pc:graphicFrameChg>
        <pc:graphicFrameChg chg="mod">
          <ac:chgData name="Renata Leite da Silva" userId="47b71ab3-6d7e-48d4-b51d-d52c61ad46ac" providerId="ADAL" clId="{A26BFB71-E7A3-4A29-AB2F-C6CF98456BCA}" dt="2025-11-24T21:47:34.971" v="2515" actId="14861"/>
          <ac:graphicFrameMkLst>
            <pc:docMk/>
            <pc:sldMk cId="4243523648" sldId="410"/>
            <ac:graphicFrameMk id="52" creationId="{95022FAD-34DC-2DB0-B8D2-E1B2CAC32284}"/>
          </ac:graphicFrameMkLst>
        </pc:graphicFrameChg>
        <pc:graphicFrameChg chg="mod">
          <ac:chgData name="Renata Leite da Silva" userId="47b71ab3-6d7e-48d4-b51d-d52c61ad46ac" providerId="ADAL" clId="{A26BFB71-E7A3-4A29-AB2F-C6CF98456BCA}" dt="2025-11-25T14:48:07.890" v="2933" actId="1076"/>
          <ac:graphicFrameMkLst>
            <pc:docMk/>
            <pc:sldMk cId="4243523648" sldId="410"/>
            <ac:graphicFrameMk id="59" creationId="{4138D515-03F8-D314-DF73-78593CB6ACE4}"/>
          </ac:graphicFrameMkLst>
        </pc:graphicFrameChg>
        <pc:cxnChg chg="mod">
          <ac:chgData name="Renata Leite da Silva" userId="47b71ab3-6d7e-48d4-b51d-d52c61ad46ac" providerId="ADAL" clId="{A26BFB71-E7A3-4A29-AB2F-C6CF98456BCA}" dt="2025-11-26T19:31:14.681" v="3941" actId="1076"/>
          <ac:cxnSpMkLst>
            <pc:docMk/>
            <pc:sldMk cId="4243523648" sldId="410"/>
            <ac:cxnSpMk id="48" creationId="{6C36D920-938A-84DA-98FC-EA720106B920}"/>
          </ac:cxnSpMkLst>
        </pc:cxnChg>
        <pc:cxnChg chg="mod">
          <ac:chgData name="Renata Leite da Silva" userId="47b71ab3-6d7e-48d4-b51d-d52c61ad46ac" providerId="ADAL" clId="{A26BFB71-E7A3-4A29-AB2F-C6CF98456BCA}" dt="2025-11-26T19:31:26.729" v="3942" actId="14100"/>
          <ac:cxnSpMkLst>
            <pc:docMk/>
            <pc:sldMk cId="4243523648" sldId="410"/>
            <ac:cxnSpMk id="49" creationId="{6AF02E6C-2D6A-DEC4-821F-8AF8B02EAD0B}"/>
          </ac:cxnSpMkLst>
        </pc:cxnChg>
      </pc:sldChg>
      <pc:sldChg chg="addSp delSp modSp del mod ord">
        <pc:chgData name="Renata Leite da Silva" userId="47b71ab3-6d7e-48d4-b51d-d52c61ad46ac" providerId="ADAL" clId="{A26BFB71-E7A3-4A29-AB2F-C6CF98456BCA}" dt="2025-11-26T00:02:43.016" v="3514" actId="47"/>
        <pc:sldMkLst>
          <pc:docMk/>
          <pc:sldMk cId="2669446055" sldId="2147047346"/>
        </pc:sldMkLst>
      </pc:sldChg>
      <pc:sldChg chg="addSp delSp modSp add del mod">
        <pc:chgData name="Renata Leite da Silva" userId="47b71ab3-6d7e-48d4-b51d-d52c61ad46ac" providerId="ADAL" clId="{A26BFB71-E7A3-4A29-AB2F-C6CF98456BCA}" dt="2025-11-26T18:49:56.646" v="3923" actId="47"/>
        <pc:sldMkLst>
          <pc:docMk/>
          <pc:sldMk cId="2913113554" sldId="2147047348"/>
        </pc:sldMkLst>
        <pc:spChg chg="mod">
          <ac:chgData name="Renata Leite da Silva" userId="47b71ab3-6d7e-48d4-b51d-d52c61ad46ac" providerId="ADAL" clId="{A26BFB71-E7A3-4A29-AB2F-C6CF98456BCA}" dt="2025-11-26T09:23:48.075" v="3566" actId="1076"/>
          <ac:spMkLst>
            <pc:docMk/>
            <pc:sldMk cId="2913113554" sldId="2147047348"/>
            <ac:spMk id="6" creationId="{BDE31B99-7434-DFCD-24A0-65D1EBAAD2A5}"/>
          </ac:spMkLst>
        </pc:spChg>
        <pc:picChg chg="add mod">
          <ac:chgData name="Renata Leite da Silva" userId="47b71ab3-6d7e-48d4-b51d-d52c61ad46ac" providerId="ADAL" clId="{A26BFB71-E7A3-4A29-AB2F-C6CF98456BCA}" dt="2025-11-26T09:27:49.861" v="3576" actId="1076"/>
          <ac:picMkLst>
            <pc:docMk/>
            <pc:sldMk cId="2913113554" sldId="2147047348"/>
            <ac:picMk id="2" creationId="{B50EF80B-40B6-ECAE-6D1A-47D7C109EAE4}"/>
          </ac:picMkLst>
        </pc:picChg>
        <pc:picChg chg="del">
          <ac:chgData name="Renata Leite da Silva" userId="47b71ab3-6d7e-48d4-b51d-d52c61ad46ac" providerId="ADAL" clId="{A26BFB71-E7A3-4A29-AB2F-C6CF98456BCA}" dt="2025-11-26T09:27:33.567" v="3574" actId="478"/>
          <ac:picMkLst>
            <pc:docMk/>
            <pc:sldMk cId="2913113554" sldId="2147047348"/>
            <ac:picMk id="11" creationId="{69A45684-9806-A7ED-2502-334BA97E167E}"/>
          </ac:picMkLst>
        </pc:picChg>
      </pc:sldChg>
      <pc:sldChg chg="modSp mod">
        <pc:chgData name="Renata Leite da Silva" userId="47b71ab3-6d7e-48d4-b51d-d52c61ad46ac" providerId="ADAL" clId="{A26BFB71-E7A3-4A29-AB2F-C6CF98456BCA}" dt="2025-11-25T17:05:24.688" v="3474" actId="6549"/>
        <pc:sldMkLst>
          <pc:docMk/>
          <pc:sldMk cId="1503112750" sldId="2147047353"/>
        </pc:sldMkLst>
        <pc:spChg chg="mod">
          <ac:chgData name="Renata Leite da Silva" userId="47b71ab3-6d7e-48d4-b51d-d52c61ad46ac" providerId="ADAL" clId="{A26BFB71-E7A3-4A29-AB2F-C6CF98456BCA}" dt="2025-11-25T17:05:24.688" v="3474" actId="6549"/>
          <ac:spMkLst>
            <pc:docMk/>
            <pc:sldMk cId="1503112750" sldId="2147047353"/>
            <ac:spMk id="10" creationId="{D5DDBFD4-AE51-9B56-75DE-22F18F6D9FCC}"/>
          </ac:spMkLst>
        </pc:spChg>
        <pc:spChg chg="mod">
          <ac:chgData name="Renata Leite da Silva" userId="47b71ab3-6d7e-48d4-b51d-d52c61ad46ac" providerId="ADAL" clId="{A26BFB71-E7A3-4A29-AB2F-C6CF98456BCA}" dt="2025-11-17T13:24:00.130" v="227" actId="6549"/>
          <ac:spMkLst>
            <pc:docMk/>
            <pc:sldMk cId="1503112750" sldId="2147047353"/>
            <ac:spMk id="20" creationId="{69DBEDD2-0B92-413A-9131-98177F6E0CEC}"/>
          </ac:spMkLst>
        </pc:spChg>
      </pc:sldChg>
      <pc:sldChg chg="modSp add mod">
        <pc:chgData name="Renata Leite da Silva" userId="47b71ab3-6d7e-48d4-b51d-d52c61ad46ac" providerId="ADAL" clId="{A26BFB71-E7A3-4A29-AB2F-C6CF98456BCA}" dt="2025-11-27T17:16:45.638" v="4190" actId="14100"/>
        <pc:sldMkLst>
          <pc:docMk/>
          <pc:sldMk cId="1961296212" sldId="2147309649"/>
        </pc:sldMkLst>
        <pc:spChg chg="mod">
          <ac:chgData name="Renata Leite da Silva" userId="47b71ab3-6d7e-48d4-b51d-d52c61ad46ac" providerId="ADAL" clId="{A26BFB71-E7A3-4A29-AB2F-C6CF98456BCA}" dt="2025-11-27T17:16:08.287" v="4187" actId="1076"/>
          <ac:spMkLst>
            <pc:docMk/>
            <pc:sldMk cId="1961296212" sldId="2147309649"/>
            <ac:spMk id="6" creationId="{0F315982-9F28-BA23-6FD8-05A16FCA1B21}"/>
          </ac:spMkLst>
        </pc:spChg>
        <pc:picChg chg="mod">
          <ac:chgData name="Renata Leite da Silva" userId="47b71ab3-6d7e-48d4-b51d-d52c61ad46ac" providerId="ADAL" clId="{A26BFB71-E7A3-4A29-AB2F-C6CF98456BCA}" dt="2025-11-27T17:16:17.184" v="4188" actId="1076"/>
          <ac:picMkLst>
            <pc:docMk/>
            <pc:sldMk cId="1961296212" sldId="2147309649"/>
            <ac:picMk id="7" creationId="{ACCBD56E-DB52-6141-D11F-316478B09897}"/>
          </ac:picMkLst>
        </pc:picChg>
        <pc:picChg chg="mod">
          <ac:chgData name="Renata Leite da Silva" userId="47b71ab3-6d7e-48d4-b51d-d52c61ad46ac" providerId="ADAL" clId="{A26BFB71-E7A3-4A29-AB2F-C6CF98456BCA}" dt="2025-11-27T17:16:45.638" v="4190" actId="14100"/>
          <ac:picMkLst>
            <pc:docMk/>
            <pc:sldMk cId="1961296212" sldId="2147309649"/>
            <ac:picMk id="8" creationId="{FD9F3402-E1A3-9F84-B5D2-495D187E94CA}"/>
          </ac:picMkLst>
        </pc:picChg>
      </pc:sldChg>
      <pc:sldChg chg="addSp delSp modSp add mod ord">
        <pc:chgData name="Renata Leite da Silva" userId="47b71ab3-6d7e-48d4-b51d-d52c61ad46ac" providerId="ADAL" clId="{A26BFB71-E7A3-4A29-AB2F-C6CF98456BCA}" dt="2025-11-25T19:42:05.897" v="3488"/>
        <pc:sldMkLst>
          <pc:docMk/>
          <pc:sldMk cId="3893939341" sldId="2147472652"/>
        </pc:sldMkLst>
        <pc:spChg chg="add mod ord">
          <ac:chgData name="Renata Leite da Silva" userId="47b71ab3-6d7e-48d4-b51d-d52c61ad46ac" providerId="ADAL" clId="{A26BFB71-E7A3-4A29-AB2F-C6CF98456BCA}" dt="2025-11-23T17:24:17.607" v="1629" actId="207"/>
          <ac:spMkLst>
            <pc:docMk/>
            <pc:sldMk cId="3893939341" sldId="2147472652"/>
            <ac:spMk id="5" creationId="{685E838C-FA28-403F-F61E-59190ECA52AF}"/>
          </ac:spMkLst>
        </pc:spChg>
        <pc:spChg chg="add mod">
          <ac:chgData name="Renata Leite da Silva" userId="47b71ab3-6d7e-48d4-b51d-d52c61ad46ac" providerId="ADAL" clId="{A26BFB71-E7A3-4A29-AB2F-C6CF98456BCA}" dt="2025-11-23T19:54:55.715" v="2132" actId="255"/>
          <ac:spMkLst>
            <pc:docMk/>
            <pc:sldMk cId="3893939341" sldId="2147472652"/>
            <ac:spMk id="6" creationId="{98E93006-C3F2-059B-DDB1-66C485D7BF2A}"/>
          </ac:spMkLst>
        </pc:spChg>
        <pc:spChg chg="add mod">
          <ac:chgData name="Renata Leite da Silva" userId="47b71ab3-6d7e-48d4-b51d-d52c61ad46ac" providerId="ADAL" clId="{A26BFB71-E7A3-4A29-AB2F-C6CF98456BCA}" dt="2025-11-23T19:54:34.041" v="2129" actId="1076"/>
          <ac:spMkLst>
            <pc:docMk/>
            <pc:sldMk cId="3893939341" sldId="2147472652"/>
            <ac:spMk id="7" creationId="{E3169BFF-FAF7-6924-4329-A857D6C415EC}"/>
          </ac:spMkLst>
        </pc:spChg>
        <pc:picChg chg="mod">
          <ac:chgData name="Renata Leite da Silva" userId="47b71ab3-6d7e-48d4-b51d-d52c61ad46ac" providerId="ADAL" clId="{A26BFB71-E7A3-4A29-AB2F-C6CF98456BCA}" dt="2025-11-23T16:21:47.227" v="1263" actId="14100"/>
          <ac:picMkLst>
            <pc:docMk/>
            <pc:sldMk cId="3893939341" sldId="2147472652"/>
            <ac:picMk id="8" creationId="{2E4311C3-15F4-08A3-D3DF-BBFBE050184F}"/>
          </ac:picMkLst>
        </pc:picChg>
        <pc:picChg chg="add mod">
          <ac:chgData name="Renata Leite da Silva" userId="47b71ab3-6d7e-48d4-b51d-d52c61ad46ac" providerId="ADAL" clId="{A26BFB71-E7A3-4A29-AB2F-C6CF98456BCA}" dt="2025-11-23T17:20:27.566" v="1612" actId="1076"/>
          <ac:picMkLst>
            <pc:docMk/>
            <pc:sldMk cId="3893939341" sldId="2147472652"/>
            <ac:picMk id="9" creationId="{3FF69870-8D33-AB0A-3BA1-6EF929D6F09A}"/>
          </ac:picMkLst>
        </pc:picChg>
        <pc:picChg chg="mod">
          <ac:chgData name="Renata Leite da Silva" userId="47b71ab3-6d7e-48d4-b51d-d52c61ad46ac" providerId="ADAL" clId="{A26BFB71-E7A3-4A29-AB2F-C6CF98456BCA}" dt="2025-11-23T16:21:38.090" v="1261" actId="14100"/>
          <ac:picMkLst>
            <pc:docMk/>
            <pc:sldMk cId="3893939341" sldId="2147472652"/>
            <ac:picMk id="14" creationId="{C9EC2232-4BEB-5EB0-3694-3970927C8718}"/>
          </ac:picMkLst>
        </pc:picChg>
      </pc:sldChg>
      <pc:sldChg chg="addSp delSp modSp add mod ord">
        <pc:chgData name="Renata Leite da Silva" userId="47b71ab3-6d7e-48d4-b51d-d52c61ad46ac" providerId="ADAL" clId="{A26BFB71-E7A3-4A29-AB2F-C6CF98456BCA}" dt="2025-11-27T15:08:44.322" v="4163" actId="1076"/>
        <pc:sldMkLst>
          <pc:docMk/>
          <pc:sldMk cId="2428920353" sldId="2147472983"/>
        </pc:sldMkLst>
        <pc:spChg chg="mod">
          <ac:chgData name="Renata Leite da Silva" userId="47b71ab3-6d7e-48d4-b51d-d52c61ad46ac" providerId="ADAL" clId="{A26BFB71-E7A3-4A29-AB2F-C6CF98456BCA}" dt="2025-11-27T15:08:44.322" v="4163" actId="1076"/>
          <ac:spMkLst>
            <pc:docMk/>
            <pc:sldMk cId="2428920353" sldId="2147472983"/>
            <ac:spMk id="5" creationId="{F95DD06E-DE93-1B91-AEE9-5E7867DFDAE5}"/>
          </ac:spMkLst>
        </pc:spChg>
        <pc:spChg chg="mod">
          <ac:chgData name="Renata Leite da Silva" userId="47b71ab3-6d7e-48d4-b51d-d52c61ad46ac" providerId="ADAL" clId="{A26BFB71-E7A3-4A29-AB2F-C6CF98456BCA}" dt="2025-11-23T19:55:11.400" v="2133" actId="255"/>
          <ac:spMkLst>
            <pc:docMk/>
            <pc:sldMk cId="2428920353" sldId="2147472983"/>
            <ac:spMk id="6" creationId="{4A641AE9-27CD-5A05-B910-1A307C489975}"/>
          </ac:spMkLst>
        </pc:spChg>
        <pc:spChg chg="mod">
          <ac:chgData name="Renata Leite da Silva" userId="47b71ab3-6d7e-48d4-b51d-d52c61ad46ac" providerId="ADAL" clId="{A26BFB71-E7A3-4A29-AB2F-C6CF98456BCA}" dt="2025-11-23T17:36:44.208" v="1664" actId="1076"/>
          <ac:spMkLst>
            <pc:docMk/>
            <pc:sldMk cId="2428920353" sldId="2147472983"/>
            <ac:spMk id="7" creationId="{D201A80D-ACFD-BB62-DE26-30DC799778DB}"/>
          </ac:spMkLst>
        </pc:spChg>
        <pc:picChg chg="add mod">
          <ac:chgData name="Renata Leite da Silva" userId="47b71ab3-6d7e-48d4-b51d-d52c61ad46ac" providerId="ADAL" clId="{A26BFB71-E7A3-4A29-AB2F-C6CF98456BCA}" dt="2025-11-23T17:20:37.380" v="1614" actId="1076"/>
          <ac:picMkLst>
            <pc:docMk/>
            <pc:sldMk cId="2428920353" sldId="2147472983"/>
            <ac:picMk id="4" creationId="{3545E15A-E273-65D2-EAB9-6C2E29E499D0}"/>
          </ac:picMkLst>
        </pc:picChg>
        <pc:picChg chg="mod">
          <ac:chgData name="Renata Leite da Silva" userId="47b71ab3-6d7e-48d4-b51d-d52c61ad46ac" providerId="ADAL" clId="{A26BFB71-E7A3-4A29-AB2F-C6CF98456BCA}" dt="2025-11-27T15:01:19.866" v="4153" actId="1076"/>
          <ac:picMkLst>
            <pc:docMk/>
            <pc:sldMk cId="2428920353" sldId="2147472983"/>
            <ac:picMk id="8" creationId="{D483D2C5-3885-5EC0-B6A7-24AE67E83CCA}"/>
          </ac:picMkLst>
        </pc:picChg>
        <pc:picChg chg="mod">
          <ac:chgData name="Renata Leite da Silva" userId="47b71ab3-6d7e-48d4-b51d-d52c61ad46ac" providerId="ADAL" clId="{A26BFB71-E7A3-4A29-AB2F-C6CF98456BCA}" dt="2025-11-27T15:08:38.543" v="4160" actId="14826"/>
          <ac:picMkLst>
            <pc:docMk/>
            <pc:sldMk cId="2428920353" sldId="2147472983"/>
            <ac:picMk id="14" creationId="{35917ECC-FC6E-D349-A4E7-BB3ECD7F40CC}"/>
          </ac:picMkLst>
        </pc:picChg>
      </pc:sldChg>
      <pc:sldChg chg="addSp delSp modSp add mod ord">
        <pc:chgData name="Renata Leite da Silva" userId="47b71ab3-6d7e-48d4-b51d-d52c61ad46ac" providerId="ADAL" clId="{A26BFB71-E7A3-4A29-AB2F-C6CF98456BCA}" dt="2025-11-27T13:44:03.366" v="4125" actId="1076"/>
        <pc:sldMkLst>
          <pc:docMk/>
          <pc:sldMk cId="2988427453" sldId="2147472984"/>
        </pc:sldMkLst>
        <pc:spChg chg="add mod">
          <ac:chgData name="Renata Leite da Silva" userId="47b71ab3-6d7e-48d4-b51d-d52c61ad46ac" providerId="ADAL" clId="{A26BFB71-E7A3-4A29-AB2F-C6CF98456BCA}" dt="2025-11-24T12:18:06.744" v="2209"/>
          <ac:spMkLst>
            <pc:docMk/>
            <pc:sldMk cId="2988427453" sldId="2147472984"/>
            <ac:spMk id="3" creationId="{B36139CC-C33C-1993-8121-B75C9950BA8E}"/>
          </ac:spMkLst>
        </pc:spChg>
        <pc:spChg chg="mod">
          <ac:chgData name="Renata Leite da Silva" userId="47b71ab3-6d7e-48d4-b51d-d52c61ad46ac" providerId="ADAL" clId="{A26BFB71-E7A3-4A29-AB2F-C6CF98456BCA}" dt="2025-11-27T13:44:03.366" v="4125" actId="1076"/>
          <ac:spMkLst>
            <pc:docMk/>
            <pc:sldMk cId="2988427453" sldId="2147472984"/>
            <ac:spMk id="13" creationId="{04A4209D-3430-2E52-6130-074A568B585F}"/>
          </ac:spMkLst>
        </pc:spChg>
        <pc:spChg chg="add del mod">
          <ac:chgData name="Renata Leite da Silva" userId="47b71ab3-6d7e-48d4-b51d-d52c61ad46ac" providerId="ADAL" clId="{A26BFB71-E7A3-4A29-AB2F-C6CF98456BCA}" dt="2025-11-24T22:45:35.188" v="2544" actId="14100"/>
          <ac:spMkLst>
            <pc:docMk/>
            <pc:sldMk cId="2988427453" sldId="2147472984"/>
            <ac:spMk id="30" creationId="{4B917575-CFBB-E0FE-F58C-3260F803D292}"/>
          </ac:spMkLst>
        </pc:spChg>
        <pc:picChg chg="add mod">
          <ac:chgData name="Renata Leite da Silva" userId="47b71ab3-6d7e-48d4-b51d-d52c61ad46ac" providerId="ADAL" clId="{A26BFB71-E7A3-4A29-AB2F-C6CF98456BCA}" dt="2025-11-24T22:46:00.120" v="2545" actId="1076"/>
          <ac:picMkLst>
            <pc:docMk/>
            <pc:sldMk cId="2988427453" sldId="2147472984"/>
            <ac:picMk id="2" creationId="{B195AE40-9B4C-9939-142E-03C43BC08B91}"/>
          </ac:picMkLst>
        </pc:picChg>
        <pc:picChg chg="mod">
          <ac:chgData name="Renata Leite da Silva" userId="47b71ab3-6d7e-48d4-b51d-d52c61ad46ac" providerId="ADAL" clId="{A26BFB71-E7A3-4A29-AB2F-C6CF98456BCA}" dt="2025-11-23T18:13:04.934" v="2044" actId="14826"/>
          <ac:picMkLst>
            <pc:docMk/>
            <pc:sldMk cId="2988427453" sldId="2147472984"/>
            <ac:picMk id="86" creationId="{B8E227B7-76F6-1EB2-25F2-392E120A1970}"/>
          </ac:picMkLst>
        </pc:picChg>
        <pc:picChg chg="mod">
          <ac:chgData name="Renata Leite da Silva" userId="47b71ab3-6d7e-48d4-b51d-d52c61ad46ac" providerId="ADAL" clId="{A26BFB71-E7A3-4A29-AB2F-C6CF98456BCA}" dt="2025-11-23T18:12:24.386" v="2037" actId="1076"/>
          <ac:picMkLst>
            <pc:docMk/>
            <pc:sldMk cId="2988427453" sldId="2147472984"/>
            <ac:picMk id="87" creationId="{CF3524A2-0059-2D4B-4F0D-3A6B45C0C3D3}"/>
          </ac:picMkLst>
        </pc:picChg>
        <pc:picChg chg="add del mod">
          <ac:chgData name="Renata Leite da Silva" userId="47b71ab3-6d7e-48d4-b51d-d52c61ad46ac" providerId="ADAL" clId="{A26BFB71-E7A3-4A29-AB2F-C6CF98456BCA}" dt="2025-11-23T18:14:42.109" v="2053" actId="1076"/>
          <ac:picMkLst>
            <pc:docMk/>
            <pc:sldMk cId="2988427453" sldId="2147472984"/>
            <ac:picMk id="92" creationId="{E0D687FF-EE9D-D179-BBB2-2A72DC43F76C}"/>
          </ac:picMkLst>
        </pc:picChg>
      </pc:sldChg>
      <pc:sldChg chg="addSp delSp modSp add mod">
        <pc:chgData name="Renata Leite da Silva" userId="47b71ab3-6d7e-48d4-b51d-d52c61ad46ac" providerId="ADAL" clId="{A26BFB71-E7A3-4A29-AB2F-C6CF98456BCA}" dt="2025-11-27T11:03:48.359" v="4111" actId="20577"/>
        <pc:sldMkLst>
          <pc:docMk/>
          <pc:sldMk cId="1184031882" sldId="2147472985"/>
        </pc:sldMkLst>
        <pc:spChg chg="add mod">
          <ac:chgData name="Renata Leite da Silva" userId="47b71ab3-6d7e-48d4-b51d-d52c61ad46ac" providerId="ADAL" clId="{A26BFB71-E7A3-4A29-AB2F-C6CF98456BCA}" dt="2025-11-25T16:21:43.780" v="3096" actId="14100"/>
          <ac:spMkLst>
            <pc:docMk/>
            <pc:sldMk cId="1184031882" sldId="2147472985"/>
            <ac:spMk id="3" creationId="{6F38BBD6-B523-5CBB-5E55-53B39900BA35}"/>
          </ac:spMkLst>
        </pc:spChg>
        <pc:spChg chg="mod">
          <ac:chgData name="Renata Leite da Silva" userId="47b71ab3-6d7e-48d4-b51d-d52c61ad46ac" providerId="ADAL" clId="{A26BFB71-E7A3-4A29-AB2F-C6CF98456BCA}" dt="2025-11-26T09:32:51.808" v="3607" actId="14100"/>
          <ac:spMkLst>
            <pc:docMk/>
            <pc:sldMk cId="1184031882" sldId="2147472985"/>
            <ac:spMk id="7" creationId="{069DB076-71A1-9FCD-B965-FA1B87B4DB02}"/>
          </ac:spMkLst>
        </pc:spChg>
        <pc:spChg chg="mod">
          <ac:chgData name="Renata Leite da Silva" userId="47b71ab3-6d7e-48d4-b51d-d52c61ad46ac" providerId="ADAL" clId="{A26BFB71-E7A3-4A29-AB2F-C6CF98456BCA}" dt="2025-11-26T09:32:32.927" v="3603" actId="14100"/>
          <ac:spMkLst>
            <pc:docMk/>
            <pc:sldMk cId="1184031882" sldId="2147472985"/>
            <ac:spMk id="8" creationId="{E376E1CE-BFE1-FDA7-E122-5063960735A9}"/>
          </ac:spMkLst>
        </pc:spChg>
        <pc:grpChg chg="mod">
          <ac:chgData name="Renata Leite da Silva" userId="47b71ab3-6d7e-48d4-b51d-d52c61ad46ac" providerId="ADAL" clId="{A26BFB71-E7A3-4A29-AB2F-C6CF98456BCA}" dt="2025-11-26T09:32:04.562" v="3600" actId="14100"/>
          <ac:grpSpMkLst>
            <pc:docMk/>
            <pc:sldMk cId="1184031882" sldId="2147472985"/>
            <ac:grpSpMk id="9" creationId="{1D9C6C6F-D5D0-FC84-CB6B-50AA93AE1BB4}"/>
          </ac:grpSpMkLst>
        </pc:grpChg>
        <pc:graphicFrameChg chg="mod modGraphic">
          <ac:chgData name="Renata Leite da Silva" userId="47b71ab3-6d7e-48d4-b51d-d52c61ad46ac" providerId="ADAL" clId="{A26BFB71-E7A3-4A29-AB2F-C6CF98456BCA}" dt="2025-11-27T11:03:48.359" v="4111" actId="20577"/>
          <ac:graphicFrameMkLst>
            <pc:docMk/>
            <pc:sldMk cId="1184031882" sldId="2147472985"/>
            <ac:graphicFrameMk id="13" creationId="{FF8CA3A9-6FF1-34CA-BAF3-63DCDFE998E1}"/>
          </ac:graphicFrameMkLst>
        </pc:graphicFrameChg>
        <pc:picChg chg="mod">
          <ac:chgData name="Renata Leite da Silva" userId="47b71ab3-6d7e-48d4-b51d-d52c61ad46ac" providerId="ADAL" clId="{A26BFB71-E7A3-4A29-AB2F-C6CF98456BCA}" dt="2025-11-26T09:32:44.683" v="3606" actId="14100"/>
          <ac:picMkLst>
            <pc:docMk/>
            <pc:sldMk cId="1184031882" sldId="2147472985"/>
            <ac:picMk id="12" creationId="{159C0113-3552-9C29-994C-4203A1478EEE}"/>
          </ac:picMkLst>
        </pc:picChg>
      </pc:sldChg>
      <pc:sldChg chg="addSp delSp modSp add del mod">
        <pc:chgData name="Renata Leite da Silva" userId="47b71ab3-6d7e-48d4-b51d-d52c61ad46ac" providerId="ADAL" clId="{A26BFB71-E7A3-4A29-AB2F-C6CF98456BCA}" dt="2025-11-26T20:33:39.391" v="4003" actId="14100"/>
        <pc:sldMkLst>
          <pc:docMk/>
          <pc:sldMk cId="1849511931" sldId="2147483639"/>
        </pc:sldMkLst>
        <pc:spChg chg="mod">
          <ac:chgData name="Renata Leite da Silva" userId="47b71ab3-6d7e-48d4-b51d-d52c61ad46ac" providerId="ADAL" clId="{A26BFB71-E7A3-4A29-AB2F-C6CF98456BCA}" dt="2025-11-26T20:23:58.208" v="3986" actId="14100"/>
          <ac:spMkLst>
            <pc:docMk/>
            <pc:sldMk cId="1849511931" sldId="2147483639"/>
            <ac:spMk id="5" creationId="{63C2C745-36BB-4A79-DFAB-13F85ECBFA1F}"/>
          </ac:spMkLst>
        </pc:spChg>
        <pc:spChg chg="mod">
          <ac:chgData name="Renata Leite da Silva" userId="47b71ab3-6d7e-48d4-b51d-d52c61ad46ac" providerId="ADAL" clId="{A26BFB71-E7A3-4A29-AB2F-C6CF98456BCA}" dt="2025-11-26T20:33:39.391" v="4003" actId="14100"/>
          <ac:spMkLst>
            <pc:docMk/>
            <pc:sldMk cId="1849511931" sldId="2147483639"/>
            <ac:spMk id="2055" creationId="{84A2FD68-0F34-F8BF-242C-30469F6F4B21}"/>
          </ac:spMkLst>
        </pc:spChg>
        <pc:picChg chg="add mod">
          <ac:chgData name="Renata Leite da Silva" userId="47b71ab3-6d7e-48d4-b51d-d52c61ad46ac" providerId="ADAL" clId="{A26BFB71-E7A3-4A29-AB2F-C6CF98456BCA}" dt="2025-11-26T20:24:14.508" v="3988"/>
          <ac:picMkLst>
            <pc:docMk/>
            <pc:sldMk cId="1849511931" sldId="2147483639"/>
            <ac:picMk id="3" creationId="{822EE42B-74CE-F161-424C-9007DAB45F82}"/>
          </ac:picMkLst>
        </pc:picChg>
        <pc:picChg chg="del">
          <ac:chgData name="Renata Leite da Silva" userId="47b71ab3-6d7e-48d4-b51d-d52c61ad46ac" providerId="ADAL" clId="{A26BFB71-E7A3-4A29-AB2F-C6CF98456BCA}" dt="2025-11-26T20:24:00.769" v="3987" actId="478"/>
          <ac:picMkLst>
            <pc:docMk/>
            <pc:sldMk cId="1849511931" sldId="2147483639"/>
            <ac:picMk id="4" creationId="{5B403B8B-2AD3-80DC-8AAD-4FB8B3017E91}"/>
          </ac:picMkLst>
        </pc:picChg>
      </pc:sldChg>
      <pc:sldChg chg="addSp modSp add mod">
        <pc:chgData name="Renata Leite da Silva" userId="47b71ab3-6d7e-48d4-b51d-d52c61ad46ac" providerId="ADAL" clId="{A26BFB71-E7A3-4A29-AB2F-C6CF98456BCA}" dt="2025-11-27T17:14:05.680" v="4185" actId="14100"/>
        <pc:sldMkLst>
          <pc:docMk/>
          <pc:sldMk cId="519396587" sldId="2147483640"/>
        </pc:sldMkLst>
        <pc:spChg chg="add mod">
          <ac:chgData name="Renata Leite da Silva" userId="47b71ab3-6d7e-48d4-b51d-d52c61ad46ac" providerId="ADAL" clId="{A26BFB71-E7A3-4A29-AB2F-C6CF98456BCA}" dt="2025-11-25T16:32:12.417" v="3250" actId="1076"/>
          <ac:spMkLst>
            <pc:docMk/>
            <pc:sldMk cId="519396587" sldId="2147483640"/>
            <ac:spMk id="2" creationId="{E9C4C46F-4799-2B46-93C1-EF528CADA18E}"/>
          </ac:spMkLst>
        </pc:spChg>
        <pc:spChg chg="mod">
          <ac:chgData name="Renata Leite da Silva" userId="47b71ab3-6d7e-48d4-b51d-d52c61ad46ac" providerId="ADAL" clId="{A26BFB71-E7A3-4A29-AB2F-C6CF98456BCA}" dt="2025-11-27T17:14:05.680" v="4185" actId="14100"/>
          <ac:spMkLst>
            <pc:docMk/>
            <pc:sldMk cId="519396587" sldId="2147483640"/>
            <ac:spMk id="3" creationId="{8DCEA8CB-73F4-5F0C-92F4-24505C725A79}"/>
          </ac:spMkLst>
        </pc:spChg>
        <pc:spChg chg="add mod">
          <ac:chgData name="Renata Leite da Silva" userId="47b71ab3-6d7e-48d4-b51d-d52c61ad46ac" providerId="ADAL" clId="{A26BFB71-E7A3-4A29-AB2F-C6CF98456BCA}" dt="2025-11-26T12:31:15.833" v="3811" actId="14100"/>
          <ac:spMkLst>
            <pc:docMk/>
            <pc:sldMk cId="519396587" sldId="2147483640"/>
            <ac:spMk id="4" creationId="{CA2055F0-F87F-EDBD-08BC-1E6181CB9C04}"/>
          </ac:spMkLst>
        </pc:spChg>
        <pc:spChg chg="add mod">
          <ac:chgData name="Renata Leite da Silva" userId="47b71ab3-6d7e-48d4-b51d-d52c61ad46ac" providerId="ADAL" clId="{A26BFB71-E7A3-4A29-AB2F-C6CF98456BCA}" dt="2025-11-27T17:13:40.243" v="4182" actId="14100"/>
          <ac:spMkLst>
            <pc:docMk/>
            <pc:sldMk cId="519396587" sldId="2147483640"/>
            <ac:spMk id="6" creationId="{466E5C2C-46AD-1E7D-7EB9-476AA1D28B0E}"/>
          </ac:spMkLst>
        </pc:spChg>
        <pc:spChg chg="mod">
          <ac:chgData name="Renata Leite da Silva" userId="47b71ab3-6d7e-48d4-b51d-d52c61ad46ac" providerId="ADAL" clId="{A26BFB71-E7A3-4A29-AB2F-C6CF98456BCA}" dt="2025-11-27T17:14:01.698" v="4184" actId="1076"/>
          <ac:spMkLst>
            <pc:docMk/>
            <pc:sldMk cId="519396587" sldId="2147483640"/>
            <ac:spMk id="7" creationId="{F05BDCCB-22A2-1899-A3FF-1A06CCC81B7C}"/>
          </ac:spMkLst>
        </pc:spChg>
        <pc:spChg chg="mod">
          <ac:chgData name="Renata Leite da Silva" userId="47b71ab3-6d7e-48d4-b51d-d52c61ad46ac" providerId="ADAL" clId="{A26BFB71-E7A3-4A29-AB2F-C6CF98456BCA}" dt="2025-11-26T14:51:21.294" v="3867" actId="14100"/>
          <ac:spMkLst>
            <pc:docMk/>
            <pc:sldMk cId="519396587" sldId="2147483640"/>
            <ac:spMk id="8" creationId="{CD8B545D-4615-C5B1-EFCF-5F62DD3B903C}"/>
          </ac:spMkLst>
        </pc:spChg>
        <pc:spChg chg="mod">
          <ac:chgData name="Renata Leite da Silva" userId="47b71ab3-6d7e-48d4-b51d-d52c61ad46ac" providerId="ADAL" clId="{A26BFB71-E7A3-4A29-AB2F-C6CF98456BCA}" dt="2025-11-25T15:47:13.523" v="3069" actId="14100"/>
          <ac:spMkLst>
            <pc:docMk/>
            <pc:sldMk cId="519396587" sldId="2147483640"/>
            <ac:spMk id="10" creationId="{A90BE97F-96EF-8E04-FFAE-BA8F797956D8}"/>
          </ac:spMkLst>
        </pc:spChg>
        <pc:grpChg chg="mod">
          <ac:chgData name="Renata Leite da Silva" userId="47b71ab3-6d7e-48d4-b51d-d52c61ad46ac" providerId="ADAL" clId="{A26BFB71-E7A3-4A29-AB2F-C6CF98456BCA}" dt="2025-11-27T17:13:37.112" v="4181" actId="14100"/>
          <ac:grpSpMkLst>
            <pc:docMk/>
            <pc:sldMk cId="519396587" sldId="2147483640"/>
            <ac:grpSpMk id="9" creationId="{EC5AD8A5-D831-A606-D24E-7F9C07C18D18}"/>
          </ac:grpSpMkLst>
        </pc:grpChg>
        <pc:graphicFrameChg chg="add mod modGraphic">
          <ac:chgData name="Renata Leite da Silva" userId="47b71ab3-6d7e-48d4-b51d-d52c61ad46ac" providerId="ADAL" clId="{A26BFB71-E7A3-4A29-AB2F-C6CF98456BCA}" dt="2025-11-26T14:51:54.492" v="3881" actId="20577"/>
          <ac:graphicFrameMkLst>
            <pc:docMk/>
            <pc:sldMk cId="519396587" sldId="2147483640"/>
            <ac:graphicFrameMk id="5" creationId="{9C2879AF-1C4F-ACC2-2D96-BF06A6C3A800}"/>
          </ac:graphicFrameMkLst>
        </pc:graphicFrameChg>
        <pc:graphicFrameChg chg="mod modGraphic">
          <ac:chgData name="Renata Leite da Silva" userId="47b71ab3-6d7e-48d4-b51d-d52c61ad46ac" providerId="ADAL" clId="{A26BFB71-E7A3-4A29-AB2F-C6CF98456BCA}" dt="2025-11-26T14:53:39.507" v="3904" actId="108"/>
          <ac:graphicFrameMkLst>
            <pc:docMk/>
            <pc:sldMk cId="519396587" sldId="2147483640"/>
            <ac:graphicFrameMk id="13" creationId="{22E518A7-764F-B240-0D1A-F0075F85D0EC}"/>
          </ac:graphicFrameMkLst>
        </pc:graphicFrameChg>
      </pc:sldChg>
      <pc:sldChg chg="add del">
        <pc:chgData name="Renata Leite da Silva" userId="47b71ab3-6d7e-48d4-b51d-d52c61ad46ac" providerId="ADAL" clId="{A26BFB71-E7A3-4A29-AB2F-C6CF98456BCA}" dt="2025-11-25T13:35:07.070" v="2921" actId="47"/>
        <pc:sldMkLst>
          <pc:docMk/>
          <pc:sldMk cId="2023046717" sldId="2147483640"/>
        </pc:sldMkLst>
      </pc:sldChg>
      <pc:sldChg chg="addSp delSp modSp add del mod modClrScheme chgLayout">
        <pc:chgData name="Renata Leite da Silva" userId="47b71ab3-6d7e-48d4-b51d-d52c61ad46ac" providerId="ADAL" clId="{A26BFB71-E7A3-4A29-AB2F-C6CF98456BCA}" dt="2025-11-26T20:23:20.562" v="3981" actId="47"/>
        <pc:sldMkLst>
          <pc:docMk/>
          <pc:sldMk cId="2367093422" sldId="2147483641"/>
        </pc:sldMkLst>
        <pc:spChg chg="mod">
          <ac:chgData name="Renata Leite da Silva" userId="47b71ab3-6d7e-48d4-b51d-d52c61ad46ac" providerId="ADAL" clId="{A26BFB71-E7A3-4A29-AB2F-C6CF98456BCA}" dt="2025-11-26T09:27:07.566" v="3573" actId="14100"/>
          <ac:spMkLst>
            <pc:docMk/>
            <pc:sldMk cId="2367093422" sldId="2147483641"/>
            <ac:spMk id="5" creationId="{63C2C745-36BB-4A79-DFAB-13F85ECBFA1F}"/>
          </ac:spMkLst>
        </pc:spChg>
        <pc:picChg chg="add mod">
          <ac:chgData name="Renata Leite da Silva" userId="47b71ab3-6d7e-48d4-b51d-d52c61ad46ac" providerId="ADAL" clId="{A26BFB71-E7A3-4A29-AB2F-C6CF98456BCA}" dt="2025-11-26T09:26:55.935" v="3571"/>
          <ac:picMkLst>
            <pc:docMk/>
            <pc:sldMk cId="2367093422" sldId="2147483641"/>
            <ac:picMk id="2" creationId="{9BB800F1-D6FF-AABE-F4DB-24631654E5D2}"/>
          </ac:picMkLst>
        </pc:picChg>
        <pc:picChg chg="del">
          <ac:chgData name="Renata Leite da Silva" userId="47b71ab3-6d7e-48d4-b51d-d52c61ad46ac" providerId="ADAL" clId="{A26BFB71-E7A3-4A29-AB2F-C6CF98456BCA}" dt="2025-11-26T09:26:38.657" v="3570" actId="478"/>
          <ac:picMkLst>
            <pc:docMk/>
            <pc:sldMk cId="2367093422" sldId="2147483641"/>
            <ac:picMk id="4" creationId="{5B403B8B-2AD3-80DC-8AAD-4FB8B3017E91}"/>
          </ac:picMkLst>
        </pc:picChg>
      </pc:sldChg>
      <pc:sldChg chg="addSp delSp modSp add del mod">
        <pc:chgData name="Renata Leite da Silva" userId="47b71ab3-6d7e-48d4-b51d-d52c61ad46ac" providerId="ADAL" clId="{A26BFB71-E7A3-4A29-AB2F-C6CF98456BCA}" dt="2025-11-27T17:10:54.502" v="4178" actId="47"/>
        <pc:sldMkLst>
          <pc:docMk/>
          <pc:sldMk cId="417541705" sldId="2147483642"/>
        </pc:sldMkLst>
        <pc:spChg chg="mod">
          <ac:chgData name="Renata Leite da Silva" userId="47b71ab3-6d7e-48d4-b51d-d52c61ad46ac" providerId="ADAL" clId="{A26BFB71-E7A3-4A29-AB2F-C6CF98456BCA}" dt="2025-11-26T20:23:32.528" v="3982" actId="14100"/>
          <ac:spMkLst>
            <pc:docMk/>
            <pc:sldMk cId="417541705" sldId="2147483642"/>
            <ac:spMk id="3" creationId="{0811EA5A-A430-7DAB-6D5A-038BBC669A2E}"/>
          </ac:spMkLst>
        </pc:spChg>
        <pc:spChg chg="mod">
          <ac:chgData name="Renata Leite da Silva" userId="47b71ab3-6d7e-48d4-b51d-d52c61ad46ac" providerId="ADAL" clId="{A26BFB71-E7A3-4A29-AB2F-C6CF98456BCA}" dt="2025-11-26T20:28:53.729" v="3994" actId="1076"/>
          <ac:spMkLst>
            <pc:docMk/>
            <pc:sldMk cId="417541705" sldId="2147483642"/>
            <ac:spMk id="6" creationId="{521C9F4C-4B59-C2B4-9AC6-3E2A648EA2DC}"/>
          </ac:spMkLst>
        </pc:spChg>
        <pc:spChg chg="mod">
          <ac:chgData name="Renata Leite da Silva" userId="47b71ab3-6d7e-48d4-b51d-d52c61ad46ac" providerId="ADAL" clId="{A26BFB71-E7A3-4A29-AB2F-C6CF98456BCA}" dt="2025-11-27T17:00:33.410" v="4171" actId="1076"/>
          <ac:spMkLst>
            <pc:docMk/>
            <pc:sldMk cId="417541705" sldId="2147483642"/>
            <ac:spMk id="34" creationId="{470CCA08-95F8-CFEB-E214-A0A700D058C6}"/>
          </ac:spMkLst>
        </pc:spChg>
        <pc:spChg chg="mod">
          <ac:chgData name="Renata Leite da Silva" userId="47b71ab3-6d7e-48d4-b51d-d52c61ad46ac" providerId="ADAL" clId="{A26BFB71-E7A3-4A29-AB2F-C6CF98456BCA}" dt="2025-11-27T17:00:30.920" v="4170" actId="1076"/>
          <ac:spMkLst>
            <pc:docMk/>
            <pc:sldMk cId="417541705" sldId="2147483642"/>
            <ac:spMk id="35" creationId="{D02B280C-67A9-FB9E-8F82-A22B2FCA76C4}"/>
          </ac:spMkLst>
        </pc:spChg>
        <pc:picChg chg="add mod">
          <ac:chgData name="Renata Leite da Silva" userId="47b71ab3-6d7e-48d4-b51d-d52c61ad46ac" providerId="ADAL" clId="{A26BFB71-E7A3-4A29-AB2F-C6CF98456BCA}" dt="2025-11-26T20:23:45.889" v="3984"/>
          <ac:picMkLst>
            <pc:docMk/>
            <pc:sldMk cId="417541705" sldId="2147483642"/>
            <ac:picMk id="2" creationId="{BC6922F8-4350-92D7-90B0-9E59F344EC47}"/>
          </ac:picMkLst>
        </pc:picChg>
        <pc:picChg chg="mod">
          <ac:chgData name="Renata Leite da Silva" userId="47b71ab3-6d7e-48d4-b51d-d52c61ad46ac" providerId="ADAL" clId="{A26BFB71-E7A3-4A29-AB2F-C6CF98456BCA}" dt="2025-11-26T20:29:16.200" v="3996" actId="1076"/>
          <ac:picMkLst>
            <pc:docMk/>
            <pc:sldMk cId="417541705" sldId="2147483642"/>
            <ac:picMk id="7" creationId="{D1CBC039-859C-EA28-CD67-2E2728AC23B3}"/>
          </ac:picMkLst>
        </pc:picChg>
        <pc:picChg chg="del">
          <ac:chgData name="Renata Leite da Silva" userId="47b71ab3-6d7e-48d4-b51d-d52c61ad46ac" providerId="ADAL" clId="{A26BFB71-E7A3-4A29-AB2F-C6CF98456BCA}" dt="2025-11-26T20:23:34.733" v="3983" actId="478"/>
          <ac:picMkLst>
            <pc:docMk/>
            <pc:sldMk cId="417541705" sldId="2147483642"/>
            <ac:picMk id="11" creationId="{A5BA09E1-3661-F90D-474D-CB5AF8B75561}"/>
          </ac:picMkLst>
        </pc:picChg>
      </pc:sldChg>
      <pc:sldMasterChg chg="delSldLayout modSldLayout sldLayoutOrd">
        <pc:chgData name="Renata Leite da Silva" userId="47b71ab3-6d7e-48d4-b51d-d52c61ad46ac" providerId="ADAL" clId="{A26BFB71-E7A3-4A29-AB2F-C6CF98456BCA}" dt="2025-11-23T17:27:21.565" v="1634" actId="47"/>
        <pc:sldMasterMkLst>
          <pc:docMk/>
          <pc:sldMasterMk cId="3795637464" sldId="2147483660"/>
        </pc:sldMasterMkLst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2780291921" sldId="2147483823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780291921" sldId="2147483823"/>
              <ac:spMk id="3" creationId="{5660A963-2C62-E7DC-096F-37E6452548EE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780291921" sldId="2147483823"/>
              <ac:spMk id="4" creationId="{9F554A6E-54AC-23C1-D1CE-15430CA8EFA1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780291921" sldId="2147483823"/>
              <ac:spMk id="5" creationId="{57811006-069E-641E-C387-2338848B2CC1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242738743" sldId="2147483824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42738743" sldId="2147483824"/>
              <ac:spMk id="3" creationId="{78E04E22-8F74-5C8E-0A53-DA7A364AFF25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42738743" sldId="2147483824"/>
              <ac:spMk id="4" creationId="{FACD1804-E1C3-AD84-73CA-64A55D062D62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42738743" sldId="2147483824"/>
              <ac:spMk id="5" creationId="{49E1FBDA-E8F9-AC29-C2FA-D255E274131F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42738743" sldId="2147483824"/>
              <ac:spMk id="11" creationId="{00118243-5B02-DF75-6B7F-E45A5209080E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1096806899" sldId="2147483825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96806899" sldId="2147483825"/>
              <ac:spMk id="2" creationId="{AE8DA676-84BD-3D00-8325-30D16C3A7EEF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96806899" sldId="2147483825"/>
              <ac:spMk id="3" creationId="{EAAEAC14-820B-A7FE-CA95-BB51A489F38E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96806899" sldId="2147483825"/>
              <ac:spMk id="4" creationId="{4B67B066-31D9-D963-7AFC-B3B09788B102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96806899" sldId="2147483825"/>
              <ac:spMk id="5" creationId="{D28F0763-ABA5-5B2F-5F03-4CD8AA6FC56F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1029567388" sldId="2147483826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29567388" sldId="2147483826"/>
              <ac:spMk id="2" creationId="{A27D1704-C972-40BF-B24C-455FFE805A67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29567388" sldId="2147483826"/>
              <ac:spMk id="8" creationId="{B28F98EB-347E-4FFA-B070-AE56C55504A8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29567388" sldId="2147483826"/>
              <ac:spMk id="9" creationId="{60AE0C3E-51EF-4837-B4C3-2442E1EE4248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029567388" sldId="2147483826"/>
              <ac:spMk id="10" creationId="{BA4AD912-9606-4709-9AF1-BC9A015CD2AD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4235107032" sldId="2147483827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2" creationId="{A27D1704-C972-40BF-B24C-455FFE805A67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3" creationId="{B90E5EAC-AA64-416F-B843-F6C8F7D38D8E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8" creationId="{B28F98EB-347E-4FFA-B070-AE56C55504A8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9" creationId="{76194414-AB9A-4BF7-A256-18B80470888F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10" creationId="{BA4AD912-9606-4709-9AF1-BC9A015CD2AD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27" creationId="{3F7B9457-B664-4BDC-9249-A71F477B8FE2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28" creationId="{CBD43A44-A1E1-4D87-B77E-77937CA659D0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29" creationId="{BD78F083-126A-468F-8E71-B779A97D84D2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35107032" sldId="2147483827"/>
              <ac:spMk id="30" creationId="{FB1709BB-3C07-4A12-83D5-C488EAF2AEED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3343639175" sldId="2147483830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3343639175" sldId="2147483830"/>
              <ac:spMk id="6" creationId="{EB14BFC0-5F91-4455-996A-5C4A39F58465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3343639175" sldId="2147483830"/>
              <ac:spMk id="9" creationId="{6654969D-26A2-4826-A0ED-A205281C26D9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3343639175" sldId="2147483830"/>
              <ac:spMk id="10" creationId="{965E7AA6-7E7B-4475-BB84-4972240ACF6D}"/>
            </ac:spMkLst>
          </pc:spChg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4247153738" sldId="2147483836"/>
          </pc:sldLayoutMkLst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3559296800" sldId="2147483841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3559296800" sldId="2147483841"/>
              <ac:spMk id="8" creationId="{1284D9F5-A53B-4607-89B0-05E1E4CE0BB8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1312843044" sldId="2147483842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312843044" sldId="2147483842"/>
              <ac:spMk id="4" creationId="{B8AF3BFC-3768-44CC-B7B2-EEE6A6C0E5CC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1312843044" sldId="2147483842"/>
              <ac:spMk id="5" creationId="{C15CFA29-C9BA-4755-8460-955BA13174F2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4247408240" sldId="2147483844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47408240" sldId="2147483844"/>
              <ac:spMk id="7" creationId="{00000000-0000-0000-0000-000000000000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4247408240" sldId="2147483844"/>
              <ac:spMk id="8" creationId="{00000000-0000-0000-0000-000000000000}"/>
            </ac:spMkLst>
          </pc:spChg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1028279921" sldId="2147483845"/>
          </pc:sldLayoutMkLst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2757641116" sldId="2147483846"/>
          </pc:sldLayoutMkLst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3795637464" sldId="2147483660"/>
            <pc:sldLayoutMk cId="2697981345" sldId="2147483847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697981345" sldId="2147483847"/>
              <ac:spMk id="2" creationId="{114FEFB1-6743-52B2-CEE6-8FC512EB02AD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697981345" sldId="2147483847"/>
              <ac:spMk id="3" creationId="{7A79EE12-5F76-7E2C-29E4-BD867B92B652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697981345" sldId="2147483847"/>
              <ac:spMk id="4" creationId="{D81BA079-9B2A-648C-734D-67543928DA73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697981345" sldId="2147483847"/>
              <ac:spMk id="5" creationId="{1CF8B456-5952-1834-8A36-492DF98D2419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3795637464" sldId="2147483660"/>
              <pc:sldLayoutMk cId="2697981345" sldId="2147483847"/>
              <ac:spMk id="6" creationId="{B1823D0C-657F-E793-9A46-935AF86A5B9E}"/>
            </ac:spMkLst>
          </pc:spChg>
        </pc:sldLayoutChg>
      </pc:sldMasterChg>
      <pc:sldMasterChg chg="modSldLayout sldLayoutOrd">
        <pc:chgData name="Renata Leite da Silva" userId="47b71ab3-6d7e-48d4-b51d-d52c61ad46ac" providerId="ADAL" clId="{A26BFB71-E7A3-4A29-AB2F-C6CF98456BCA}" dt="2025-11-23T12:47:31.231" v="936"/>
        <pc:sldMasterMkLst>
          <pc:docMk/>
          <pc:sldMasterMk cId="2020008677" sldId="2147483710"/>
        </pc:sldMasterMkLst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2671079835" sldId="2147483948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671079835" sldId="2147483948"/>
              <ac:spMk id="6" creationId="{EB14BFC0-5F91-4455-996A-5C4A39F58465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671079835" sldId="2147483948"/>
              <ac:spMk id="9" creationId="{6654969D-26A2-4826-A0ED-A205281C26D9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671079835" sldId="2147483948"/>
              <ac:spMk id="10" creationId="{965E7AA6-7E7B-4475-BB84-4972240ACF6D}"/>
            </ac:spMkLst>
          </pc:spChg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838131758" sldId="2147483950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2" creationId="{A27D1704-C972-40BF-B24C-455FFE805A67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3" creationId="{B90E5EAC-AA64-416F-B843-F6C8F7D38D8E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10" creationId="{BA4AD912-9606-4709-9AF1-BC9A015CD2AD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11" creationId="{12377F5F-2121-4B7B-9EF4-224238D91FCC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12" creationId="{5F68D063-E7BC-4EFB-9967-FBB91A774973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85" creationId="{505F0ED0-D0FB-40BC-B7B3-A9CB2E73D379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86" creationId="{9DC7FA72-1F35-46A6-AB4E-CE78B3977F0B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87" creationId="{3B7A7AD3-38E8-4B30-BA1B-7EDF248DDE90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88" creationId="{EAAE459B-64BE-472F-BBCB-B81692926D51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838131758" sldId="2147483950"/>
              <ac:spMk id="89" creationId="{F565C565-EAE1-4216-BAD6-AD984D4F8B10}"/>
            </ac:spMkLst>
          </pc:spChg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3986822458" sldId="2147483954"/>
          </pc:sldLayoutMkLst>
        </pc:sldLayoutChg>
        <pc:sldLayoutChg chg="modSp 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2134864047" sldId="2147483956"/>
          </pc:sldLayoutMkLst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134864047" sldId="2147483956"/>
              <ac:spMk id="2" creationId="{00000000-0000-0000-0000-000000000000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134864047" sldId="2147483956"/>
              <ac:spMk id="3" creationId="{00000000-0000-0000-0000-000000000000}"/>
            </ac:spMkLst>
          </pc:spChg>
          <pc:spChg chg="mod">
            <ac:chgData name="Renata Leite da Silva" userId="47b71ab3-6d7e-48d4-b51d-d52c61ad46ac" providerId="ADAL" clId="{A26BFB71-E7A3-4A29-AB2F-C6CF98456BCA}" dt="2025-11-23T12:47:31.231" v="936"/>
            <ac:spMkLst>
              <pc:docMk/>
              <pc:sldMasterMk cId="2020008677" sldId="2147483710"/>
              <pc:sldLayoutMk cId="2134864047" sldId="2147483956"/>
              <ac:spMk id="4" creationId="{00000000-0000-0000-0000-000000000000}"/>
            </ac:spMkLst>
          </pc:spChg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1344203685" sldId="2147483959"/>
          </pc:sldLayoutMkLst>
        </pc:sldLayoutChg>
        <pc:sldLayoutChg chg="mod ord">
          <pc:chgData name="Renata Leite da Silva" userId="47b71ab3-6d7e-48d4-b51d-d52c61ad46ac" providerId="ADAL" clId="{A26BFB71-E7A3-4A29-AB2F-C6CF98456BCA}" dt="2025-11-23T12:47:31.231" v="936"/>
          <pc:sldLayoutMkLst>
            <pc:docMk/>
            <pc:sldMasterMk cId="2020008677" sldId="2147483710"/>
            <pc:sldLayoutMk cId="2701649157" sldId="2147483960"/>
          </pc:sldLayoutMkLst>
        </pc:sldLayoutChg>
      </pc:sldMasterChg>
      <pc:sldMasterChg chg="delSldLayout">
        <pc:chgData name="Renata Leite da Silva" userId="47b71ab3-6d7e-48d4-b51d-d52c61ad46ac" providerId="ADAL" clId="{A26BFB71-E7A3-4A29-AB2F-C6CF98456BCA}" dt="2025-11-23T15:51:15.305" v="1192" actId="2696"/>
        <pc:sldMasterMkLst>
          <pc:docMk/>
          <pc:sldMasterMk cId="2908143132" sldId="2147483871"/>
        </pc:sldMasterMkLst>
      </pc:sldMasterChg>
      <pc:sldMasterChg chg="del delSldLayout">
        <pc:chgData name="Renata Leite da Silva" userId="47b71ab3-6d7e-48d4-b51d-d52c61ad46ac" providerId="ADAL" clId="{A26BFB71-E7A3-4A29-AB2F-C6CF98456BCA}" dt="2025-11-27T17:10:54.502" v="4178" actId="47"/>
        <pc:sldMasterMkLst>
          <pc:docMk/>
          <pc:sldMasterMk cId="1189567707" sldId="2147484066"/>
        </pc:sldMasterMkLst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50474266" sldId="2147484067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2556686256" sldId="2147484068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210747478" sldId="2147484069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186363231" sldId="2147484070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817856269" sldId="2147484071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2883984467" sldId="2147484072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149192632" sldId="2147484073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2794924928" sldId="2147484074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348926890" sldId="2147484075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541168205" sldId="2147484076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071993056" sldId="2147484077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319477660" sldId="2147484078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526413293" sldId="2147484079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492125257" sldId="2147484080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44231579" sldId="2147484081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809426658" sldId="2147484082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674370283" sldId="2147484083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3217837828" sldId="2147484086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41371528" sldId="2147484088"/>
          </pc:sldLayoutMkLst>
        </pc:sldLayoutChg>
        <pc:sldLayoutChg chg="del">
          <pc:chgData name="Renata Leite da Silva" userId="47b71ab3-6d7e-48d4-b51d-d52c61ad46ac" providerId="ADAL" clId="{A26BFB71-E7A3-4A29-AB2F-C6CF98456BCA}" dt="2025-11-27T17:10:54.502" v="4178" actId="47"/>
          <pc:sldLayoutMkLst>
            <pc:docMk/>
            <pc:sldMasterMk cId="1189567707" sldId="2147484066"/>
            <pc:sldLayoutMk cId="1802008665" sldId="2147484089"/>
          </pc:sldLayoutMkLst>
        </pc:sldLayoutChg>
      </pc:sldMasterChg>
      <pc:sldMasterChg chg="del delSldLayout">
        <pc:chgData name="Renata Leite da Silva" userId="47b71ab3-6d7e-48d4-b51d-d52c61ad46ac" providerId="ADAL" clId="{A26BFB71-E7A3-4A29-AB2F-C6CF98456BCA}" dt="2025-11-26T18:49:56.646" v="3923" actId="47"/>
        <pc:sldMasterMkLst>
          <pc:docMk/>
          <pc:sldMasterMk cId="2336276797" sldId="2147484066"/>
        </pc:sldMasterMkLst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443866790" sldId="2147484067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683334184" sldId="2147484068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873267591" sldId="2147484069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322343553" sldId="2147484070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472180649" sldId="2147484071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309355487" sldId="2147484072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2228866487" sldId="2147484073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661972834" sldId="2147484074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732215778" sldId="2147484075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237912364" sldId="2147484076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591273492" sldId="2147484077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559012741" sldId="2147484078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570375643" sldId="2147484079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444499500" sldId="2147484080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396224291" sldId="2147484081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317185590" sldId="2147484082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4128151074" sldId="2147484083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2857078442" sldId="2147484086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2402187696" sldId="2147484088"/>
          </pc:sldLayoutMkLst>
        </pc:sldLayoutChg>
        <pc:sldLayoutChg chg="del">
          <pc:chgData name="Renata Leite da Silva" userId="47b71ab3-6d7e-48d4-b51d-d52c61ad46ac" providerId="ADAL" clId="{A26BFB71-E7A3-4A29-AB2F-C6CF98456BCA}" dt="2025-11-26T18:49:56.646" v="3923" actId="47"/>
          <pc:sldLayoutMkLst>
            <pc:docMk/>
            <pc:sldMasterMk cId="2336276797" sldId="2147484066"/>
            <pc:sldLayoutMk cId="1719405810" sldId="214748408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927853312964539"/>
          <c:y val="0.18506270246394949"/>
          <c:w val="0.4938958660493219"/>
          <c:h val="0.44425400656710412"/>
        </c:manualLayout>
      </c:layout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Trabalhos</c:v>
                </c:pt>
              </c:strCache>
            </c:strRef>
          </c:tx>
          <c:explosion val="6"/>
          <c:dPt>
            <c:idx val="0"/>
            <c:bubble3D val="0"/>
            <c:spPr>
              <a:solidFill>
                <a:srgbClr val="C4D6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9E3-475E-AA47-FD86ACE9A844}"/>
              </c:ext>
            </c:extLst>
          </c:dPt>
          <c:dPt>
            <c:idx val="1"/>
            <c:bubble3D val="0"/>
            <c:spPr>
              <a:solidFill>
                <a:srgbClr val="006298"/>
              </a:solidFill>
              <a:ln>
                <a:solidFill>
                  <a:srgbClr val="006298"/>
                </a:solidFill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9E3-475E-AA47-FD86ACE9A844}"/>
              </c:ext>
            </c:extLst>
          </c:dPt>
          <c:dPt>
            <c:idx val="2"/>
            <c:bubble3D val="0"/>
            <c:spPr>
              <a:solidFill>
                <a:srgbClr val="00B1A9"/>
              </a:solidFill>
              <a:ln>
                <a:solidFill>
                  <a:srgbClr val="00B1A9"/>
                </a:solidFill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9E3-475E-AA47-FD86ACE9A844}"/>
              </c:ext>
            </c:extLst>
          </c:dPt>
          <c:dLbls>
            <c:dLbl>
              <c:idx val="2"/>
              <c:layout>
                <c:manualLayout>
                  <c:x val="-9.6165178414699994E-4"/>
                  <c:y val="-1.024912595810345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lt1"/>
                      </a:solidFill>
                      <a:latin typeface="Petrobras Sans" panose="020B060602020403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811812723307241E-2"/>
                      <c:h val="6.41801737098429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9E3-475E-AA47-FD86ACE9A8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Petrobras Sans" panose="020B0606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ilha1!$A$2:$A$4</c:f>
              <c:strCache>
                <c:ptCount val="3"/>
                <c:pt idx="0">
                  <c:v>Transpetro</c:v>
                </c:pt>
                <c:pt idx="1">
                  <c:v>Entidades Externas</c:v>
                </c:pt>
                <c:pt idx="2">
                  <c:v>Empresas Controladas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20.8</c:v>
                </c:pt>
                <c:pt idx="1">
                  <c:v>5.2</c:v>
                </c:pt>
                <c:pt idx="2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9E3-475E-AA47-FD86ACE9A84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320"/>
        <c:holeSize val="46"/>
      </c:doughnutChart>
      <c:spPr>
        <a:noFill/>
        <a:ln>
          <a:noFill/>
        </a:ln>
        <a:effectLst>
          <a:outerShdw blurRad="50800" dist="50800" dir="5400000" algn="ctr" rotWithShape="0">
            <a:schemeClr val="bg1"/>
          </a:outerShdw>
        </a:effectLst>
      </c:spPr>
    </c:plotArea>
    <c:legend>
      <c:legendPos val="b"/>
      <c:layout>
        <c:manualLayout>
          <c:xMode val="edge"/>
          <c:yMode val="edge"/>
          <c:x val="8.4898015936967108E-2"/>
          <c:y val="0.58026403232176338"/>
          <c:w val="0.23730368426535856"/>
          <c:h val="0.304049511778865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Petrobras Sans" panose="020B0606020204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807161110357588"/>
          <c:y val="4.794988815565155E-2"/>
          <c:w val="0.66136691244976187"/>
          <c:h val="0.918854035428897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Horas</c:v>
                </c:pt>
              </c:strCache>
            </c:strRef>
          </c:tx>
          <c:spPr>
            <a:solidFill>
              <a:srgbClr val="C4D600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71C-46D1-AB60-438683A7ED87}"/>
              </c:ext>
            </c:extLst>
          </c:dPt>
          <c:dPt>
            <c:idx val="1"/>
            <c:invertIfNegative val="0"/>
            <c:bubble3D val="0"/>
            <c:spPr>
              <a:solidFill>
                <a:srgbClr val="00B2A9"/>
              </a:solidFill>
              <a:ln>
                <a:noFill/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471C-46D1-AB60-438683A7ED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204C-4B75-AE5E-C2B420B8DDA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Petrobras Sans Light" panose="020B0406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9</c:f>
              <c:strCache>
                <c:ptCount val="8"/>
                <c:pt idx="0">
                  <c:v> TRANSBEL </c:v>
                </c:pt>
                <c:pt idx="1">
                  <c:v> PB-LOG </c:v>
                </c:pt>
                <c:pt idx="2">
                  <c:v> TI BV </c:v>
                </c:pt>
                <c:pt idx="3">
                  <c:v> PRES </c:v>
                </c:pt>
                <c:pt idx="4">
                  <c:v> DFIN </c:v>
                </c:pt>
                <c:pt idx="5">
                  <c:v> DTM </c:v>
                </c:pt>
                <c:pt idx="6">
                  <c:v> DCJUR </c:v>
                </c:pt>
                <c:pt idx="7">
                  <c:v> DDT </c:v>
                </c:pt>
              </c:strCache>
            </c:strRef>
          </c:cat>
          <c:val>
            <c:numRef>
              <c:f>Planilha1!$B$2:$B$9</c:f>
              <c:numCache>
                <c:formatCode>#,##0.0_ ;\-#,##0.0\ </c:formatCode>
                <c:ptCount val="8"/>
                <c:pt idx="0">
                  <c:v>0.14000000000000001</c:v>
                </c:pt>
                <c:pt idx="1">
                  <c:v>1.04</c:v>
                </c:pt>
                <c:pt idx="2">
                  <c:v>1.2</c:v>
                </c:pt>
                <c:pt idx="3">
                  <c:v>0.12</c:v>
                </c:pt>
                <c:pt idx="4">
                  <c:v>1.7050000000000001</c:v>
                </c:pt>
                <c:pt idx="5">
                  <c:v>4.0999999999999996</c:v>
                </c:pt>
                <c:pt idx="6">
                  <c:v>6.1449999999999996</c:v>
                </c:pt>
                <c:pt idx="7">
                  <c:v>8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09-4727-854C-339B9F9673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95263503"/>
        <c:axId val="1744888192"/>
      </c:barChart>
      <c:valAx>
        <c:axId val="1744888192"/>
        <c:scaling>
          <c:orientation val="minMax"/>
        </c:scaling>
        <c:delete val="1"/>
        <c:axPos val="b"/>
        <c:numFmt formatCode="#,##0.0_ ;\-#,##0.0\ " sourceLinked="1"/>
        <c:majorTickMark val="out"/>
        <c:minorTickMark val="none"/>
        <c:tickLblPos val="nextTo"/>
        <c:crossAx val="1495263503"/>
        <c:crosses val="autoZero"/>
        <c:crossBetween val="between"/>
      </c:valAx>
      <c:catAx>
        <c:axId val="1495263503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tx1"/>
                </a:solidFill>
                <a:latin typeface="Petrobras Sans Light" panose="020B0406020204030204" pitchFamily="34" charset="0"/>
                <a:ea typeface="+mn-ea"/>
                <a:cs typeface="+mn-cs"/>
              </a:defRPr>
            </a:pPr>
            <a:endParaRPr lang="en-US"/>
          </a:p>
        </c:txPr>
        <c:crossAx val="1744888192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  <a:ln>
          <a:solidFill>
            <a:schemeClr val="bg1"/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807161110357588"/>
          <c:y val="4.794988815565155E-2"/>
          <c:w val="0.20464558531746033"/>
          <c:h val="0.918854035428897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Horas</c:v>
                </c:pt>
              </c:strCache>
            </c:strRef>
          </c:tx>
          <c:spPr>
            <a:solidFill>
              <a:srgbClr val="006298"/>
            </a:solidFill>
            <a:ln>
              <a:solidFill>
                <a:srgbClr val="006298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Petrobras Sans Light" panose="020B0406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 APS </c:v>
                </c:pt>
                <c:pt idx="1">
                  <c:v> PETROS </c:v>
                </c:pt>
              </c:strCache>
            </c:strRef>
          </c:cat>
          <c:val>
            <c:numRef>
              <c:f>Planilha1!$B$2:$B$3</c:f>
              <c:numCache>
                <c:formatCode>#,##0.0_ ;\-#,##0.0\ </c:formatCode>
                <c:ptCount val="2"/>
                <c:pt idx="0">
                  <c:v>2.0499999999999998</c:v>
                </c:pt>
                <c:pt idx="1">
                  <c:v>3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46-4334-B205-DEFFD56A04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95263503"/>
        <c:axId val="1744888192"/>
      </c:barChart>
      <c:valAx>
        <c:axId val="1744888192"/>
        <c:scaling>
          <c:orientation val="minMax"/>
        </c:scaling>
        <c:delete val="1"/>
        <c:axPos val="b"/>
        <c:numFmt formatCode="#,##0.0_ ;\-#,##0.0\ " sourceLinked="1"/>
        <c:majorTickMark val="out"/>
        <c:minorTickMark val="none"/>
        <c:tickLblPos val="nextTo"/>
        <c:crossAx val="1495263503"/>
        <c:crosses val="autoZero"/>
        <c:crossBetween val="between"/>
      </c:valAx>
      <c:catAx>
        <c:axId val="1495263503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tx1"/>
                </a:solidFill>
                <a:latin typeface="Petrobras Sans Light" panose="020B0406020204030204" pitchFamily="34" charset="0"/>
                <a:ea typeface="+mn-ea"/>
                <a:cs typeface="+mn-cs"/>
              </a:defRPr>
            </a:pPr>
            <a:endParaRPr lang="en-US"/>
          </a:p>
        </c:txPr>
        <c:crossAx val="1744888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75610984865085"/>
          <c:y val="0"/>
          <c:w val="0.75882819898752651"/>
          <c:h val="1"/>
        </c:manualLayout>
      </c:layout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Trabalhos</c:v>
                </c:pt>
              </c:strCache>
            </c:strRef>
          </c:tx>
          <c:spPr>
            <a:effectLst>
              <a:outerShdw blurRad="50800" dist="50800" dir="5400000" algn="ctr" rotWithShape="0">
                <a:schemeClr val="bg1"/>
              </a:outerShdw>
            </a:effectLst>
          </c:spPr>
          <c:explosion val="6"/>
          <c:dPt>
            <c:idx val="0"/>
            <c:bubble3D val="0"/>
            <c:spPr>
              <a:noFill/>
              <a:ln>
                <a:solidFill>
                  <a:srgbClr val="C4D60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950-429C-BFAE-927045BB8CCC}"/>
              </c:ext>
            </c:extLst>
          </c:dPt>
          <c:dPt>
            <c:idx val="1"/>
            <c:bubble3D val="0"/>
            <c:spPr>
              <a:solidFill>
                <a:srgbClr val="006298"/>
              </a:solidFill>
              <a:ln>
                <a:solidFill>
                  <a:srgbClr val="006298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950-429C-BFAE-927045BB8CCC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>
                <a:solidFill>
                  <a:srgbClr val="00B1A9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950-429C-BFAE-927045BB8CCC}"/>
              </c:ext>
            </c:extLst>
          </c:dPt>
          <c:dLbls>
            <c:delete val="1"/>
          </c:dLbls>
          <c:cat>
            <c:strRef>
              <c:f>Planilha1!$A$2:$A$4</c:f>
              <c:strCache>
                <c:ptCount val="3"/>
                <c:pt idx="0">
                  <c:v>Transpetro</c:v>
                </c:pt>
                <c:pt idx="1">
                  <c:v>Entidades Externas</c:v>
                </c:pt>
                <c:pt idx="2">
                  <c:v>Empresas Controladas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23</c:v>
                </c:pt>
                <c:pt idx="1">
                  <c:v>4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950-429C-BFAE-927045BB8CC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320"/>
        <c:holeSize val="46"/>
      </c:doughnutChart>
      <c:spPr>
        <a:noFill/>
        <a:ln>
          <a:noFill/>
        </a:ln>
        <a:effectLst>
          <a:outerShdw blurRad="50800" dist="50800" dir="5400000" algn="ctr" rotWithShape="0">
            <a:schemeClr val="bg1"/>
          </a:outerShdw>
        </a:effectLst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12C04-2377-4285-B9DD-AAF048982E82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74688" y="1143000"/>
            <a:ext cx="5508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0CC17E-7AA9-4907-9222-31BDC1DF66C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159241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1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50BBAA-D410-460C-B5A1-4A2E6A6DEF7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1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8794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0CC17E-7AA9-4907-9222-31BDC1DF66C7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8607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91669-65A9-8347-AD82-B9ADD13F6AF0}" type="slidenum">
              <a:rPr kumimoji="0" lang="pt-BR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546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4342A-1A51-4959-BF49-6F43F20CDD5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3287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0CC17E-7AA9-4907-9222-31BDC1DF66C7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5848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6FD52E-3D1B-3F13-0820-D635473CF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6AEAB60-F66D-B9BC-6D9C-AA393FA165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0B4A9730-F0D7-B0A8-DCBF-8DE5C89BE2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8BF1CA2-1996-9397-3B10-B312EEA15B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1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50BBAA-D410-460C-B5A1-4A2E6A6DEF7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1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956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A9AA3-1403-5E7F-D5E9-E4330F3FAB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DC59B14-EB6C-48F1-1EBB-202F52D33C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BD18BBD-F401-7B9D-7D68-E8BBFEBD99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kern="0">
                <a:solidFill>
                  <a:srgbClr val="000000"/>
                </a:solidFill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MOS TERMINAIS PRÓPRIOS E DE TERCEIROS EM 17 ESTADOS E NO DISTRITO FEDERAL. ESTE SLIDE TRAZ NOSSOS PRINCIPAIS NÚMEROS REFERENTES A INSTALAÇÕES E CAPACIDADE DE MOVIMENTAÇÃO NOS TERMINAIS. </a:t>
            </a: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777D28F-BD4E-3290-41A7-FD9B353427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480E15-3605-4AAA-B06D-54FC4D6ACC9E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2803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C1EE4-3A9A-4AF3-8BC8-86E3EBF1D58D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869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4342A-1A51-4959-BF49-6F43F20CDD5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148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794E1B-1229-7EAE-AB13-826270074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C93C39E-9C8A-66A0-6AE1-D09EB07CD8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759C9C64-F44D-8683-67BB-62A2A1D0E1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478F510-464E-261B-AD7F-285EF5B450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CC17E-7AA9-4907-9222-31BDC1DF66C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177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4342A-1A51-4959-BF49-6F43F20CDD5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781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2.png"/><Relationship Id="rId7" Type="http://schemas.openxmlformats.org/officeDocument/2006/relationships/image" Target="../media/image37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63.svg"/><Relationship Id="rId9" Type="http://schemas.openxmlformats.org/officeDocument/2006/relationships/image" Target="../media/image67.png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4.png"/><Relationship Id="rId7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6.svg"/><Relationship Id="rId5" Type="http://schemas.openxmlformats.org/officeDocument/2006/relationships/image" Target="../media/image37.png"/><Relationship Id="rId4" Type="http://schemas.openxmlformats.org/officeDocument/2006/relationships/image" Target="../media/image65.svg"/><Relationship Id="rId9" Type="http://schemas.openxmlformats.org/officeDocument/2006/relationships/image" Target="../media/image71.svg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4.png"/><Relationship Id="rId7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6.svg"/><Relationship Id="rId5" Type="http://schemas.openxmlformats.org/officeDocument/2006/relationships/image" Target="../media/image37.png"/><Relationship Id="rId4" Type="http://schemas.openxmlformats.org/officeDocument/2006/relationships/image" Target="../media/image65.svg"/><Relationship Id="rId9" Type="http://schemas.openxmlformats.org/officeDocument/2006/relationships/image" Target="../media/image71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microsoft.com/office/2007/relationships/hdphoto" Target="../media/hdphoto1.wdp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sv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80.emf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png"/><Relationship Id="rId11" Type="http://schemas.openxmlformats.org/officeDocument/2006/relationships/image" Target="../media/image29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8.pn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3.png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29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30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4" Type="http://schemas.openxmlformats.org/officeDocument/2006/relationships/image" Target="../media/image30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39" y="1697635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1785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4"/>
            <a:ext cx="4625662" cy="81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33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33017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r>
              <a:rPr lang="pt-BR"/>
              <a:t>AUDITORIA INTERNA - ATI</a:t>
            </a:r>
          </a:p>
        </p:txBody>
      </p:sp>
    </p:spTree>
    <p:extLst>
      <p:ext uri="{BB962C8B-B14F-4D97-AF65-F5344CB8AC3E}">
        <p14:creationId xmlns:p14="http://schemas.microsoft.com/office/powerpoint/2010/main" val="1139597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m_Som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5">
            <a:extLst>
              <a:ext uri="{FF2B5EF4-FFF2-40B4-BE49-F238E27FC236}">
                <a16:creationId xmlns:a16="http://schemas.microsoft.com/office/drawing/2014/main" id="{B002C482-A3E0-4CFC-905A-FAAE5373B20B}"/>
              </a:ext>
            </a:extLst>
          </p:cNvPr>
          <p:cNvSpPr/>
          <p:nvPr userDrawn="1"/>
        </p:nvSpPr>
        <p:spPr>
          <a:xfrm>
            <a:off x="5338271" y="1889349"/>
            <a:ext cx="7019975" cy="6855167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  <p:sp>
        <p:nvSpPr>
          <p:cNvPr id="7" name="Rounded Rectangular Callout 151">
            <a:extLst>
              <a:ext uri="{FF2B5EF4-FFF2-40B4-BE49-F238E27FC236}">
                <a16:creationId xmlns:a16="http://schemas.microsoft.com/office/drawing/2014/main" id="{505FC901-74FC-4A9F-AE10-427CB07CBDCE}"/>
              </a:ext>
            </a:extLst>
          </p:cNvPr>
          <p:cNvSpPr/>
          <p:nvPr userDrawn="1"/>
        </p:nvSpPr>
        <p:spPr>
          <a:xfrm flipH="1">
            <a:off x="1931864" y="2294756"/>
            <a:ext cx="5581424" cy="1740360"/>
          </a:xfrm>
          <a:prstGeom prst="wedgeRoundRectCallout">
            <a:avLst>
              <a:gd name="adj1" fmla="val -64283"/>
              <a:gd name="adj2" fmla="val 4034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4148E2DE-AEFB-41E1-B36D-5BEE64BAC034}"/>
              </a:ext>
            </a:extLst>
          </p:cNvPr>
          <p:cNvGrpSpPr/>
          <p:nvPr userDrawn="1"/>
        </p:nvGrpSpPr>
        <p:grpSpPr>
          <a:xfrm rot="5400000">
            <a:off x="6838230" y="2467517"/>
            <a:ext cx="4077883" cy="5596623"/>
            <a:chOff x="3471863" y="4257675"/>
            <a:chExt cx="528637" cy="722313"/>
          </a:xfrm>
        </p:grpSpPr>
        <p:sp>
          <p:nvSpPr>
            <p:cNvPr id="9" name="Freeform 316">
              <a:extLst>
                <a:ext uri="{FF2B5EF4-FFF2-40B4-BE49-F238E27FC236}">
                  <a16:creationId xmlns:a16="http://schemas.microsoft.com/office/drawing/2014/main" id="{018DD262-AF02-4483-AA2D-77AFEE74A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805363"/>
              <a:ext cx="130175" cy="95250"/>
            </a:xfrm>
            <a:custGeom>
              <a:avLst/>
              <a:gdLst>
                <a:gd name="T0" fmla="*/ 0 w 363"/>
                <a:gd name="T1" fmla="*/ 0 h 263"/>
                <a:gd name="T2" fmla="*/ 362 w 363"/>
                <a:gd name="T3" fmla="*/ 0 h 263"/>
                <a:gd name="T4" fmla="*/ 362 w 363"/>
                <a:gd name="T5" fmla="*/ 262 h 263"/>
                <a:gd name="T6" fmla="*/ 0 w 363"/>
                <a:gd name="T7" fmla="*/ 262 h 263"/>
                <a:gd name="T8" fmla="*/ 0 w 363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63">
                  <a:moveTo>
                    <a:pt x="0" y="0"/>
                  </a:moveTo>
                  <a:lnTo>
                    <a:pt x="362" y="0"/>
                  </a:lnTo>
                  <a:lnTo>
                    <a:pt x="362" y="262"/>
                  </a:lnTo>
                  <a:lnTo>
                    <a:pt x="0" y="262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:a16="http://schemas.microsoft.com/office/drawing/2014/main" id="{94A4C75F-E6C8-42FD-98ED-15C632F63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338638"/>
              <a:ext cx="130175" cy="98425"/>
            </a:xfrm>
            <a:custGeom>
              <a:avLst/>
              <a:gdLst>
                <a:gd name="T0" fmla="*/ 0 w 363"/>
                <a:gd name="T1" fmla="*/ 0 h 275"/>
                <a:gd name="T2" fmla="*/ 362 w 363"/>
                <a:gd name="T3" fmla="*/ 0 h 275"/>
                <a:gd name="T4" fmla="*/ 362 w 363"/>
                <a:gd name="T5" fmla="*/ 274 h 275"/>
                <a:gd name="T6" fmla="*/ 0 w 363"/>
                <a:gd name="T7" fmla="*/ 274 h 275"/>
                <a:gd name="T8" fmla="*/ 0 w 363"/>
                <a:gd name="T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0" y="0"/>
                  </a:moveTo>
                  <a:lnTo>
                    <a:pt x="362" y="0"/>
                  </a:lnTo>
                  <a:lnTo>
                    <a:pt x="362" y="274"/>
                  </a:lnTo>
                  <a:lnTo>
                    <a:pt x="0" y="274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1" name="Freeform 319">
              <a:extLst>
                <a:ext uri="{FF2B5EF4-FFF2-40B4-BE49-F238E27FC236}">
                  <a16:creationId xmlns:a16="http://schemas.microsoft.com/office/drawing/2014/main" id="{EE42F1CC-1FB4-4B60-B560-93702AA0A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4557713"/>
              <a:ext cx="125412" cy="122237"/>
            </a:xfrm>
            <a:custGeom>
              <a:avLst/>
              <a:gdLst>
                <a:gd name="T0" fmla="*/ 0 w 350"/>
                <a:gd name="T1" fmla="*/ 0 h 338"/>
                <a:gd name="T2" fmla="*/ 349 w 350"/>
                <a:gd name="T3" fmla="*/ 0 h 338"/>
                <a:gd name="T4" fmla="*/ 349 w 350"/>
                <a:gd name="T5" fmla="*/ 337 h 338"/>
                <a:gd name="T6" fmla="*/ 0 w 350"/>
                <a:gd name="T7" fmla="*/ 337 h 338"/>
                <a:gd name="T8" fmla="*/ 0 w 350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38">
                  <a:moveTo>
                    <a:pt x="0" y="0"/>
                  </a:moveTo>
                  <a:lnTo>
                    <a:pt x="349" y="0"/>
                  </a:lnTo>
                  <a:lnTo>
                    <a:pt x="349" y="337"/>
                  </a:lnTo>
                  <a:lnTo>
                    <a:pt x="0" y="337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2" name="Freeform 320">
              <a:extLst>
                <a:ext uri="{FF2B5EF4-FFF2-40B4-BE49-F238E27FC236}">
                  <a16:creationId xmlns:a16="http://schemas.microsoft.com/office/drawing/2014/main" id="{5381B95A-D9AE-4463-B8B8-23BBA8A700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025" y="4410075"/>
              <a:ext cx="350838" cy="417513"/>
            </a:xfrm>
            <a:custGeom>
              <a:avLst/>
              <a:gdLst>
                <a:gd name="T0" fmla="*/ 972 w 973"/>
                <a:gd name="T1" fmla="*/ 0 h 1161"/>
                <a:gd name="T2" fmla="*/ 972 w 973"/>
                <a:gd name="T3" fmla="*/ 0 h 1161"/>
                <a:gd name="T4" fmla="*/ 972 w 973"/>
                <a:gd name="T5" fmla="*/ 1123 h 1161"/>
                <a:gd name="T6" fmla="*/ 922 w 973"/>
                <a:gd name="T7" fmla="*/ 1160 h 1161"/>
                <a:gd name="T8" fmla="*/ 37 w 973"/>
                <a:gd name="T9" fmla="*/ 1160 h 1161"/>
                <a:gd name="T10" fmla="*/ 0 w 973"/>
                <a:gd name="T11" fmla="*/ 1123 h 1161"/>
                <a:gd name="T12" fmla="*/ 0 w 973"/>
                <a:gd name="T13" fmla="*/ 38 h 1161"/>
                <a:gd name="T14" fmla="*/ 37 w 973"/>
                <a:gd name="T15" fmla="*/ 0 h 1161"/>
                <a:gd name="T16" fmla="*/ 972 w 973"/>
                <a:gd name="T17" fmla="*/ 0 h 1161"/>
                <a:gd name="T18" fmla="*/ 972 w 973"/>
                <a:gd name="T19" fmla="*/ 0 h 1161"/>
                <a:gd name="T20" fmla="*/ 972 w 973"/>
                <a:gd name="T21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3" h="1161">
                  <a:moveTo>
                    <a:pt x="972" y="0"/>
                  </a:moveTo>
                  <a:lnTo>
                    <a:pt x="972" y="0"/>
                  </a:lnTo>
                  <a:cubicBezTo>
                    <a:pt x="972" y="1123"/>
                    <a:pt x="972" y="1123"/>
                    <a:pt x="972" y="1123"/>
                  </a:cubicBezTo>
                  <a:cubicBezTo>
                    <a:pt x="972" y="1147"/>
                    <a:pt x="946" y="1160"/>
                    <a:pt x="922" y="1160"/>
                  </a:cubicBezTo>
                  <a:cubicBezTo>
                    <a:pt x="37" y="1160"/>
                    <a:pt x="37" y="1160"/>
                    <a:pt x="37" y="1160"/>
                  </a:cubicBezTo>
                  <a:cubicBezTo>
                    <a:pt x="13" y="1160"/>
                    <a:pt x="0" y="1147"/>
                    <a:pt x="0" y="112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2"/>
                    <a:pt x="13" y="0"/>
                    <a:pt x="37" y="0"/>
                  </a:cubicBezTo>
                  <a:lnTo>
                    <a:pt x="972" y="0"/>
                  </a:lnTo>
                  <a:close/>
                  <a:moveTo>
                    <a:pt x="972" y="0"/>
                  </a:moveTo>
                  <a:lnTo>
                    <a:pt x="972" y="0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3" name="Freeform 321">
              <a:extLst>
                <a:ext uri="{FF2B5EF4-FFF2-40B4-BE49-F238E27FC236}">
                  <a16:creationId xmlns:a16="http://schemas.microsoft.com/office/drawing/2014/main" id="{61ED6D30-1CF3-4F09-BDC6-BC231684D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775" y="4410075"/>
              <a:ext cx="63500" cy="417513"/>
            </a:xfrm>
            <a:custGeom>
              <a:avLst/>
              <a:gdLst>
                <a:gd name="T0" fmla="*/ 175 w 176"/>
                <a:gd name="T1" fmla="*/ 0 h 1161"/>
                <a:gd name="T2" fmla="*/ 175 w 176"/>
                <a:gd name="T3" fmla="*/ 0 h 1161"/>
                <a:gd name="T4" fmla="*/ 175 w 176"/>
                <a:gd name="T5" fmla="*/ 1123 h 1161"/>
                <a:gd name="T6" fmla="*/ 125 w 176"/>
                <a:gd name="T7" fmla="*/ 1160 h 1161"/>
                <a:gd name="T8" fmla="*/ 0 w 176"/>
                <a:gd name="T9" fmla="*/ 1160 h 1161"/>
                <a:gd name="T10" fmla="*/ 37 w 176"/>
                <a:gd name="T11" fmla="*/ 1097 h 1161"/>
                <a:gd name="T12" fmla="*/ 37 w 176"/>
                <a:gd name="T13" fmla="*/ 62 h 1161"/>
                <a:gd name="T14" fmla="*/ 13 w 176"/>
                <a:gd name="T15" fmla="*/ 0 h 1161"/>
                <a:gd name="T16" fmla="*/ 0 w 176"/>
                <a:gd name="T17" fmla="*/ 0 h 1161"/>
                <a:gd name="T18" fmla="*/ 175 w 176"/>
                <a:gd name="T19" fmla="*/ 0 h 1161"/>
                <a:gd name="T20" fmla="*/ 175 w 176"/>
                <a:gd name="T21" fmla="*/ 0 h 1161"/>
                <a:gd name="T22" fmla="*/ 175 w 176"/>
                <a:gd name="T23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161">
                  <a:moveTo>
                    <a:pt x="175" y="0"/>
                  </a:moveTo>
                  <a:lnTo>
                    <a:pt x="175" y="0"/>
                  </a:lnTo>
                  <a:cubicBezTo>
                    <a:pt x="175" y="1123"/>
                    <a:pt x="175" y="1123"/>
                    <a:pt x="175" y="1123"/>
                  </a:cubicBezTo>
                  <a:cubicBezTo>
                    <a:pt x="175" y="1147"/>
                    <a:pt x="149" y="1160"/>
                    <a:pt x="125" y="1160"/>
                  </a:cubicBezTo>
                  <a:cubicBezTo>
                    <a:pt x="0" y="1160"/>
                    <a:pt x="0" y="1160"/>
                    <a:pt x="0" y="1160"/>
                  </a:cubicBezTo>
                  <a:cubicBezTo>
                    <a:pt x="25" y="1147"/>
                    <a:pt x="37" y="1123"/>
                    <a:pt x="37" y="109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38"/>
                    <a:pt x="25" y="1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5" y="0"/>
                  </a:lnTo>
                  <a:close/>
                  <a:moveTo>
                    <a:pt x="175" y="0"/>
                  </a:moveTo>
                  <a:lnTo>
                    <a:pt x="175" y="0"/>
                  </a:lnTo>
                  <a:close/>
                </a:path>
              </a:pathLst>
            </a:custGeom>
            <a:solidFill>
              <a:srgbClr val="75787B">
                <a:alpha val="2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4" name="Freeform 326">
              <a:extLst>
                <a:ext uri="{FF2B5EF4-FFF2-40B4-BE49-F238E27FC236}">
                  <a16:creationId xmlns:a16="http://schemas.microsoft.com/office/drawing/2014/main" id="{38FFEEE4-A334-4B58-B6B0-3790E42C5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4527550"/>
              <a:ext cx="90488" cy="184150"/>
            </a:xfrm>
            <a:custGeom>
              <a:avLst/>
              <a:gdLst>
                <a:gd name="T0" fmla="*/ 250 w 251"/>
                <a:gd name="T1" fmla="*/ 124 h 512"/>
                <a:gd name="T2" fmla="*/ 250 w 251"/>
                <a:gd name="T3" fmla="*/ 124 h 512"/>
                <a:gd name="T4" fmla="*/ 250 w 251"/>
                <a:gd name="T5" fmla="*/ 386 h 512"/>
                <a:gd name="T6" fmla="*/ 125 w 251"/>
                <a:gd name="T7" fmla="*/ 511 h 512"/>
                <a:gd name="T8" fmla="*/ 88 w 251"/>
                <a:gd name="T9" fmla="*/ 511 h 512"/>
                <a:gd name="T10" fmla="*/ 62 w 251"/>
                <a:gd name="T11" fmla="*/ 511 h 512"/>
                <a:gd name="T12" fmla="*/ 0 w 251"/>
                <a:gd name="T13" fmla="*/ 436 h 512"/>
                <a:gd name="T14" fmla="*/ 0 w 251"/>
                <a:gd name="T15" fmla="*/ 74 h 512"/>
                <a:gd name="T16" fmla="*/ 62 w 251"/>
                <a:gd name="T17" fmla="*/ 0 h 512"/>
                <a:gd name="T18" fmla="*/ 88 w 251"/>
                <a:gd name="T19" fmla="*/ 0 h 512"/>
                <a:gd name="T20" fmla="*/ 125 w 251"/>
                <a:gd name="T21" fmla="*/ 0 h 512"/>
                <a:gd name="T22" fmla="*/ 250 w 251"/>
                <a:gd name="T23" fmla="*/ 124 h 512"/>
                <a:gd name="T24" fmla="*/ 250 w 251"/>
                <a:gd name="T25" fmla="*/ 124 h 512"/>
                <a:gd name="T26" fmla="*/ 250 w 251"/>
                <a:gd name="T27" fmla="*/ 1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512">
                  <a:moveTo>
                    <a:pt x="250" y="124"/>
                  </a:moveTo>
                  <a:lnTo>
                    <a:pt x="250" y="124"/>
                  </a:lnTo>
                  <a:cubicBezTo>
                    <a:pt x="250" y="386"/>
                    <a:pt x="250" y="386"/>
                    <a:pt x="250" y="386"/>
                  </a:cubicBezTo>
                  <a:cubicBezTo>
                    <a:pt x="250" y="461"/>
                    <a:pt x="187" y="511"/>
                    <a:pt x="125" y="511"/>
                  </a:cubicBezTo>
                  <a:cubicBezTo>
                    <a:pt x="88" y="511"/>
                    <a:pt x="88" y="511"/>
                    <a:pt x="88" y="511"/>
                  </a:cubicBezTo>
                  <a:cubicBezTo>
                    <a:pt x="75" y="511"/>
                    <a:pt x="62" y="511"/>
                    <a:pt x="62" y="511"/>
                  </a:cubicBezTo>
                  <a:cubicBezTo>
                    <a:pt x="25" y="498"/>
                    <a:pt x="0" y="473"/>
                    <a:pt x="0" y="4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7"/>
                    <a:pt x="25" y="12"/>
                    <a:pt x="62" y="0"/>
                  </a:cubicBezTo>
                  <a:cubicBezTo>
                    <a:pt x="62" y="0"/>
                    <a:pt x="75" y="0"/>
                    <a:pt x="8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87" y="0"/>
                    <a:pt x="250" y="49"/>
                    <a:pt x="250" y="124"/>
                  </a:cubicBezTo>
                  <a:close/>
                  <a:moveTo>
                    <a:pt x="250" y="124"/>
                  </a:moveTo>
                  <a:lnTo>
                    <a:pt x="250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5" name="Freeform 328">
              <a:extLst>
                <a:ext uri="{FF2B5EF4-FFF2-40B4-BE49-F238E27FC236}">
                  <a16:creationId xmlns:a16="http://schemas.microsoft.com/office/drawing/2014/main" id="{59A90E96-F095-4FAA-B389-4EA923D22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1863" y="4579938"/>
              <a:ext cx="85725" cy="76200"/>
            </a:xfrm>
            <a:custGeom>
              <a:avLst/>
              <a:gdLst>
                <a:gd name="T0" fmla="*/ 236 w 237"/>
                <a:gd name="T1" fmla="*/ 99 h 213"/>
                <a:gd name="T2" fmla="*/ 236 w 237"/>
                <a:gd name="T3" fmla="*/ 99 h 213"/>
                <a:gd name="T4" fmla="*/ 236 w 237"/>
                <a:gd name="T5" fmla="*/ 112 h 213"/>
                <a:gd name="T6" fmla="*/ 136 w 237"/>
                <a:gd name="T7" fmla="*/ 212 h 213"/>
                <a:gd name="T8" fmla="*/ 74 w 237"/>
                <a:gd name="T9" fmla="*/ 212 h 213"/>
                <a:gd name="T10" fmla="*/ 62 w 237"/>
                <a:gd name="T11" fmla="*/ 212 h 213"/>
                <a:gd name="T12" fmla="*/ 0 w 237"/>
                <a:gd name="T13" fmla="*/ 137 h 213"/>
                <a:gd name="T14" fmla="*/ 0 w 237"/>
                <a:gd name="T15" fmla="*/ 75 h 213"/>
                <a:gd name="T16" fmla="*/ 62 w 237"/>
                <a:gd name="T17" fmla="*/ 12 h 213"/>
                <a:gd name="T18" fmla="*/ 74 w 237"/>
                <a:gd name="T19" fmla="*/ 0 h 213"/>
                <a:gd name="T20" fmla="*/ 136 w 237"/>
                <a:gd name="T21" fmla="*/ 0 h 213"/>
                <a:gd name="T22" fmla="*/ 236 w 237"/>
                <a:gd name="T23" fmla="*/ 99 h 213"/>
                <a:gd name="T24" fmla="*/ 236 w 237"/>
                <a:gd name="T25" fmla="*/ 99 h 213"/>
                <a:gd name="T26" fmla="*/ 236 w 237"/>
                <a:gd name="T27" fmla="*/ 9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7" h="213">
                  <a:moveTo>
                    <a:pt x="236" y="99"/>
                  </a:moveTo>
                  <a:lnTo>
                    <a:pt x="236" y="99"/>
                  </a:lnTo>
                  <a:cubicBezTo>
                    <a:pt x="236" y="112"/>
                    <a:pt x="236" y="112"/>
                    <a:pt x="236" y="112"/>
                  </a:cubicBezTo>
                  <a:cubicBezTo>
                    <a:pt x="236" y="162"/>
                    <a:pt x="186" y="212"/>
                    <a:pt x="136" y="212"/>
                  </a:cubicBezTo>
                  <a:cubicBezTo>
                    <a:pt x="74" y="212"/>
                    <a:pt x="74" y="212"/>
                    <a:pt x="74" y="212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24" y="200"/>
                    <a:pt x="0" y="174"/>
                    <a:pt x="0" y="13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37"/>
                    <a:pt x="24" y="12"/>
                    <a:pt x="62" y="12"/>
                  </a:cubicBezTo>
                  <a:cubicBezTo>
                    <a:pt x="62" y="0"/>
                    <a:pt x="62" y="0"/>
                    <a:pt x="7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86" y="0"/>
                    <a:pt x="236" y="50"/>
                    <a:pt x="236" y="99"/>
                  </a:cubicBezTo>
                  <a:close/>
                  <a:moveTo>
                    <a:pt x="236" y="99"/>
                  </a:moveTo>
                  <a:lnTo>
                    <a:pt x="236" y="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6" name="Freeform 330">
              <a:extLst>
                <a:ext uri="{FF2B5EF4-FFF2-40B4-BE49-F238E27FC236}">
                  <a16:creationId xmlns:a16="http://schemas.microsoft.com/office/drawing/2014/main" id="{968B7C9C-B8E3-447A-98E8-5CC9ECBFD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867275"/>
              <a:ext cx="184150" cy="85725"/>
            </a:xfrm>
            <a:custGeom>
              <a:avLst/>
              <a:gdLst>
                <a:gd name="T0" fmla="*/ 511 w 512"/>
                <a:gd name="T1" fmla="*/ 125 h 238"/>
                <a:gd name="T2" fmla="*/ 511 w 512"/>
                <a:gd name="T3" fmla="*/ 125 h 238"/>
                <a:gd name="T4" fmla="*/ 511 w 512"/>
                <a:gd name="T5" fmla="*/ 162 h 238"/>
                <a:gd name="T6" fmla="*/ 437 w 512"/>
                <a:gd name="T7" fmla="*/ 237 h 238"/>
                <a:gd name="T8" fmla="*/ 75 w 512"/>
                <a:gd name="T9" fmla="*/ 237 h 238"/>
                <a:gd name="T10" fmla="*/ 0 w 512"/>
                <a:gd name="T11" fmla="*/ 162 h 238"/>
                <a:gd name="T12" fmla="*/ 0 w 512"/>
                <a:gd name="T13" fmla="*/ 125 h 238"/>
                <a:gd name="T14" fmla="*/ 125 w 512"/>
                <a:gd name="T15" fmla="*/ 0 h 238"/>
                <a:gd name="T16" fmla="*/ 387 w 512"/>
                <a:gd name="T17" fmla="*/ 0 h 238"/>
                <a:gd name="T18" fmla="*/ 511 w 512"/>
                <a:gd name="T19" fmla="*/ 125 h 238"/>
                <a:gd name="T20" fmla="*/ 511 w 512"/>
                <a:gd name="T21" fmla="*/ 125 h 238"/>
                <a:gd name="T22" fmla="*/ 511 w 512"/>
                <a:gd name="T23" fmla="*/ 12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2" h="238">
                  <a:moveTo>
                    <a:pt x="511" y="125"/>
                  </a:moveTo>
                  <a:lnTo>
                    <a:pt x="511" y="125"/>
                  </a:lnTo>
                  <a:cubicBezTo>
                    <a:pt x="511" y="162"/>
                    <a:pt x="511" y="162"/>
                    <a:pt x="511" y="162"/>
                  </a:cubicBezTo>
                  <a:cubicBezTo>
                    <a:pt x="511" y="212"/>
                    <a:pt x="474" y="237"/>
                    <a:pt x="437" y="237"/>
                  </a:cubicBezTo>
                  <a:cubicBezTo>
                    <a:pt x="75" y="237"/>
                    <a:pt x="75" y="237"/>
                    <a:pt x="75" y="237"/>
                  </a:cubicBezTo>
                  <a:cubicBezTo>
                    <a:pt x="38" y="237"/>
                    <a:pt x="0" y="212"/>
                    <a:pt x="0" y="16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0"/>
                    <a:pt x="63" y="0"/>
                    <a:pt x="125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62" y="0"/>
                    <a:pt x="511" y="50"/>
                    <a:pt x="511" y="125"/>
                  </a:cubicBezTo>
                  <a:close/>
                  <a:moveTo>
                    <a:pt x="511" y="125"/>
                  </a:moveTo>
                  <a:lnTo>
                    <a:pt x="511" y="1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7" name="Freeform 332">
              <a:extLst>
                <a:ext uri="{FF2B5EF4-FFF2-40B4-BE49-F238E27FC236}">
                  <a16:creationId xmlns:a16="http://schemas.microsoft.com/office/drawing/2014/main" id="{265F8020-554A-4849-B4FF-2BD4C513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899025"/>
              <a:ext cx="73025" cy="80963"/>
            </a:xfrm>
            <a:custGeom>
              <a:avLst/>
              <a:gdLst>
                <a:gd name="T0" fmla="*/ 200 w 201"/>
                <a:gd name="T1" fmla="*/ 100 h 226"/>
                <a:gd name="T2" fmla="*/ 200 w 201"/>
                <a:gd name="T3" fmla="*/ 100 h 226"/>
                <a:gd name="T4" fmla="*/ 200 w 201"/>
                <a:gd name="T5" fmla="*/ 163 h 226"/>
                <a:gd name="T6" fmla="*/ 125 w 201"/>
                <a:gd name="T7" fmla="*/ 225 h 226"/>
                <a:gd name="T8" fmla="*/ 63 w 201"/>
                <a:gd name="T9" fmla="*/ 225 h 226"/>
                <a:gd name="T10" fmla="*/ 50 w 201"/>
                <a:gd name="T11" fmla="*/ 225 h 226"/>
                <a:gd name="T12" fmla="*/ 0 w 201"/>
                <a:gd name="T13" fmla="*/ 163 h 226"/>
                <a:gd name="T14" fmla="*/ 0 w 201"/>
                <a:gd name="T15" fmla="*/ 100 h 226"/>
                <a:gd name="T16" fmla="*/ 50 w 201"/>
                <a:gd name="T17" fmla="*/ 13 h 226"/>
                <a:gd name="T18" fmla="*/ 88 w 201"/>
                <a:gd name="T19" fmla="*/ 0 h 226"/>
                <a:gd name="T20" fmla="*/ 100 w 201"/>
                <a:gd name="T21" fmla="*/ 0 h 226"/>
                <a:gd name="T22" fmla="*/ 200 w 201"/>
                <a:gd name="T23" fmla="*/ 100 h 226"/>
                <a:gd name="T24" fmla="*/ 200 w 201"/>
                <a:gd name="T25" fmla="*/ 100 h 226"/>
                <a:gd name="T26" fmla="*/ 200 w 201"/>
                <a:gd name="T27" fmla="*/ 10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100"/>
                  </a:moveTo>
                  <a:lnTo>
                    <a:pt x="200" y="100"/>
                  </a:lnTo>
                  <a:cubicBezTo>
                    <a:pt x="200" y="163"/>
                    <a:pt x="200" y="163"/>
                    <a:pt x="200" y="163"/>
                  </a:cubicBezTo>
                  <a:cubicBezTo>
                    <a:pt x="200" y="200"/>
                    <a:pt x="162" y="225"/>
                    <a:pt x="125" y="225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3" y="225"/>
                    <a:pt x="63" y="225"/>
                    <a:pt x="50" y="225"/>
                  </a:cubicBezTo>
                  <a:cubicBezTo>
                    <a:pt x="26" y="225"/>
                    <a:pt x="0" y="200"/>
                    <a:pt x="0" y="16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63"/>
                    <a:pt x="26" y="25"/>
                    <a:pt x="50" y="13"/>
                  </a:cubicBezTo>
                  <a:cubicBezTo>
                    <a:pt x="63" y="0"/>
                    <a:pt x="75" y="0"/>
                    <a:pt x="8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0" y="0"/>
                    <a:pt x="200" y="50"/>
                    <a:pt x="200" y="100"/>
                  </a:cubicBezTo>
                  <a:close/>
                  <a:moveTo>
                    <a:pt x="200" y="100"/>
                  </a:moveTo>
                  <a:lnTo>
                    <a:pt x="200" y="100"/>
                  </a:lnTo>
                  <a:close/>
                </a:path>
              </a:pathLst>
            </a:custGeom>
            <a:solidFill>
              <a:srgbClr val="C4D6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8" name="Freeform 334">
              <a:extLst>
                <a:ext uri="{FF2B5EF4-FFF2-40B4-BE49-F238E27FC236}">
                  <a16:creationId xmlns:a16="http://schemas.microsoft.com/office/drawing/2014/main" id="{DB5260A3-3B9B-43AC-AE15-4E9931477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475" y="4468813"/>
              <a:ext cx="93663" cy="117475"/>
            </a:xfrm>
            <a:custGeom>
              <a:avLst/>
              <a:gdLst>
                <a:gd name="T0" fmla="*/ 261 w 262"/>
                <a:gd name="T1" fmla="*/ 13 h 325"/>
                <a:gd name="T2" fmla="*/ 261 w 262"/>
                <a:gd name="T3" fmla="*/ 13 h 325"/>
                <a:gd name="T4" fmla="*/ 261 w 262"/>
                <a:gd name="T5" fmla="*/ 312 h 325"/>
                <a:gd name="T6" fmla="*/ 237 w 262"/>
                <a:gd name="T7" fmla="*/ 324 h 325"/>
                <a:gd name="T8" fmla="*/ 24 w 262"/>
                <a:gd name="T9" fmla="*/ 324 h 325"/>
                <a:gd name="T10" fmla="*/ 0 w 262"/>
                <a:gd name="T11" fmla="*/ 312 h 325"/>
                <a:gd name="T12" fmla="*/ 0 w 262"/>
                <a:gd name="T13" fmla="*/ 13 h 325"/>
                <a:gd name="T14" fmla="*/ 24 w 262"/>
                <a:gd name="T15" fmla="*/ 0 h 325"/>
                <a:gd name="T16" fmla="*/ 237 w 262"/>
                <a:gd name="T17" fmla="*/ 0 h 325"/>
                <a:gd name="T18" fmla="*/ 261 w 262"/>
                <a:gd name="T19" fmla="*/ 13 h 325"/>
                <a:gd name="T20" fmla="*/ 261 w 262"/>
                <a:gd name="T21" fmla="*/ 13 h 325"/>
                <a:gd name="T22" fmla="*/ 261 w 262"/>
                <a:gd name="T23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325">
                  <a:moveTo>
                    <a:pt x="261" y="13"/>
                  </a:moveTo>
                  <a:lnTo>
                    <a:pt x="261" y="13"/>
                  </a:lnTo>
                  <a:cubicBezTo>
                    <a:pt x="261" y="312"/>
                    <a:pt x="261" y="312"/>
                    <a:pt x="261" y="312"/>
                  </a:cubicBezTo>
                  <a:cubicBezTo>
                    <a:pt x="261" y="324"/>
                    <a:pt x="249" y="324"/>
                    <a:pt x="237" y="324"/>
                  </a:cubicBezTo>
                  <a:cubicBezTo>
                    <a:pt x="24" y="324"/>
                    <a:pt x="24" y="324"/>
                    <a:pt x="24" y="324"/>
                  </a:cubicBezTo>
                  <a:cubicBezTo>
                    <a:pt x="12" y="324"/>
                    <a:pt x="0" y="324"/>
                    <a:pt x="0" y="3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12" y="0"/>
                    <a:pt x="24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9" y="0"/>
                    <a:pt x="261" y="0"/>
                    <a:pt x="261" y="13"/>
                  </a:cubicBezTo>
                  <a:close/>
                  <a:moveTo>
                    <a:pt x="261" y="13"/>
                  </a:moveTo>
                  <a:lnTo>
                    <a:pt x="261" y="1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9" name="Freeform 335">
              <a:extLst>
                <a:ext uri="{FF2B5EF4-FFF2-40B4-BE49-F238E27FC236}">
                  <a16:creationId xmlns:a16="http://schemas.microsoft.com/office/drawing/2014/main" id="{331C7D23-830E-4472-8CAF-0DB30DCC9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0" y="4468813"/>
              <a:ext cx="41275" cy="117475"/>
            </a:xfrm>
            <a:custGeom>
              <a:avLst/>
              <a:gdLst>
                <a:gd name="T0" fmla="*/ 112 w 113"/>
                <a:gd name="T1" fmla="*/ 13 h 325"/>
                <a:gd name="T2" fmla="*/ 112 w 113"/>
                <a:gd name="T3" fmla="*/ 13 h 325"/>
                <a:gd name="T4" fmla="*/ 112 w 113"/>
                <a:gd name="T5" fmla="*/ 312 h 325"/>
                <a:gd name="T6" fmla="*/ 88 w 113"/>
                <a:gd name="T7" fmla="*/ 324 h 325"/>
                <a:gd name="T8" fmla="*/ 0 w 113"/>
                <a:gd name="T9" fmla="*/ 324 h 325"/>
                <a:gd name="T10" fmla="*/ 25 w 113"/>
                <a:gd name="T11" fmla="*/ 299 h 325"/>
                <a:gd name="T12" fmla="*/ 25 w 113"/>
                <a:gd name="T13" fmla="*/ 0 h 325"/>
                <a:gd name="T14" fmla="*/ 88 w 113"/>
                <a:gd name="T15" fmla="*/ 0 h 325"/>
                <a:gd name="T16" fmla="*/ 112 w 113"/>
                <a:gd name="T17" fmla="*/ 13 h 325"/>
                <a:gd name="T18" fmla="*/ 112 w 113"/>
                <a:gd name="T19" fmla="*/ 13 h 325"/>
                <a:gd name="T20" fmla="*/ 112 w 113"/>
                <a:gd name="T21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325">
                  <a:moveTo>
                    <a:pt x="112" y="13"/>
                  </a:moveTo>
                  <a:lnTo>
                    <a:pt x="112" y="13"/>
                  </a:lnTo>
                  <a:cubicBezTo>
                    <a:pt x="112" y="312"/>
                    <a:pt x="112" y="312"/>
                    <a:pt x="112" y="312"/>
                  </a:cubicBezTo>
                  <a:cubicBezTo>
                    <a:pt x="112" y="324"/>
                    <a:pt x="100" y="324"/>
                    <a:pt x="88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3" y="324"/>
                    <a:pt x="25" y="312"/>
                    <a:pt x="25" y="299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0" y="0"/>
                    <a:pt x="112" y="0"/>
                    <a:pt x="112" y="13"/>
                  </a:cubicBezTo>
                  <a:close/>
                  <a:moveTo>
                    <a:pt x="112" y="13"/>
                  </a:moveTo>
                  <a:lnTo>
                    <a:pt x="112" y="1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0" name="Freeform 336">
              <a:extLst>
                <a:ext uri="{FF2B5EF4-FFF2-40B4-BE49-F238E27FC236}">
                  <a16:creationId xmlns:a16="http://schemas.microsoft.com/office/drawing/2014/main" id="{B41B3E9E-C93F-4020-8B48-3340E43E3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438" y="4630738"/>
              <a:ext cx="95250" cy="122237"/>
            </a:xfrm>
            <a:custGeom>
              <a:avLst/>
              <a:gdLst>
                <a:gd name="T0" fmla="*/ 262 w 263"/>
                <a:gd name="T1" fmla="*/ 0 h 338"/>
                <a:gd name="T2" fmla="*/ 262 w 263"/>
                <a:gd name="T3" fmla="*/ 0 h 338"/>
                <a:gd name="T4" fmla="*/ 262 w 263"/>
                <a:gd name="T5" fmla="*/ 324 h 338"/>
                <a:gd name="T6" fmla="*/ 237 w 263"/>
                <a:gd name="T7" fmla="*/ 337 h 338"/>
                <a:gd name="T8" fmla="*/ 25 w 263"/>
                <a:gd name="T9" fmla="*/ 337 h 338"/>
                <a:gd name="T10" fmla="*/ 0 w 263"/>
                <a:gd name="T11" fmla="*/ 324 h 338"/>
                <a:gd name="T12" fmla="*/ 0 w 263"/>
                <a:gd name="T13" fmla="*/ 25 h 338"/>
                <a:gd name="T14" fmla="*/ 25 w 263"/>
                <a:gd name="T15" fmla="*/ 0 h 338"/>
                <a:gd name="T16" fmla="*/ 262 w 263"/>
                <a:gd name="T17" fmla="*/ 0 h 338"/>
                <a:gd name="T18" fmla="*/ 262 w 263"/>
                <a:gd name="T19" fmla="*/ 0 h 338"/>
                <a:gd name="T20" fmla="*/ 262 w 263"/>
                <a:gd name="T2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38">
                  <a:moveTo>
                    <a:pt x="262" y="0"/>
                  </a:moveTo>
                  <a:lnTo>
                    <a:pt x="262" y="0"/>
                  </a:lnTo>
                  <a:cubicBezTo>
                    <a:pt x="262" y="324"/>
                    <a:pt x="262" y="324"/>
                    <a:pt x="262" y="324"/>
                  </a:cubicBezTo>
                  <a:cubicBezTo>
                    <a:pt x="262" y="337"/>
                    <a:pt x="249" y="337"/>
                    <a:pt x="237" y="337"/>
                  </a:cubicBezTo>
                  <a:cubicBezTo>
                    <a:pt x="25" y="337"/>
                    <a:pt x="25" y="337"/>
                    <a:pt x="25" y="337"/>
                  </a:cubicBezTo>
                  <a:cubicBezTo>
                    <a:pt x="13" y="337"/>
                    <a:pt x="0" y="337"/>
                    <a:pt x="0" y="3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3"/>
                    <a:pt x="13" y="0"/>
                    <a:pt x="25" y="0"/>
                  </a:cubicBez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2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1" name="Freeform 337">
              <a:extLst>
                <a:ext uri="{FF2B5EF4-FFF2-40B4-BE49-F238E27FC236}">
                  <a16:creationId xmlns:a16="http://schemas.microsoft.com/office/drawing/2014/main" id="{DFC3E9BE-C9EA-44EC-8E78-1CF6B0BE2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175" y="4630738"/>
              <a:ext cx="36513" cy="122237"/>
            </a:xfrm>
            <a:custGeom>
              <a:avLst/>
              <a:gdLst>
                <a:gd name="T0" fmla="*/ 100 w 101"/>
                <a:gd name="T1" fmla="*/ 0 h 338"/>
                <a:gd name="T2" fmla="*/ 100 w 101"/>
                <a:gd name="T3" fmla="*/ 0 h 338"/>
                <a:gd name="T4" fmla="*/ 100 w 101"/>
                <a:gd name="T5" fmla="*/ 324 h 338"/>
                <a:gd name="T6" fmla="*/ 75 w 101"/>
                <a:gd name="T7" fmla="*/ 337 h 338"/>
                <a:gd name="T8" fmla="*/ 0 w 101"/>
                <a:gd name="T9" fmla="*/ 337 h 338"/>
                <a:gd name="T10" fmla="*/ 13 w 101"/>
                <a:gd name="T11" fmla="*/ 324 h 338"/>
                <a:gd name="T12" fmla="*/ 13 w 101"/>
                <a:gd name="T13" fmla="*/ 0 h 338"/>
                <a:gd name="T14" fmla="*/ 100 w 101"/>
                <a:gd name="T15" fmla="*/ 0 h 338"/>
                <a:gd name="T16" fmla="*/ 100 w 101"/>
                <a:gd name="T17" fmla="*/ 0 h 338"/>
                <a:gd name="T18" fmla="*/ 100 w 101"/>
                <a:gd name="T1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38">
                  <a:moveTo>
                    <a:pt x="100" y="0"/>
                  </a:moveTo>
                  <a:lnTo>
                    <a:pt x="100" y="0"/>
                  </a:lnTo>
                  <a:cubicBezTo>
                    <a:pt x="100" y="324"/>
                    <a:pt x="100" y="324"/>
                    <a:pt x="100" y="324"/>
                  </a:cubicBezTo>
                  <a:cubicBezTo>
                    <a:pt x="100" y="337"/>
                    <a:pt x="87" y="337"/>
                    <a:pt x="75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24"/>
                    <a:pt x="13" y="324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0" y="0"/>
                  </a:lnTo>
                  <a:close/>
                  <a:moveTo>
                    <a:pt x="100" y="0"/>
                  </a:moveTo>
                  <a:lnTo>
                    <a:pt x="100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2" name="Freeform 338">
              <a:extLst>
                <a:ext uri="{FF2B5EF4-FFF2-40B4-BE49-F238E27FC236}">
                  <a16:creationId xmlns:a16="http://schemas.microsoft.com/office/drawing/2014/main" id="{53FE4CC0-8F98-497A-A988-3744C2434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530725"/>
              <a:ext cx="93662" cy="122238"/>
            </a:xfrm>
            <a:custGeom>
              <a:avLst/>
              <a:gdLst>
                <a:gd name="T0" fmla="*/ 261 w 262"/>
                <a:gd name="T1" fmla="*/ 25 h 338"/>
                <a:gd name="T2" fmla="*/ 261 w 262"/>
                <a:gd name="T3" fmla="*/ 25 h 338"/>
                <a:gd name="T4" fmla="*/ 261 w 262"/>
                <a:gd name="T5" fmla="*/ 324 h 338"/>
                <a:gd name="T6" fmla="*/ 236 w 262"/>
                <a:gd name="T7" fmla="*/ 337 h 338"/>
                <a:gd name="T8" fmla="*/ 0 w 262"/>
                <a:gd name="T9" fmla="*/ 337 h 338"/>
                <a:gd name="T10" fmla="*/ 0 w 262"/>
                <a:gd name="T11" fmla="*/ 25 h 338"/>
                <a:gd name="T12" fmla="*/ 25 w 262"/>
                <a:gd name="T13" fmla="*/ 0 h 338"/>
                <a:gd name="T14" fmla="*/ 236 w 262"/>
                <a:gd name="T15" fmla="*/ 0 h 338"/>
                <a:gd name="T16" fmla="*/ 261 w 262"/>
                <a:gd name="T17" fmla="*/ 25 h 338"/>
                <a:gd name="T18" fmla="*/ 261 w 262"/>
                <a:gd name="T19" fmla="*/ 25 h 338"/>
                <a:gd name="T20" fmla="*/ 261 w 262"/>
                <a:gd name="T21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338">
                  <a:moveTo>
                    <a:pt x="261" y="25"/>
                  </a:moveTo>
                  <a:lnTo>
                    <a:pt x="261" y="25"/>
                  </a:lnTo>
                  <a:cubicBezTo>
                    <a:pt x="261" y="324"/>
                    <a:pt x="261" y="324"/>
                    <a:pt x="261" y="324"/>
                  </a:cubicBezTo>
                  <a:cubicBezTo>
                    <a:pt x="261" y="337"/>
                    <a:pt x="248" y="337"/>
                    <a:pt x="236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2" y="0"/>
                    <a:pt x="25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8" y="0"/>
                    <a:pt x="261" y="12"/>
                    <a:pt x="261" y="25"/>
                  </a:cubicBezTo>
                  <a:close/>
                  <a:moveTo>
                    <a:pt x="261" y="25"/>
                  </a:moveTo>
                  <a:lnTo>
                    <a:pt x="261" y="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3" name="Freeform 339">
              <a:extLst>
                <a:ext uri="{FF2B5EF4-FFF2-40B4-BE49-F238E27FC236}">
                  <a16:creationId xmlns:a16="http://schemas.microsoft.com/office/drawing/2014/main" id="{6A60FC3C-09F6-4C0B-8330-1E5CA4E64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388" y="4530725"/>
              <a:ext cx="41275" cy="122238"/>
            </a:xfrm>
            <a:custGeom>
              <a:avLst/>
              <a:gdLst>
                <a:gd name="T0" fmla="*/ 112 w 113"/>
                <a:gd name="T1" fmla="*/ 25 h 338"/>
                <a:gd name="T2" fmla="*/ 112 w 113"/>
                <a:gd name="T3" fmla="*/ 25 h 338"/>
                <a:gd name="T4" fmla="*/ 112 w 113"/>
                <a:gd name="T5" fmla="*/ 324 h 338"/>
                <a:gd name="T6" fmla="*/ 87 w 113"/>
                <a:gd name="T7" fmla="*/ 337 h 338"/>
                <a:gd name="T8" fmla="*/ 0 w 113"/>
                <a:gd name="T9" fmla="*/ 337 h 338"/>
                <a:gd name="T10" fmla="*/ 13 w 113"/>
                <a:gd name="T11" fmla="*/ 337 h 338"/>
                <a:gd name="T12" fmla="*/ 13 w 113"/>
                <a:gd name="T13" fmla="*/ 311 h 338"/>
                <a:gd name="T14" fmla="*/ 13 w 113"/>
                <a:gd name="T15" fmla="*/ 37 h 338"/>
                <a:gd name="T16" fmla="*/ 0 w 113"/>
                <a:gd name="T17" fmla="*/ 0 h 338"/>
                <a:gd name="T18" fmla="*/ 87 w 113"/>
                <a:gd name="T19" fmla="*/ 0 h 338"/>
                <a:gd name="T20" fmla="*/ 112 w 113"/>
                <a:gd name="T21" fmla="*/ 25 h 338"/>
                <a:gd name="T22" fmla="*/ 112 w 113"/>
                <a:gd name="T23" fmla="*/ 25 h 338"/>
                <a:gd name="T24" fmla="*/ 112 w 113"/>
                <a:gd name="T25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38">
                  <a:moveTo>
                    <a:pt x="112" y="25"/>
                  </a:moveTo>
                  <a:lnTo>
                    <a:pt x="112" y="25"/>
                  </a:lnTo>
                  <a:cubicBezTo>
                    <a:pt x="112" y="324"/>
                    <a:pt x="112" y="324"/>
                    <a:pt x="112" y="324"/>
                  </a:cubicBezTo>
                  <a:cubicBezTo>
                    <a:pt x="112" y="337"/>
                    <a:pt x="99" y="337"/>
                    <a:pt x="87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37"/>
                    <a:pt x="13" y="337"/>
                  </a:cubicBezTo>
                  <a:cubicBezTo>
                    <a:pt x="13" y="337"/>
                    <a:pt x="13" y="324"/>
                    <a:pt x="13" y="31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25"/>
                    <a:pt x="13" y="12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9" y="0"/>
                    <a:pt x="112" y="12"/>
                    <a:pt x="112" y="25"/>
                  </a:cubicBezTo>
                  <a:close/>
                  <a:moveTo>
                    <a:pt x="112" y="25"/>
                  </a:moveTo>
                  <a:lnTo>
                    <a:pt x="112" y="25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4" name="Freeform 340">
              <a:extLst>
                <a:ext uri="{FF2B5EF4-FFF2-40B4-BE49-F238E27FC236}">
                  <a16:creationId xmlns:a16="http://schemas.microsoft.com/office/drawing/2014/main" id="{092458D7-36D6-4DFE-BE69-C9017EF46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284663"/>
              <a:ext cx="265113" cy="166687"/>
            </a:xfrm>
            <a:custGeom>
              <a:avLst/>
              <a:gdLst>
                <a:gd name="T0" fmla="*/ 735 w 736"/>
                <a:gd name="T1" fmla="*/ 287 h 462"/>
                <a:gd name="T2" fmla="*/ 735 w 736"/>
                <a:gd name="T3" fmla="*/ 287 h 462"/>
                <a:gd name="T4" fmla="*/ 698 w 736"/>
                <a:gd name="T5" fmla="*/ 324 h 462"/>
                <a:gd name="T6" fmla="*/ 673 w 736"/>
                <a:gd name="T7" fmla="*/ 374 h 462"/>
                <a:gd name="T8" fmla="*/ 449 w 736"/>
                <a:gd name="T9" fmla="*/ 225 h 462"/>
                <a:gd name="T10" fmla="*/ 387 w 736"/>
                <a:gd name="T11" fmla="*/ 237 h 462"/>
                <a:gd name="T12" fmla="*/ 125 w 736"/>
                <a:gd name="T13" fmla="*/ 237 h 462"/>
                <a:gd name="T14" fmla="*/ 113 w 736"/>
                <a:gd name="T15" fmla="*/ 461 h 462"/>
                <a:gd name="T16" fmla="*/ 0 w 736"/>
                <a:gd name="T17" fmla="*/ 461 h 462"/>
                <a:gd name="T18" fmla="*/ 0 w 736"/>
                <a:gd name="T19" fmla="*/ 75 h 462"/>
                <a:gd name="T20" fmla="*/ 75 w 736"/>
                <a:gd name="T21" fmla="*/ 0 h 462"/>
                <a:gd name="T22" fmla="*/ 437 w 736"/>
                <a:gd name="T23" fmla="*/ 0 h 462"/>
                <a:gd name="T24" fmla="*/ 511 w 736"/>
                <a:gd name="T25" fmla="*/ 50 h 462"/>
                <a:gd name="T26" fmla="*/ 511 w 736"/>
                <a:gd name="T27" fmla="*/ 50 h 462"/>
                <a:gd name="T28" fmla="*/ 735 w 736"/>
                <a:gd name="T29" fmla="*/ 287 h 462"/>
                <a:gd name="T30" fmla="*/ 735 w 736"/>
                <a:gd name="T31" fmla="*/ 287 h 462"/>
                <a:gd name="T32" fmla="*/ 735 w 736"/>
                <a:gd name="T33" fmla="*/ 287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6" h="462">
                  <a:moveTo>
                    <a:pt x="735" y="287"/>
                  </a:moveTo>
                  <a:lnTo>
                    <a:pt x="735" y="287"/>
                  </a:lnTo>
                  <a:cubicBezTo>
                    <a:pt x="698" y="324"/>
                    <a:pt x="698" y="324"/>
                    <a:pt x="698" y="324"/>
                  </a:cubicBezTo>
                  <a:cubicBezTo>
                    <a:pt x="673" y="374"/>
                    <a:pt x="673" y="374"/>
                    <a:pt x="673" y="374"/>
                  </a:cubicBezTo>
                  <a:cubicBezTo>
                    <a:pt x="449" y="225"/>
                    <a:pt x="449" y="225"/>
                    <a:pt x="449" y="225"/>
                  </a:cubicBezTo>
                  <a:cubicBezTo>
                    <a:pt x="437" y="237"/>
                    <a:pt x="412" y="237"/>
                    <a:pt x="387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13" y="461"/>
                    <a:pt x="113" y="461"/>
                    <a:pt x="113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25"/>
                    <a:pt x="38" y="0"/>
                    <a:pt x="75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74" y="0"/>
                    <a:pt x="498" y="25"/>
                    <a:pt x="511" y="50"/>
                  </a:cubicBezTo>
                  <a:lnTo>
                    <a:pt x="511" y="50"/>
                  </a:lnTo>
                  <a:lnTo>
                    <a:pt x="735" y="287"/>
                  </a:lnTo>
                  <a:close/>
                  <a:moveTo>
                    <a:pt x="735" y="287"/>
                  </a:moveTo>
                  <a:lnTo>
                    <a:pt x="735" y="2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5" name="Freeform 343">
              <a:extLst>
                <a:ext uri="{FF2B5EF4-FFF2-40B4-BE49-F238E27FC236}">
                  <a16:creationId xmlns:a16="http://schemas.microsoft.com/office/drawing/2014/main" id="{4E798978-FA0D-4D1F-B4D2-0CBA0499B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257675"/>
              <a:ext cx="73025" cy="80963"/>
            </a:xfrm>
            <a:custGeom>
              <a:avLst/>
              <a:gdLst>
                <a:gd name="T0" fmla="*/ 200 w 201"/>
                <a:gd name="T1" fmla="*/ 63 h 226"/>
                <a:gd name="T2" fmla="*/ 200 w 201"/>
                <a:gd name="T3" fmla="*/ 63 h 226"/>
                <a:gd name="T4" fmla="*/ 200 w 201"/>
                <a:gd name="T5" fmla="*/ 125 h 226"/>
                <a:gd name="T6" fmla="*/ 100 w 201"/>
                <a:gd name="T7" fmla="*/ 225 h 226"/>
                <a:gd name="T8" fmla="*/ 88 w 201"/>
                <a:gd name="T9" fmla="*/ 225 h 226"/>
                <a:gd name="T10" fmla="*/ 50 w 201"/>
                <a:gd name="T11" fmla="*/ 212 h 226"/>
                <a:gd name="T12" fmla="*/ 0 w 201"/>
                <a:gd name="T13" fmla="*/ 125 h 226"/>
                <a:gd name="T14" fmla="*/ 0 w 201"/>
                <a:gd name="T15" fmla="*/ 63 h 226"/>
                <a:gd name="T16" fmla="*/ 50 w 201"/>
                <a:gd name="T17" fmla="*/ 0 h 226"/>
                <a:gd name="T18" fmla="*/ 63 w 201"/>
                <a:gd name="T19" fmla="*/ 0 h 226"/>
                <a:gd name="T20" fmla="*/ 125 w 201"/>
                <a:gd name="T21" fmla="*/ 0 h 226"/>
                <a:gd name="T22" fmla="*/ 200 w 201"/>
                <a:gd name="T23" fmla="*/ 63 h 226"/>
                <a:gd name="T24" fmla="*/ 200 w 201"/>
                <a:gd name="T25" fmla="*/ 63 h 226"/>
                <a:gd name="T26" fmla="*/ 200 w 201"/>
                <a:gd name="T27" fmla="*/ 6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63"/>
                  </a:moveTo>
                  <a:lnTo>
                    <a:pt x="200" y="63"/>
                  </a:lnTo>
                  <a:cubicBezTo>
                    <a:pt x="200" y="125"/>
                    <a:pt x="200" y="125"/>
                    <a:pt x="200" y="125"/>
                  </a:cubicBezTo>
                  <a:cubicBezTo>
                    <a:pt x="200" y="175"/>
                    <a:pt x="150" y="225"/>
                    <a:pt x="100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75" y="225"/>
                    <a:pt x="63" y="225"/>
                    <a:pt x="50" y="212"/>
                  </a:cubicBezTo>
                  <a:cubicBezTo>
                    <a:pt x="26" y="200"/>
                    <a:pt x="0" y="162"/>
                    <a:pt x="0" y="12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6" y="0"/>
                    <a:pt x="5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62" y="0"/>
                    <a:pt x="200" y="25"/>
                    <a:pt x="200" y="63"/>
                  </a:cubicBezTo>
                  <a:close/>
                  <a:moveTo>
                    <a:pt x="200" y="63"/>
                  </a:moveTo>
                  <a:lnTo>
                    <a:pt x="200" y="6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6" name="Freeform 345">
              <a:extLst>
                <a:ext uri="{FF2B5EF4-FFF2-40B4-BE49-F238E27FC236}">
                  <a16:creationId xmlns:a16="http://schemas.microsoft.com/office/drawing/2014/main" id="{F5B42E5D-E9AB-4F4B-97DD-4D04D9D1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449763"/>
              <a:ext cx="41275" cy="41275"/>
            </a:xfrm>
            <a:custGeom>
              <a:avLst/>
              <a:gdLst>
                <a:gd name="T0" fmla="*/ 113 w 114"/>
                <a:gd name="T1" fmla="*/ 0 h 114"/>
                <a:gd name="T2" fmla="*/ 113 w 114"/>
                <a:gd name="T3" fmla="*/ 0 h 114"/>
                <a:gd name="T4" fmla="*/ 100 w 114"/>
                <a:gd name="T5" fmla="*/ 63 h 114"/>
                <a:gd name="T6" fmla="*/ 50 w 114"/>
                <a:gd name="T7" fmla="*/ 113 h 114"/>
                <a:gd name="T8" fmla="*/ 13 w 114"/>
                <a:gd name="T9" fmla="*/ 100 h 114"/>
                <a:gd name="T10" fmla="*/ 0 w 114"/>
                <a:gd name="T11" fmla="*/ 63 h 114"/>
                <a:gd name="T12" fmla="*/ 0 w 114"/>
                <a:gd name="T13" fmla="*/ 0 h 114"/>
                <a:gd name="T14" fmla="*/ 113 w 114"/>
                <a:gd name="T15" fmla="*/ 0 h 114"/>
                <a:gd name="T16" fmla="*/ 113 w 114"/>
                <a:gd name="T17" fmla="*/ 0 h 114"/>
                <a:gd name="T18" fmla="*/ 113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113" y="0"/>
                  </a:moveTo>
                  <a:lnTo>
                    <a:pt x="113" y="0"/>
                  </a:lnTo>
                  <a:cubicBezTo>
                    <a:pt x="100" y="63"/>
                    <a:pt x="100" y="63"/>
                    <a:pt x="100" y="63"/>
                  </a:cubicBezTo>
                  <a:cubicBezTo>
                    <a:pt x="100" y="100"/>
                    <a:pt x="75" y="113"/>
                    <a:pt x="50" y="113"/>
                  </a:cubicBezTo>
                  <a:cubicBezTo>
                    <a:pt x="38" y="113"/>
                    <a:pt x="25" y="113"/>
                    <a:pt x="13" y="100"/>
                  </a:cubicBezTo>
                  <a:cubicBezTo>
                    <a:pt x="13" y="88"/>
                    <a:pt x="0" y="75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13" y="0"/>
                  </a:lnTo>
                  <a:close/>
                  <a:moveTo>
                    <a:pt x="113" y="0"/>
                  </a:moveTo>
                  <a:lnTo>
                    <a:pt x="113" y="0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7" name="Freeform 346">
              <a:extLst>
                <a:ext uri="{FF2B5EF4-FFF2-40B4-BE49-F238E27FC236}">
                  <a16:creationId xmlns:a16="http://schemas.microsoft.com/office/drawing/2014/main" id="{8F93BFBB-203A-40A6-A160-52D6AF40D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1288" y="4387850"/>
              <a:ext cx="49212" cy="44450"/>
            </a:xfrm>
            <a:custGeom>
              <a:avLst/>
              <a:gdLst>
                <a:gd name="T0" fmla="*/ 99 w 138"/>
                <a:gd name="T1" fmla="*/ 124 h 125"/>
                <a:gd name="T2" fmla="*/ 99 w 138"/>
                <a:gd name="T3" fmla="*/ 124 h 125"/>
                <a:gd name="T4" fmla="*/ 75 w 138"/>
                <a:gd name="T5" fmla="*/ 124 h 125"/>
                <a:gd name="T6" fmla="*/ 49 w 138"/>
                <a:gd name="T7" fmla="*/ 124 h 125"/>
                <a:gd name="T8" fmla="*/ 0 w 138"/>
                <a:gd name="T9" fmla="*/ 87 h 125"/>
                <a:gd name="T10" fmla="*/ 62 w 138"/>
                <a:gd name="T11" fmla="*/ 0 h 125"/>
                <a:gd name="T12" fmla="*/ 112 w 138"/>
                <a:gd name="T13" fmla="*/ 50 h 125"/>
                <a:gd name="T14" fmla="*/ 99 w 138"/>
                <a:gd name="T15" fmla="*/ 124 h 125"/>
                <a:gd name="T16" fmla="*/ 99 w 138"/>
                <a:gd name="T17" fmla="*/ 124 h 125"/>
                <a:gd name="T18" fmla="*/ 99 w 138"/>
                <a:gd name="T19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25">
                  <a:moveTo>
                    <a:pt x="99" y="124"/>
                  </a:moveTo>
                  <a:lnTo>
                    <a:pt x="99" y="124"/>
                  </a:lnTo>
                  <a:cubicBezTo>
                    <a:pt x="87" y="124"/>
                    <a:pt x="87" y="124"/>
                    <a:pt x="75" y="124"/>
                  </a:cubicBezTo>
                  <a:cubicBezTo>
                    <a:pt x="62" y="124"/>
                    <a:pt x="62" y="124"/>
                    <a:pt x="49" y="124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37" y="74"/>
                    <a:pt x="124" y="112"/>
                    <a:pt x="99" y="124"/>
                  </a:cubicBezTo>
                  <a:close/>
                  <a:moveTo>
                    <a:pt x="99" y="124"/>
                  </a:moveTo>
                  <a:lnTo>
                    <a:pt x="99" y="124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</p:grpSp>
      <p:sp>
        <p:nvSpPr>
          <p:cNvPr id="28" name="Rounded Rectangular Callout 151">
            <a:extLst>
              <a:ext uri="{FF2B5EF4-FFF2-40B4-BE49-F238E27FC236}">
                <a16:creationId xmlns:a16="http://schemas.microsoft.com/office/drawing/2014/main" id="{8959E838-EBD1-472E-A49E-A5E21C4E365C}"/>
              </a:ext>
            </a:extLst>
          </p:cNvPr>
          <p:cNvSpPr/>
          <p:nvPr userDrawn="1"/>
        </p:nvSpPr>
        <p:spPr>
          <a:xfrm>
            <a:off x="9867340" y="2208694"/>
            <a:ext cx="5581424" cy="1764372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sp>
        <p:nvSpPr>
          <p:cNvPr id="29" name="Rounded Rectangular Callout 156">
            <a:extLst>
              <a:ext uri="{FF2B5EF4-FFF2-40B4-BE49-F238E27FC236}">
                <a16:creationId xmlns:a16="http://schemas.microsoft.com/office/drawing/2014/main" id="{E53F31DF-B4F8-414B-8F1A-98ECAD73204A}"/>
              </a:ext>
            </a:extLst>
          </p:cNvPr>
          <p:cNvSpPr/>
          <p:nvPr userDrawn="1"/>
        </p:nvSpPr>
        <p:spPr>
          <a:xfrm rot="10800000">
            <a:off x="2193740" y="7414974"/>
            <a:ext cx="5660058" cy="1953673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30" name="Group 157">
            <a:extLst>
              <a:ext uri="{FF2B5EF4-FFF2-40B4-BE49-F238E27FC236}">
                <a16:creationId xmlns:a16="http://schemas.microsoft.com/office/drawing/2014/main" id="{8AA0FC53-A2C3-42A9-911D-15175E5F3C47}"/>
              </a:ext>
            </a:extLst>
          </p:cNvPr>
          <p:cNvGrpSpPr/>
          <p:nvPr userDrawn="1"/>
        </p:nvGrpSpPr>
        <p:grpSpPr>
          <a:xfrm>
            <a:off x="10322454" y="2288009"/>
            <a:ext cx="4805369" cy="1506214"/>
            <a:chOff x="8171269" y="10491269"/>
            <a:chExt cx="9384504" cy="2049398"/>
          </a:xfrm>
        </p:grpSpPr>
        <p:sp>
          <p:nvSpPr>
            <p:cNvPr id="31" name="TextBox 158">
              <a:extLst>
                <a:ext uri="{FF2B5EF4-FFF2-40B4-BE49-F238E27FC236}">
                  <a16:creationId xmlns:a16="http://schemas.microsoft.com/office/drawing/2014/main" id="{31E16170-6CA1-456C-8DFE-73E9F7C741D4}"/>
                </a:ext>
              </a:extLst>
            </p:cNvPr>
            <p:cNvSpPr txBox="1"/>
            <p:nvPr/>
          </p:nvSpPr>
          <p:spPr>
            <a:xfrm>
              <a:off x="8171269" y="11306867"/>
              <a:ext cx="9384504" cy="1233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valiaçã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iscos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Maior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órgã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overnança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2" name="Rectangle 159">
              <a:extLst>
                <a:ext uri="{FF2B5EF4-FFF2-40B4-BE49-F238E27FC236}">
                  <a16:creationId xmlns:a16="http://schemas.microsoft.com/office/drawing/2014/main" id="{A1EC6323-BD12-42E2-8E58-0FC1C7CEC95B}"/>
                </a:ext>
              </a:extLst>
            </p:cNvPr>
            <p:cNvSpPr/>
            <p:nvPr/>
          </p:nvSpPr>
          <p:spPr>
            <a:xfrm>
              <a:off x="8171269" y="10491269"/>
              <a:ext cx="9384500" cy="556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43808"/>
              <a:r>
                <a:rPr lang="en-US" sz="2058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3ª LINHA</a:t>
              </a:r>
            </a:p>
          </p:txBody>
        </p:sp>
      </p:grpSp>
      <p:grpSp>
        <p:nvGrpSpPr>
          <p:cNvPr id="33" name="Group 160">
            <a:extLst>
              <a:ext uri="{FF2B5EF4-FFF2-40B4-BE49-F238E27FC236}">
                <a16:creationId xmlns:a16="http://schemas.microsoft.com/office/drawing/2014/main" id="{08465304-E26C-4D92-9A4B-E3460F8EF172}"/>
              </a:ext>
            </a:extLst>
          </p:cNvPr>
          <p:cNvGrpSpPr/>
          <p:nvPr userDrawn="1"/>
        </p:nvGrpSpPr>
        <p:grpSpPr>
          <a:xfrm>
            <a:off x="2614658" y="7450911"/>
            <a:ext cx="4805369" cy="2196670"/>
            <a:chOff x="8171269" y="10313469"/>
            <a:chExt cx="9384504" cy="2988852"/>
          </a:xfrm>
        </p:grpSpPr>
        <p:sp>
          <p:nvSpPr>
            <p:cNvPr id="34" name="TextBox 161">
              <a:extLst>
                <a:ext uri="{FF2B5EF4-FFF2-40B4-BE49-F238E27FC236}">
                  <a16:creationId xmlns:a16="http://schemas.microsoft.com/office/drawing/2014/main" id="{DFF8D03F-6E8B-4324-BC16-26DF6B92A341}"/>
                </a:ext>
              </a:extLst>
            </p:cNvPr>
            <p:cNvSpPr txBox="1"/>
            <p:nvPr/>
          </p:nvSpPr>
          <p:spPr>
            <a:xfrm>
              <a:off x="8171269" y="11699132"/>
              <a:ext cx="9384504" cy="1603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Limitad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</a:t>
              </a: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primariamente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à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erênci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 </a:t>
              </a:r>
            </a:p>
            <a:p>
              <a:pPr defTabSz="1343808"/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defTabSz="1343808"/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5" name="Rectangle 162">
              <a:extLst>
                <a:ext uri="{FF2B5EF4-FFF2-40B4-BE49-F238E27FC236}">
                  <a16:creationId xmlns:a16="http://schemas.microsoft.com/office/drawing/2014/main" id="{A28857FF-94BC-4073-BD0D-8D0EFE165BDB}"/>
                </a:ext>
              </a:extLst>
            </p:cNvPr>
            <p:cNvSpPr/>
            <p:nvPr/>
          </p:nvSpPr>
          <p:spPr>
            <a:xfrm>
              <a:off x="8281125" y="10313469"/>
              <a:ext cx="8927241" cy="556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43808"/>
              <a:r>
                <a:rPr lang="en-US" sz="2058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2ª LINHA</a:t>
              </a:r>
              <a:endParaRPr lang="en-US" sz="294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sp>
        <p:nvSpPr>
          <p:cNvPr id="36" name="TextBox 163">
            <a:extLst>
              <a:ext uri="{FF2B5EF4-FFF2-40B4-BE49-F238E27FC236}">
                <a16:creationId xmlns:a16="http://schemas.microsoft.com/office/drawing/2014/main" id="{BB82A0A6-E268-42BE-9730-71D44CFA86AE}"/>
              </a:ext>
            </a:extLst>
          </p:cNvPr>
          <p:cNvSpPr txBox="1"/>
          <p:nvPr userDrawn="1"/>
        </p:nvSpPr>
        <p:spPr>
          <a:xfrm>
            <a:off x="2401899" y="2980428"/>
            <a:ext cx="4539369" cy="90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São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oprietári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store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isc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a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endParaRPr lang="en-US" sz="1764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terno</a:t>
            </a:r>
            <a:endParaRPr lang="en-US" sz="1764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7" name="TextBox 164">
            <a:extLst>
              <a:ext uri="{FF2B5EF4-FFF2-40B4-BE49-F238E27FC236}">
                <a16:creationId xmlns:a16="http://schemas.microsoft.com/office/drawing/2014/main" id="{46A46D57-17C2-4AD1-954C-122B26875916}"/>
              </a:ext>
            </a:extLst>
          </p:cNvPr>
          <p:cNvSpPr txBox="1"/>
          <p:nvPr userDrawn="1"/>
        </p:nvSpPr>
        <p:spPr>
          <a:xfrm>
            <a:off x="12380367" y="6880344"/>
            <a:ext cx="3234972" cy="2651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43808">
              <a:spcBef>
                <a:spcPts val="882"/>
              </a:spcBef>
            </a:pP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ção e Consultoria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forma independente e objetiva para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trazer benefícios à unidade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e melhorar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s operações auxiliando-a a alcançar seus objetivos</a:t>
            </a:r>
            <a:r>
              <a:rPr lang="pt-BR" sz="1764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algn="r" defTabSz="1343808">
              <a:spcBef>
                <a:spcPts val="882"/>
              </a:spcBef>
            </a:pP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r e melhorar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 eficácia do gerenciamento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riscos, controle</a:t>
            </a:r>
            <a:r>
              <a:rPr lang="pt-BR" sz="1764" b="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pt-BR" sz="1764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</p:txBody>
      </p:sp>
      <p:sp>
        <p:nvSpPr>
          <p:cNvPr id="38" name="Gráfico 216">
            <a:extLst>
              <a:ext uri="{FF2B5EF4-FFF2-40B4-BE49-F238E27FC236}">
                <a16:creationId xmlns:a16="http://schemas.microsoft.com/office/drawing/2014/main" id="{1716FBB9-C4BA-4FED-9EE6-3DD2E017D2AE}"/>
              </a:ext>
            </a:extLst>
          </p:cNvPr>
          <p:cNvSpPr/>
          <p:nvPr userDrawn="1"/>
        </p:nvSpPr>
        <p:spPr>
          <a:xfrm>
            <a:off x="14632425" y="5786280"/>
            <a:ext cx="746283" cy="742985"/>
          </a:xfrm>
          <a:custGeom>
            <a:avLst/>
            <a:gdLst>
              <a:gd name="connsiteX0" fmla="*/ 285416 w 570831"/>
              <a:gd name="connsiteY0" fmla="*/ 0 h 570831"/>
              <a:gd name="connsiteX1" fmla="*/ 0 w 570831"/>
              <a:gd name="connsiteY1" fmla="*/ 285416 h 570831"/>
              <a:gd name="connsiteX2" fmla="*/ 285416 w 570831"/>
              <a:gd name="connsiteY2" fmla="*/ 570831 h 570831"/>
              <a:gd name="connsiteX3" fmla="*/ 570831 w 570831"/>
              <a:gd name="connsiteY3" fmla="*/ 285416 h 570831"/>
              <a:gd name="connsiteX4" fmla="*/ 285416 w 570831"/>
              <a:gd name="connsiteY4" fmla="*/ 0 h 570831"/>
              <a:gd name="connsiteX5" fmla="*/ 285416 w 570831"/>
              <a:gd name="connsiteY5" fmla="*/ 83247 h 570831"/>
              <a:gd name="connsiteX6" fmla="*/ 422177 w 570831"/>
              <a:gd name="connsiteY6" fmla="*/ 220009 h 570831"/>
              <a:gd name="connsiteX7" fmla="*/ 285416 w 570831"/>
              <a:gd name="connsiteY7" fmla="*/ 356769 h 570831"/>
              <a:gd name="connsiteX8" fmla="*/ 148654 w 570831"/>
              <a:gd name="connsiteY8" fmla="*/ 220007 h 570831"/>
              <a:gd name="connsiteX9" fmla="*/ 285416 w 570831"/>
              <a:gd name="connsiteY9" fmla="*/ 83247 h 570831"/>
              <a:gd name="connsiteX10" fmla="*/ 285416 w 570831"/>
              <a:gd name="connsiteY10" fmla="*/ 523261 h 570831"/>
              <a:gd name="connsiteX11" fmla="*/ 95354 w 570831"/>
              <a:gd name="connsiteY11" fmla="*/ 427809 h 570831"/>
              <a:gd name="connsiteX12" fmla="*/ 285416 w 570831"/>
              <a:gd name="connsiteY12" fmla="*/ 380554 h 570831"/>
              <a:gd name="connsiteX13" fmla="*/ 475478 w 570831"/>
              <a:gd name="connsiteY13" fmla="*/ 427807 h 570831"/>
              <a:gd name="connsiteX14" fmla="*/ 285416 w 570831"/>
              <a:gd name="connsiteY14" fmla="*/ 523261 h 57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0831" h="570831">
                <a:moveTo>
                  <a:pt x="285416" y="0"/>
                </a:moveTo>
                <a:cubicBezTo>
                  <a:pt x="128040" y="0"/>
                  <a:pt x="0" y="128040"/>
                  <a:pt x="0" y="285416"/>
                </a:cubicBezTo>
                <a:cubicBezTo>
                  <a:pt x="0" y="442791"/>
                  <a:pt x="128040" y="570831"/>
                  <a:pt x="285416" y="570831"/>
                </a:cubicBezTo>
                <a:cubicBezTo>
                  <a:pt x="442791" y="570831"/>
                  <a:pt x="570831" y="442791"/>
                  <a:pt x="570831" y="285416"/>
                </a:cubicBezTo>
                <a:cubicBezTo>
                  <a:pt x="570831" y="128040"/>
                  <a:pt x="442791" y="0"/>
                  <a:pt x="285416" y="0"/>
                </a:cubicBezTo>
                <a:close/>
                <a:moveTo>
                  <a:pt x="285416" y="83247"/>
                </a:moveTo>
                <a:cubicBezTo>
                  <a:pt x="360822" y="83247"/>
                  <a:pt x="422177" y="144601"/>
                  <a:pt x="422177" y="220009"/>
                </a:cubicBezTo>
                <a:cubicBezTo>
                  <a:pt x="422177" y="295416"/>
                  <a:pt x="360822" y="356769"/>
                  <a:pt x="285416" y="356769"/>
                </a:cubicBezTo>
                <a:cubicBezTo>
                  <a:pt x="210009" y="356769"/>
                  <a:pt x="148654" y="295415"/>
                  <a:pt x="148654" y="220007"/>
                </a:cubicBezTo>
                <a:cubicBezTo>
                  <a:pt x="148654" y="144600"/>
                  <a:pt x="210009" y="83247"/>
                  <a:pt x="285416" y="83247"/>
                </a:cubicBezTo>
                <a:close/>
                <a:moveTo>
                  <a:pt x="285416" y="523261"/>
                </a:moveTo>
                <a:cubicBezTo>
                  <a:pt x="207699" y="523261"/>
                  <a:pt x="138783" y="485628"/>
                  <a:pt x="95354" y="427809"/>
                </a:cubicBezTo>
                <a:cubicBezTo>
                  <a:pt x="142934" y="404915"/>
                  <a:pt x="210882" y="380554"/>
                  <a:pt x="285416" y="380554"/>
                </a:cubicBezTo>
                <a:cubicBezTo>
                  <a:pt x="359955" y="380554"/>
                  <a:pt x="427908" y="404919"/>
                  <a:pt x="475478" y="427807"/>
                </a:cubicBezTo>
                <a:cubicBezTo>
                  <a:pt x="432049" y="485627"/>
                  <a:pt x="363133" y="523261"/>
                  <a:pt x="285416" y="523261"/>
                </a:cubicBezTo>
                <a:close/>
              </a:path>
            </a:pathLst>
          </a:custGeom>
          <a:solidFill>
            <a:srgbClr val="004165"/>
          </a:solidFill>
          <a:ln w="1098" cap="flat">
            <a:noFill/>
            <a:prstDash val="solid"/>
            <a:miter/>
          </a:ln>
        </p:spPr>
        <p:txBody>
          <a:bodyPr rtlCol="0" anchor="ctr"/>
          <a:lstStyle/>
          <a:p>
            <a:pPr defTabSz="1343808"/>
            <a:endParaRPr lang="es-MX" sz="2646">
              <a:solidFill>
                <a:srgbClr val="999999"/>
              </a:solidFill>
              <a:latin typeface="Trebuchet"/>
            </a:endParaRPr>
          </a:p>
        </p:txBody>
      </p:sp>
      <p:sp>
        <p:nvSpPr>
          <p:cNvPr id="39" name="Rectangle 162">
            <a:extLst>
              <a:ext uri="{FF2B5EF4-FFF2-40B4-BE49-F238E27FC236}">
                <a16:creationId xmlns:a16="http://schemas.microsoft.com/office/drawing/2014/main" id="{31A87DFC-D532-49C0-AEBD-3A7B23367726}"/>
              </a:ext>
            </a:extLst>
          </p:cNvPr>
          <p:cNvSpPr/>
          <p:nvPr userDrawn="1"/>
        </p:nvSpPr>
        <p:spPr>
          <a:xfrm>
            <a:off x="2401899" y="2319838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1ª LINHA </a:t>
            </a:r>
          </a:p>
        </p:txBody>
      </p:sp>
      <p:sp>
        <p:nvSpPr>
          <p:cNvPr id="40" name="Rectangle 162">
            <a:extLst>
              <a:ext uri="{FF2B5EF4-FFF2-40B4-BE49-F238E27FC236}">
                <a16:creationId xmlns:a16="http://schemas.microsoft.com/office/drawing/2014/main" id="{D30B2F69-91E9-45D3-AC96-13F14AB1F77D}"/>
              </a:ext>
            </a:extLst>
          </p:cNvPr>
          <p:cNvSpPr/>
          <p:nvPr userDrawn="1"/>
        </p:nvSpPr>
        <p:spPr>
          <a:xfrm>
            <a:off x="2401899" y="2581068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Gestore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e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Equipes</a:t>
            </a:r>
            <a:endParaRPr lang="en-US" sz="2058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1" name="Rectangle 162">
            <a:extLst>
              <a:ext uri="{FF2B5EF4-FFF2-40B4-BE49-F238E27FC236}">
                <a16:creationId xmlns:a16="http://schemas.microsoft.com/office/drawing/2014/main" id="{F40BB129-6BB8-4200-9F33-4D2B13198FA8}"/>
              </a:ext>
            </a:extLst>
          </p:cNvPr>
          <p:cNvSpPr/>
          <p:nvPr userDrawn="1"/>
        </p:nvSpPr>
        <p:spPr>
          <a:xfrm>
            <a:off x="2608329" y="7736026"/>
            <a:ext cx="5060704" cy="725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Risco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formidade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trole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Interno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Ouvidoria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SI e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demai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funçõe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rporativas</a:t>
            </a:r>
            <a:endParaRPr lang="en-US" sz="2058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2" name="Rectangle 162">
            <a:extLst>
              <a:ext uri="{FF2B5EF4-FFF2-40B4-BE49-F238E27FC236}">
                <a16:creationId xmlns:a16="http://schemas.microsoft.com/office/drawing/2014/main" id="{86F5A0C9-AACA-483D-A123-2854B916C8FF}"/>
              </a:ext>
            </a:extLst>
          </p:cNvPr>
          <p:cNvSpPr/>
          <p:nvPr userDrawn="1"/>
        </p:nvSpPr>
        <p:spPr>
          <a:xfrm>
            <a:off x="10285550" y="2542026"/>
            <a:ext cx="4707315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Auditoria Interna</a:t>
            </a:r>
          </a:p>
        </p:txBody>
      </p:sp>
      <p:sp>
        <p:nvSpPr>
          <p:cNvPr id="43" name="Rectangle 162">
            <a:extLst>
              <a:ext uri="{FF2B5EF4-FFF2-40B4-BE49-F238E27FC236}">
                <a16:creationId xmlns:a16="http://schemas.microsoft.com/office/drawing/2014/main" id="{11E498B7-EA2B-46F3-A34C-5767B92574F4}"/>
              </a:ext>
            </a:extLst>
          </p:cNvPr>
          <p:cNvSpPr/>
          <p:nvPr userDrawn="1"/>
        </p:nvSpPr>
        <p:spPr>
          <a:xfrm>
            <a:off x="13997854" y="6458762"/>
            <a:ext cx="1617486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Nosso</a:t>
            </a:r>
            <a:r>
              <a:rPr lang="en-US" sz="2058" i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Papel</a:t>
            </a:r>
            <a:endParaRPr lang="en-US" sz="2058" i="1">
              <a:solidFill>
                <a:schemeClr val="tx1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29D24922-E087-44E3-AF98-6A7C7504C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599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B6105FF7-EA5F-4A69-9C5A-D2AA690E2764}"/>
              </a:ext>
            </a:extLst>
          </p:cNvPr>
          <p:cNvSpPr txBox="1">
            <a:spLocks/>
          </p:cNvSpPr>
          <p:nvPr userDrawn="1"/>
        </p:nvSpPr>
        <p:spPr>
          <a:xfrm>
            <a:off x="693776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Como podemos ajudar?</a:t>
            </a:r>
          </a:p>
        </p:txBody>
      </p:sp>
      <p:sp>
        <p:nvSpPr>
          <p:cNvPr id="46" name="Título 3">
            <a:extLst>
              <a:ext uri="{FF2B5EF4-FFF2-40B4-BE49-F238E27FC236}">
                <a16:creationId xmlns:a16="http://schemas.microsoft.com/office/drawing/2014/main" id="{BA5866AF-84B6-41E3-A175-15F30D5C106B}"/>
              </a:ext>
            </a:extLst>
          </p:cNvPr>
          <p:cNvSpPr txBox="1">
            <a:spLocks/>
          </p:cNvSpPr>
          <p:nvPr userDrawn="1"/>
        </p:nvSpPr>
        <p:spPr>
          <a:xfrm>
            <a:off x="693775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22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Interna</a:t>
            </a:r>
          </a:p>
        </p:txBody>
      </p:sp>
      <p:cxnSp>
        <p:nvCxnSpPr>
          <p:cNvPr id="47" name="Straight Connector 16">
            <a:extLst>
              <a:ext uri="{FF2B5EF4-FFF2-40B4-BE49-F238E27FC236}">
                <a16:creationId xmlns:a16="http://schemas.microsoft.com/office/drawing/2014/main" id="{D43F4610-E35C-41FD-9E78-A553103604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Triângulo isósceles 47">
            <a:extLst>
              <a:ext uri="{FF2B5EF4-FFF2-40B4-BE49-F238E27FC236}">
                <a16:creationId xmlns:a16="http://schemas.microsoft.com/office/drawing/2014/main" id="{31EC1649-4CF2-459C-9FA5-AA6795C32379}"/>
              </a:ext>
            </a:extLst>
          </p:cNvPr>
          <p:cNvSpPr/>
          <p:nvPr userDrawn="1"/>
        </p:nvSpPr>
        <p:spPr>
          <a:xfrm rot="5400000">
            <a:off x="7552230" y="2850596"/>
            <a:ext cx="942931" cy="1266922"/>
          </a:xfrm>
          <a:prstGeom prst="triangle">
            <a:avLst>
              <a:gd name="adj" fmla="val 10000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</p:spTree>
    <p:extLst>
      <p:ext uri="{BB962C8B-B14F-4D97-AF65-F5344CB8AC3E}">
        <p14:creationId xmlns:p14="http://schemas.microsoft.com/office/powerpoint/2010/main" val="404933693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 cabeçalho e fo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73512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69" y="1"/>
            <a:ext cx="17996495" cy="1008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9664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79A51E9E-EB08-B1FC-D46D-6C8FCC9AEF00}"/>
              </a:ext>
            </a:extLst>
          </p:cNvPr>
          <p:cNvSpPr/>
          <p:nvPr userDrawn="1"/>
        </p:nvSpPr>
        <p:spPr>
          <a:xfrm>
            <a:off x="8620958" y="2368967"/>
            <a:ext cx="758749" cy="67203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FAF3AF8E-AE6A-A5C1-C1DD-644EF262BB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6695" y="476250"/>
            <a:ext cx="11693344" cy="1042458"/>
          </a:xfrm>
        </p:spPr>
        <p:txBody>
          <a:bodyPr>
            <a:noAutofit/>
          </a:bodyPr>
          <a:lstStyle>
            <a:lvl1pPr marL="0" indent="0" algn="ctr">
              <a:buNone/>
              <a:defRPr lang="pt-BR" sz="5880" b="1" kern="1200" dirty="0" smtClean="0">
                <a:solidFill>
                  <a:srgbClr val="000000"/>
                </a:solidFill>
                <a:latin typeface="Poppins" pitchFamily="2" charset="77"/>
                <a:ea typeface="Lato Heavy" charset="0"/>
                <a:cs typeface="Poppins" pitchFamily="2" charset="77"/>
              </a:defRPr>
            </a:lvl1pPr>
            <a:lvl2pPr>
              <a:defRPr lang="pt-BR" sz="5880" b="1" kern="1200" dirty="0" smtClean="0">
                <a:solidFill>
                  <a:srgbClr val="000000"/>
                </a:solidFill>
                <a:latin typeface="Poppins" pitchFamily="2" charset="77"/>
                <a:ea typeface="Lato Heavy" charset="0"/>
                <a:cs typeface="Poppins" pitchFamily="2" charset="77"/>
              </a:defRPr>
            </a:lvl2pPr>
            <a:lvl3pPr>
              <a:defRPr lang="pt-BR" sz="5880" b="1" kern="1200" dirty="0" smtClean="0">
                <a:solidFill>
                  <a:srgbClr val="000000"/>
                </a:solidFill>
                <a:latin typeface="Poppins" pitchFamily="2" charset="77"/>
                <a:ea typeface="Lato Heavy" charset="0"/>
                <a:cs typeface="Poppins" pitchFamily="2" charset="77"/>
              </a:defRPr>
            </a:lvl3pPr>
            <a:lvl4pPr>
              <a:defRPr lang="pt-BR" sz="5880" b="1" kern="1200" dirty="0" smtClean="0">
                <a:solidFill>
                  <a:srgbClr val="000000"/>
                </a:solidFill>
                <a:latin typeface="Poppins" pitchFamily="2" charset="77"/>
                <a:ea typeface="Lato Heavy" charset="0"/>
                <a:cs typeface="Poppins" pitchFamily="2" charset="77"/>
              </a:defRPr>
            </a:lvl4pPr>
            <a:lvl5pPr>
              <a:defRPr lang="pt-BR" sz="5880" b="1" kern="1200" dirty="0">
                <a:solidFill>
                  <a:srgbClr val="000000"/>
                </a:solidFill>
                <a:latin typeface="Poppins" pitchFamily="2" charset="77"/>
                <a:ea typeface="Lato Heavy" charset="0"/>
                <a:cs typeface="Poppins" pitchFamily="2" charset="77"/>
              </a:defRPr>
            </a:lvl5pPr>
          </a:lstStyle>
          <a:p>
            <a:pPr lvl="0"/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24C92E2F-27DC-66A2-6B35-D57EA49A65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72953" y="1682456"/>
            <a:ext cx="14058589" cy="338667"/>
          </a:xfrm>
        </p:spPr>
        <p:txBody>
          <a:bodyPr>
            <a:noAutofit/>
          </a:bodyPr>
          <a:lstStyle>
            <a:lvl1pPr marL="0" indent="0" algn="ctr">
              <a:buNone/>
              <a:defRPr lang="pt-BR" sz="1764" b="0" kern="1200" cap="all" spc="147" baseline="0" dirty="0" smtClean="0">
                <a:solidFill>
                  <a:schemeClr val="tx1"/>
                </a:solidFill>
                <a:latin typeface="Trebuchet MS"/>
                <a:ea typeface="+mn-ea"/>
                <a:cs typeface="+mn-cs"/>
              </a:defRPr>
            </a:lvl1pPr>
            <a:lvl2pPr>
              <a:defRPr lang="pt-BR" sz="1323" kern="1200" spc="441" dirty="0" smtClean="0">
                <a:solidFill>
                  <a:srgbClr val="000000"/>
                </a:solidFill>
                <a:latin typeface="Trebuchet MS"/>
                <a:ea typeface="+mn-ea"/>
                <a:cs typeface="+mn-cs"/>
              </a:defRPr>
            </a:lvl2pPr>
            <a:lvl3pPr>
              <a:defRPr lang="pt-BR" sz="1323" kern="1200" spc="441" dirty="0" smtClean="0">
                <a:solidFill>
                  <a:srgbClr val="000000"/>
                </a:solidFill>
                <a:latin typeface="Trebuchet MS"/>
                <a:ea typeface="+mn-ea"/>
                <a:cs typeface="+mn-cs"/>
              </a:defRPr>
            </a:lvl3pPr>
            <a:lvl4pPr>
              <a:defRPr lang="pt-BR" sz="1323" kern="1200" spc="441" dirty="0" smtClean="0">
                <a:solidFill>
                  <a:srgbClr val="000000"/>
                </a:solidFill>
                <a:latin typeface="Trebuchet MS"/>
                <a:ea typeface="+mn-ea"/>
                <a:cs typeface="+mn-cs"/>
              </a:defRPr>
            </a:lvl4pPr>
            <a:lvl5pPr>
              <a:defRPr lang="pt-BR" sz="1323" kern="1200" spc="441" dirty="0">
                <a:solidFill>
                  <a:srgbClr val="000000"/>
                </a:solidFill>
                <a:latin typeface="Trebuchet MS"/>
                <a:ea typeface="+mn-ea"/>
                <a:cs typeface="+mn-cs"/>
              </a:defRPr>
            </a:lvl5pPr>
          </a:lstStyle>
          <a:p>
            <a:pPr lvl="0"/>
            <a:endParaRPr lang="pt-BR"/>
          </a:p>
        </p:txBody>
      </p:sp>
      <p:sp>
        <p:nvSpPr>
          <p:cNvPr id="2" name="Espaço Reservado para Número de Slide 5">
            <a:extLst>
              <a:ext uri="{FF2B5EF4-FFF2-40B4-BE49-F238E27FC236}">
                <a16:creationId xmlns:a16="http://schemas.microsoft.com/office/drawing/2014/main" id="{BE0A1129-9C08-D14C-55D0-1D0FB4B21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12968" y="9765526"/>
            <a:ext cx="4050149" cy="275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781A26-8169-4120-86DA-A9BD32CFC5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06164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29066" y="206944"/>
            <a:ext cx="1764567" cy="5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09022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 da apresent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922F3C54-C451-2015-27D8-5F1595FC8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160" y="369331"/>
            <a:ext cx="14523499" cy="1135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pt-BR"/>
              <a:t>Clique para editar o título</a:t>
            </a:r>
            <a:br>
              <a:rPr lang="pt-BR"/>
            </a:br>
            <a:endParaRPr lang="pt-BR"/>
          </a:p>
        </p:txBody>
      </p:sp>
      <p:sp>
        <p:nvSpPr>
          <p:cNvPr id="4" name="Espaço Reservado para Número de Slide 5">
            <a:extLst>
              <a:ext uri="{FF2B5EF4-FFF2-40B4-BE49-F238E27FC236}">
                <a16:creationId xmlns:a16="http://schemas.microsoft.com/office/drawing/2014/main" id="{DAA03D63-48C3-36D4-4751-B3011BB6AC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33356" y="9443872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1362E167-D6D2-465E-AF44-9A02B27FDAF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FD6FEA1A-85E0-7C5F-4398-DC98F7DFD1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357" y="2609849"/>
            <a:ext cx="15776308" cy="1344083"/>
          </a:xfrm>
          <a:prstGeom prst="rect">
            <a:avLst/>
          </a:prstGeom>
        </p:spPr>
        <p:txBody>
          <a:bodyPr/>
          <a:lstStyle>
            <a:lvl1pPr marL="335896" indent="-335896">
              <a:buClr>
                <a:schemeClr val="accent3"/>
              </a:buClr>
              <a:buFont typeface="Wingdings" panose="05000000000000000000" pitchFamily="2" charset="2"/>
              <a:buChar char="§"/>
              <a:defRPr sz="2938"/>
            </a:lvl1pPr>
            <a:lvl2pPr>
              <a:defRPr sz="2644"/>
            </a:lvl2pPr>
            <a:lvl3pPr>
              <a:defRPr sz="2350"/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B81D288-50CB-E477-6C0E-5FDBAF885C8E}"/>
              </a:ext>
            </a:extLst>
          </p:cNvPr>
          <p:cNvSpPr txBox="1"/>
          <p:nvPr userDrawn="1"/>
        </p:nvSpPr>
        <p:spPr>
          <a:xfrm>
            <a:off x="217160" y="683513"/>
            <a:ext cx="862737" cy="906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pt-BR" sz="5292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—</a:t>
            </a:r>
            <a:endParaRPr lang="pt-BR" sz="4704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CD7FE3A5-ADEF-40CC-62D9-FFE1EBA123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157" y="1474258"/>
            <a:ext cx="14523499" cy="651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38" i="1">
                <a:solidFill>
                  <a:schemeClr val="accent5"/>
                </a:solidFill>
              </a:defRPr>
            </a:lvl1pPr>
            <a:lvl2pPr marL="671790" indent="0">
              <a:buNone/>
              <a:defRPr/>
            </a:lvl2pPr>
            <a:lvl3pPr marL="1343583" indent="0">
              <a:buNone/>
              <a:defRPr/>
            </a:lvl3pPr>
            <a:lvl4pPr marL="2015377" indent="0">
              <a:buNone/>
              <a:defRPr/>
            </a:lvl4pPr>
            <a:lvl5pPr marL="2687165" indent="0">
              <a:buNone/>
              <a:defRPr/>
            </a:lvl5pPr>
          </a:lstStyle>
          <a:p>
            <a:pPr lvl="0"/>
            <a:r>
              <a:rPr lang="pt-BR"/>
              <a:t>Clique para editar o subtítulo</a:t>
            </a:r>
          </a:p>
        </p:txBody>
      </p:sp>
    </p:spTree>
    <p:extLst>
      <p:ext uri="{BB962C8B-B14F-4D97-AF65-F5344CB8AC3E}">
        <p14:creationId xmlns:p14="http://schemas.microsoft.com/office/powerpoint/2010/main" val="4160472755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_conteúdo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53469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7095882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18000663" cy="10080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0"/>
          </p:nvPr>
        </p:nvSpPr>
        <p:spPr>
          <a:xfrm>
            <a:off x="230324" y="247349"/>
            <a:ext cx="17540016" cy="600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528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230324" y="809061"/>
            <a:ext cx="17540016" cy="4958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52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19439599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Dire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131A950-EF6E-21CB-0E0A-5CECE9B4DCC0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7927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Esquer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ráfico 74">
            <a:extLst>
              <a:ext uri="{FF2B5EF4-FFF2-40B4-BE49-F238E27FC236}">
                <a16:creationId xmlns:a16="http://schemas.microsoft.com/office/drawing/2014/main" id="{763B59B0-FFFD-0857-3B4E-50875E0E3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6"/>
            <a:ext cx="1942693" cy="374979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AE5605AB-E0C5-16B6-3016-1E9BBA9C7E02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785882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898961" y="2080940"/>
            <a:ext cx="16158496" cy="7237164"/>
            <a:chOff x="636583" y="1415694"/>
            <a:chExt cx="10944285" cy="4923551"/>
          </a:xfrm>
        </p:grpSpPr>
        <p:sp>
          <p:nvSpPr>
            <p:cNvPr id="8" name="Arrow: Pentagon 41">
              <a:extLst>
                <a:ext uri="{FF2B5EF4-FFF2-40B4-BE49-F238E27FC236}">
                  <a16:creationId xmlns:a16="http://schemas.microsoft.com/office/drawing/2014/main" id="{E1B57547-62A5-48B9-AE4B-DD9ABEE3CF2D}"/>
                </a:ext>
              </a:extLst>
            </p:cNvPr>
            <p:cNvSpPr/>
            <p:nvPr/>
          </p:nvSpPr>
          <p:spPr>
            <a:xfrm>
              <a:off x="636583" y="1415694"/>
              <a:ext cx="7252173" cy="4923550"/>
            </a:xfrm>
            <a:prstGeom prst="homePlate">
              <a:avLst>
                <a:gd name="adj" fmla="val 33357"/>
              </a:avLst>
            </a:prstGeom>
            <a:gradFill>
              <a:gsLst>
                <a:gs pos="100000">
                  <a:schemeClr val="bg1">
                    <a:lumMod val="85000"/>
                    <a:alpha val="0"/>
                  </a:schemeClr>
                </a:gs>
                <a:gs pos="50000">
                  <a:schemeClr val="bg1">
                    <a:lumMod val="85000"/>
                    <a:alpha val="50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lin ang="10800000" scaled="0"/>
            </a:gradFill>
            <a:ln w="19050">
              <a:noFill/>
              <a:prstDash val="dot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9" name="Arrow: Pentagon 42">
              <a:extLst>
                <a:ext uri="{FF2B5EF4-FFF2-40B4-BE49-F238E27FC236}">
                  <a16:creationId xmlns:a16="http://schemas.microsoft.com/office/drawing/2014/main" id="{21C7AEED-BA51-4C67-B63B-FC4651969188}"/>
                </a:ext>
              </a:extLst>
            </p:cNvPr>
            <p:cNvSpPr/>
            <p:nvPr/>
          </p:nvSpPr>
          <p:spPr>
            <a:xfrm>
              <a:off x="636588" y="2415485"/>
              <a:ext cx="7252172" cy="2923969"/>
            </a:xfrm>
            <a:prstGeom prst="homePlate">
              <a:avLst>
                <a:gd name="adj" fmla="val 55929"/>
              </a:avLst>
            </a:prstGeom>
            <a:gradFill>
              <a:gsLst>
                <a:gs pos="100000">
                  <a:schemeClr val="bg1">
                    <a:lumMod val="65000"/>
                    <a:alpha val="0"/>
                  </a:schemeClr>
                </a:gs>
                <a:gs pos="50000">
                  <a:schemeClr val="bg1">
                    <a:lumMod val="65000"/>
                    <a:alpha val="5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10800000" scaled="0"/>
            </a:gradFill>
            <a:ln w="762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10" name="Arrow: Pentagon 43">
              <a:extLst>
                <a:ext uri="{FF2B5EF4-FFF2-40B4-BE49-F238E27FC236}">
                  <a16:creationId xmlns:a16="http://schemas.microsoft.com/office/drawing/2014/main" id="{5F916D27-85A1-4179-BE03-007629CE41FB}"/>
                </a:ext>
              </a:extLst>
            </p:cNvPr>
            <p:cNvSpPr/>
            <p:nvPr/>
          </p:nvSpPr>
          <p:spPr>
            <a:xfrm>
              <a:off x="636589" y="3385065"/>
              <a:ext cx="6674810" cy="984809"/>
            </a:xfrm>
            <a:prstGeom prst="homePlate">
              <a:avLst>
                <a:gd name="adj" fmla="val 107567"/>
              </a:avLst>
            </a:prstGeom>
            <a:gradFill>
              <a:gsLst>
                <a:gs pos="10000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  <a:alpha val="30000"/>
                  </a:schemeClr>
                </a:gs>
                <a:gs pos="0">
                  <a:schemeClr val="bg1">
                    <a:lumMod val="50000"/>
                    <a:alpha val="75000"/>
                  </a:schemeClr>
                </a:gs>
              </a:gsLst>
              <a:lin ang="10800000" scaled="0"/>
            </a:gradFill>
            <a:ln w="76200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3093B7C9-666A-44C0-AC21-A8BBDED28908}"/>
                </a:ext>
              </a:extLst>
            </p:cNvPr>
            <p:cNvSpPr/>
            <p:nvPr/>
          </p:nvSpPr>
          <p:spPr>
            <a:xfrm rot="5400000">
              <a:off x="4603754" y="3054243"/>
              <a:ext cx="4923551" cy="1646453"/>
            </a:xfrm>
            <a:prstGeom prst="trapezoid">
              <a:avLst>
                <a:gd name="adj" fmla="val 149404"/>
              </a:avLst>
            </a:prstGeom>
            <a:solidFill>
              <a:schemeClr val="tx1">
                <a:alpha val="38000"/>
              </a:schemeClr>
            </a:solidFill>
            <a:ln w="19050">
              <a:noFill/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2646">
                <a:latin typeface="Trebuchet"/>
              </a:endParaRPr>
            </a:p>
          </p:txBody>
        </p:sp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AF01824D-60ED-49F9-BEC8-22035A8E9E65}"/>
                </a:ext>
              </a:extLst>
            </p:cNvPr>
            <p:cNvSpPr/>
            <p:nvPr/>
          </p:nvSpPr>
          <p:spPr>
            <a:xfrm>
              <a:off x="6910409" y="2157672"/>
              <a:ext cx="4670459" cy="3439594"/>
            </a:xfrm>
            <a:prstGeom prst="roundRect">
              <a:avLst>
                <a:gd name="adj" fmla="val 9146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  <a:prstDash val="solid"/>
              <a:headEnd type="none" w="med" len="med"/>
              <a:tailEnd type="oval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bliqueTopRight"/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algn="ctr"/>
              <a:endParaRPr lang="pt-BR" sz="1764">
                <a:latin typeface="Trebuchet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415233" y="1467755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RISCOS E PROCESSOS 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no que é relevante para a Companhia.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97907" y="2445398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TEMPESTIVIDADE E QUALIDADE NAS ENTREGAS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presentação Intermediária 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ntecipação da definição dos planos de ação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ntribuição na identificação da causa raiz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082DD9F7-4820-4ECC-9C6A-0EE7CCB48C67}"/>
                </a:ext>
              </a:extLst>
            </p:cNvPr>
            <p:cNvSpPr txBox="1"/>
            <p:nvPr/>
          </p:nvSpPr>
          <p:spPr>
            <a:xfrm>
              <a:off x="2397907" y="5424242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NSIFICAÇÃO NA COMUNICAÇÃO E FEEDBACK</a:t>
              </a:r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420024" indent="-420024" defTabSz="1343808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Comunicação Teams/</a:t>
              </a:r>
              <a:r>
                <a:rPr lang="pt-BR" sz="1764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Planner</a:t>
              </a:r>
              <a:endParaRPr lang="pt-BR" sz="1764">
                <a:solidFill>
                  <a:schemeClr val="tx2"/>
                </a:solidFill>
                <a:latin typeface="Trebuchet"/>
                <a:ea typeface="Lato Light" panose="020F0502020204030203" pitchFamily="34" charset="0"/>
                <a:cs typeface="Poppins Light" pitchFamily="2" charset="77"/>
              </a:endParaRPr>
            </a:p>
            <a:p>
              <a:pPr marL="420024" indent="-420024" defTabSz="1343808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 Reunião Semanal/Checkpoint(30 minutos) </a:t>
              </a:r>
            </a:p>
            <a:p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97907" y="343834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GREGAR VALOR PARA O PROCESSO </a:t>
              </a:r>
            </a:p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E PARA COMPANHI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97907" y="4431294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UNIÕES PERIÓDICAS (diárias e semanais</a:t>
              </a: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)</a:t>
              </a:r>
              <a:endParaRPr lang="pt-BR" sz="1764" b="1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tarefas</a:t>
              </a:r>
            </a:p>
            <a:p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7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Uma nova perspectiva de atuação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3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22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22"/>
              <a:t>Á</a:t>
            </a:r>
            <a:r>
              <a:rPr kumimoji="0" lang="pt-BR" sz="3822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22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1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00FCAC0D-88BC-456F-A60A-B17A4D5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270" y="8091278"/>
            <a:ext cx="1965362" cy="782671"/>
          </a:xfrm>
          <a:prstGeom prst="rect">
            <a:avLst/>
          </a:prstGeom>
        </p:spPr>
      </p:pic>
      <p:pic>
        <p:nvPicPr>
          <p:cNvPr id="23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C90A394-A971-4D39-86BE-9701AC1A30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t="20444" r="18519" b="19588"/>
          <a:stretch/>
        </p:blipFill>
        <p:spPr>
          <a:xfrm>
            <a:off x="12552314" y="3416213"/>
            <a:ext cx="2430876" cy="574015"/>
          </a:xfrm>
          <a:prstGeom prst="rect">
            <a:avLst/>
          </a:prstGeom>
        </p:spPr>
      </p:pic>
      <p:sp>
        <p:nvSpPr>
          <p:cNvPr id="27" name="TextBox 31">
            <a:extLst>
              <a:ext uri="{FF2B5EF4-FFF2-40B4-BE49-F238E27FC236}">
                <a16:creationId xmlns:a16="http://schemas.microsoft.com/office/drawing/2014/main" id="{15109616-6170-430F-852D-FEA70A09E75A}"/>
              </a:ext>
            </a:extLst>
          </p:cNvPr>
          <p:cNvSpPr txBox="1"/>
          <p:nvPr userDrawn="1"/>
        </p:nvSpPr>
        <p:spPr>
          <a:xfrm>
            <a:off x="10942550" y="3719104"/>
            <a:ext cx="5650404" cy="129718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Sistema para acompanhamento de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relatório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,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pontos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 e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ações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. </a:t>
            </a:r>
          </a:p>
          <a:p>
            <a:endParaRPr lang="pt-BR" sz="1764">
              <a:solidFill>
                <a:schemeClr val="tx2">
                  <a:lumMod val="75000"/>
                </a:schemeClr>
              </a:solidFill>
              <a:latin typeface="Trebuchet"/>
            </a:endParaRPr>
          </a:p>
        </p:txBody>
      </p: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782465" y="6666085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1471897" y="51739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640089" y="3900599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625534" y="2389132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9637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+Logo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ráfico 92">
            <a:extLst>
              <a:ext uri="{FF2B5EF4-FFF2-40B4-BE49-F238E27FC236}">
                <a16:creationId xmlns:a16="http://schemas.microsoft.com/office/drawing/2014/main" id="{A4B41773-483F-1D98-FD26-F030E7B35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8000663" cy="10080625"/>
          </a:xfrm>
          <a:prstGeom prst="rect">
            <a:avLst/>
          </a:prstGeom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EF6A6D7B-43C3-107D-12C4-EF3F3C69E9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A9A88D76-3286-7B90-E0E6-CFD013D9C46C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00923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+Logo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áfico 36">
            <a:extLst>
              <a:ext uri="{FF2B5EF4-FFF2-40B4-BE49-F238E27FC236}">
                <a16:creationId xmlns:a16="http://schemas.microsoft.com/office/drawing/2014/main" id="{9631F65F-B4B1-2227-759A-C9AB1C57CA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6000" y="-17779"/>
            <a:ext cx="18032666" cy="198437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08C776A-C061-3A51-1C4D-3DF2020C28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53FC179-88F3-714E-6B69-F8DEF0882933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75996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+Logo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B1E77E23-5141-E521-193E-85B3A89681A4}"/>
              </a:ext>
            </a:extLst>
          </p:cNvPr>
          <p:cNvSpPr/>
          <p:nvPr userDrawn="1"/>
        </p:nvSpPr>
        <p:spPr>
          <a:xfrm>
            <a:off x="15002146" y="0"/>
            <a:ext cx="2998424" cy="1309735"/>
          </a:xfrm>
          <a:custGeom>
            <a:avLst/>
            <a:gdLst>
              <a:gd name="connsiteX0" fmla="*/ 475185 w 2437029"/>
              <a:gd name="connsiteY0" fmla="*/ 0 h 1069238"/>
              <a:gd name="connsiteX1" fmla="*/ 92051 w 2437029"/>
              <a:gd name="connsiteY1" fmla="*/ 285445 h 1069238"/>
              <a:gd name="connsiteX2" fmla="*/ 43893 w 2437029"/>
              <a:gd name="connsiteY2" fmla="*/ 603428 h 1069238"/>
              <a:gd name="connsiteX3" fmla="*/ 197284 w 2437029"/>
              <a:gd name="connsiteY3" fmla="*/ 813816 h 1069238"/>
              <a:gd name="connsiteX4" fmla="*/ 364161 w 2437029"/>
              <a:gd name="connsiteY4" fmla="*/ 907009 h 1069238"/>
              <a:gd name="connsiteX5" fmla="*/ 2437030 w 2437029"/>
              <a:gd name="connsiteY5" fmla="*/ 1069239 h 1069238"/>
              <a:gd name="connsiteX6" fmla="*/ 2437030 w 2437029"/>
              <a:gd name="connsiteY6" fmla="*/ 0 h 1069238"/>
              <a:gd name="connsiteX7" fmla="*/ 475108 w 2437029"/>
              <a:gd name="connsiteY7" fmla="*/ 0 h 106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7029" h="1069238">
                <a:moveTo>
                  <a:pt x="475185" y="0"/>
                </a:moveTo>
                <a:lnTo>
                  <a:pt x="92051" y="285445"/>
                </a:lnTo>
                <a:cubicBezTo>
                  <a:pt x="-8456" y="360350"/>
                  <a:pt x="-29945" y="502158"/>
                  <a:pt x="43893" y="603428"/>
                </a:cubicBezTo>
                <a:lnTo>
                  <a:pt x="197284" y="813816"/>
                </a:lnTo>
                <a:cubicBezTo>
                  <a:pt x="236602" y="867766"/>
                  <a:pt x="297562" y="901827"/>
                  <a:pt x="364161" y="907009"/>
                </a:cubicBezTo>
                <a:lnTo>
                  <a:pt x="2437030" y="1069239"/>
                </a:lnTo>
                <a:lnTo>
                  <a:pt x="2437030" y="0"/>
                </a:lnTo>
                <a:lnTo>
                  <a:pt x="475108" y="0"/>
                </a:lnTo>
                <a:close/>
              </a:path>
            </a:pathLst>
          </a:custGeom>
          <a:solidFill>
            <a:srgbClr val="FFFFFF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9195082-3317-54DC-F9CB-02C681367BF1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24013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Lateral+Logo_Direi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áfico 86">
            <a:extLst>
              <a:ext uri="{FF2B5EF4-FFF2-40B4-BE49-F238E27FC236}">
                <a16:creationId xmlns:a16="http://schemas.microsoft.com/office/drawing/2014/main" id="{28EADAAB-A19B-2627-70EE-EBFB2EA0FB7B}"/>
              </a:ext>
            </a:extLst>
          </p:cNvPr>
          <p:cNvSpPr/>
          <p:nvPr/>
        </p:nvSpPr>
        <p:spPr>
          <a:xfrm>
            <a:off x="5342609" y="-11667"/>
            <a:ext cx="12669774" cy="10092293"/>
          </a:xfrm>
          <a:custGeom>
            <a:avLst/>
            <a:gdLst>
              <a:gd name="connsiteX0" fmla="*/ 10767669 w 10767669"/>
              <a:gd name="connsiteY0" fmla="*/ 8229600 h 8229600"/>
              <a:gd name="connsiteX1" fmla="*/ 226314 w 10767669"/>
              <a:gd name="connsiteY1" fmla="*/ 8229600 h 8229600"/>
              <a:gd name="connsiteX2" fmla="*/ 1592580 w 10767669"/>
              <a:gd name="connsiteY2" fmla="*/ 2844470 h 8229600"/>
              <a:gd name="connsiteX3" fmla="*/ 1558900 w 10767669"/>
              <a:gd name="connsiteY3" fmla="*/ 2613355 h 8229600"/>
              <a:gd name="connsiteX4" fmla="*/ 0 w 10767669"/>
              <a:gd name="connsiteY4" fmla="*/ 0 h 8229600"/>
              <a:gd name="connsiteX5" fmla="*/ 10767669 w 10767669"/>
              <a:gd name="connsiteY5" fmla="*/ 0 h 8229600"/>
              <a:gd name="connsiteX6" fmla="*/ 10767669 w 10767669"/>
              <a:gd name="connsiteY6" fmla="*/ 8229600 h 8229600"/>
              <a:gd name="connsiteX0" fmla="*/ 10767669 w 10767669"/>
              <a:gd name="connsiteY0" fmla="*/ 8239125 h 8239125"/>
              <a:gd name="connsiteX1" fmla="*/ 226314 w 10767669"/>
              <a:gd name="connsiteY1" fmla="*/ 8239125 h 8239125"/>
              <a:gd name="connsiteX2" fmla="*/ 1592580 w 10767669"/>
              <a:gd name="connsiteY2" fmla="*/ 2853995 h 8239125"/>
              <a:gd name="connsiteX3" fmla="*/ 1558900 w 10767669"/>
              <a:gd name="connsiteY3" fmla="*/ 2622880 h 8239125"/>
              <a:gd name="connsiteX4" fmla="*/ 0 w 10767669"/>
              <a:gd name="connsiteY4" fmla="*/ 9525 h 8239125"/>
              <a:gd name="connsiteX5" fmla="*/ 10297613 w 10767669"/>
              <a:gd name="connsiteY5" fmla="*/ 0 h 8239125"/>
              <a:gd name="connsiteX6" fmla="*/ 10767669 w 10767669"/>
              <a:gd name="connsiteY6" fmla="*/ 9525 h 8239125"/>
              <a:gd name="connsiteX7" fmla="*/ 10767669 w 10767669"/>
              <a:gd name="connsiteY7" fmla="*/ 8239125 h 8239125"/>
              <a:gd name="connsiteX0" fmla="*/ 10767669 w 10767669"/>
              <a:gd name="connsiteY0" fmla="*/ 8239125 h 8239125"/>
              <a:gd name="connsiteX1" fmla="*/ 10297613 w 10767669"/>
              <a:gd name="connsiteY1" fmla="*/ 8229601 h 8239125"/>
              <a:gd name="connsiteX2" fmla="*/ 226314 w 10767669"/>
              <a:gd name="connsiteY2" fmla="*/ 8239125 h 8239125"/>
              <a:gd name="connsiteX3" fmla="*/ 1592580 w 10767669"/>
              <a:gd name="connsiteY3" fmla="*/ 2853995 h 8239125"/>
              <a:gd name="connsiteX4" fmla="*/ 1558900 w 10767669"/>
              <a:gd name="connsiteY4" fmla="*/ 2622880 h 8239125"/>
              <a:gd name="connsiteX5" fmla="*/ 0 w 10767669"/>
              <a:gd name="connsiteY5" fmla="*/ 9525 h 8239125"/>
              <a:gd name="connsiteX6" fmla="*/ 10297613 w 10767669"/>
              <a:gd name="connsiteY6" fmla="*/ 0 h 8239125"/>
              <a:gd name="connsiteX7" fmla="*/ 10767669 w 10767669"/>
              <a:gd name="connsiteY7" fmla="*/ 9525 h 8239125"/>
              <a:gd name="connsiteX8" fmla="*/ 10767669 w 10767669"/>
              <a:gd name="connsiteY8" fmla="*/ 8239125 h 8239125"/>
              <a:gd name="connsiteX0" fmla="*/ 10767669 w 10767669"/>
              <a:gd name="connsiteY0" fmla="*/ 9525 h 8239125"/>
              <a:gd name="connsiteX1" fmla="*/ 10297613 w 10767669"/>
              <a:gd name="connsiteY1" fmla="*/ 8229601 h 8239125"/>
              <a:gd name="connsiteX2" fmla="*/ 226314 w 10767669"/>
              <a:gd name="connsiteY2" fmla="*/ 8239125 h 8239125"/>
              <a:gd name="connsiteX3" fmla="*/ 1592580 w 10767669"/>
              <a:gd name="connsiteY3" fmla="*/ 2853995 h 8239125"/>
              <a:gd name="connsiteX4" fmla="*/ 1558900 w 10767669"/>
              <a:gd name="connsiteY4" fmla="*/ 2622880 h 8239125"/>
              <a:gd name="connsiteX5" fmla="*/ 0 w 10767669"/>
              <a:gd name="connsiteY5" fmla="*/ 9525 h 8239125"/>
              <a:gd name="connsiteX6" fmla="*/ 10297613 w 10767669"/>
              <a:gd name="connsiteY6" fmla="*/ 0 h 8239125"/>
              <a:gd name="connsiteX7" fmla="*/ 10767669 w 10767669"/>
              <a:gd name="connsiteY7" fmla="*/ 9525 h 8239125"/>
              <a:gd name="connsiteX0" fmla="*/ 10297613 w 10297613"/>
              <a:gd name="connsiteY0" fmla="*/ 0 h 8239125"/>
              <a:gd name="connsiteX1" fmla="*/ 10297613 w 10297613"/>
              <a:gd name="connsiteY1" fmla="*/ 8229601 h 8239125"/>
              <a:gd name="connsiteX2" fmla="*/ 226314 w 10297613"/>
              <a:gd name="connsiteY2" fmla="*/ 8239125 h 8239125"/>
              <a:gd name="connsiteX3" fmla="*/ 1592580 w 10297613"/>
              <a:gd name="connsiteY3" fmla="*/ 2853995 h 8239125"/>
              <a:gd name="connsiteX4" fmla="*/ 1558900 w 10297613"/>
              <a:gd name="connsiteY4" fmla="*/ 2622880 h 8239125"/>
              <a:gd name="connsiteX5" fmla="*/ 0 w 10297613"/>
              <a:gd name="connsiteY5" fmla="*/ 9525 h 8239125"/>
              <a:gd name="connsiteX6" fmla="*/ 10297613 w 10297613"/>
              <a:gd name="connsiteY6" fmla="*/ 0 h 8239125"/>
              <a:gd name="connsiteX0" fmla="*/ 10297613 w 10307138"/>
              <a:gd name="connsiteY0" fmla="*/ 0 h 8239126"/>
              <a:gd name="connsiteX1" fmla="*/ 10307138 w 10307138"/>
              <a:gd name="connsiteY1" fmla="*/ 8239126 h 8239126"/>
              <a:gd name="connsiteX2" fmla="*/ 226314 w 10307138"/>
              <a:gd name="connsiteY2" fmla="*/ 8239125 h 8239126"/>
              <a:gd name="connsiteX3" fmla="*/ 1592580 w 10307138"/>
              <a:gd name="connsiteY3" fmla="*/ 2853995 h 8239126"/>
              <a:gd name="connsiteX4" fmla="*/ 1558900 w 10307138"/>
              <a:gd name="connsiteY4" fmla="*/ 2622880 h 8239126"/>
              <a:gd name="connsiteX5" fmla="*/ 0 w 10307138"/>
              <a:gd name="connsiteY5" fmla="*/ 9525 h 8239126"/>
              <a:gd name="connsiteX6" fmla="*/ 10297613 w 10307138"/>
              <a:gd name="connsiteY6" fmla="*/ 0 h 8239126"/>
              <a:gd name="connsiteX0" fmla="*/ 10297613 w 10297613"/>
              <a:gd name="connsiteY0" fmla="*/ 0 h 8239125"/>
              <a:gd name="connsiteX1" fmla="*/ 10269038 w 10297613"/>
              <a:gd name="connsiteY1" fmla="*/ 8203408 h 8239125"/>
              <a:gd name="connsiteX2" fmla="*/ 226314 w 10297613"/>
              <a:gd name="connsiteY2" fmla="*/ 8239125 h 8239125"/>
              <a:gd name="connsiteX3" fmla="*/ 1592580 w 10297613"/>
              <a:gd name="connsiteY3" fmla="*/ 2853995 h 8239125"/>
              <a:gd name="connsiteX4" fmla="*/ 1558900 w 10297613"/>
              <a:gd name="connsiteY4" fmla="*/ 2622880 h 8239125"/>
              <a:gd name="connsiteX5" fmla="*/ 0 w 10297613"/>
              <a:gd name="connsiteY5" fmla="*/ 9525 h 8239125"/>
              <a:gd name="connsiteX6" fmla="*/ 10297613 w 10297613"/>
              <a:gd name="connsiteY6" fmla="*/ 0 h 8239125"/>
              <a:gd name="connsiteX0" fmla="*/ 10297613 w 10297613"/>
              <a:gd name="connsiteY0" fmla="*/ 0 h 8239126"/>
              <a:gd name="connsiteX1" fmla="*/ 10290469 w 10297613"/>
              <a:gd name="connsiteY1" fmla="*/ 8239126 h 8239126"/>
              <a:gd name="connsiteX2" fmla="*/ 226314 w 10297613"/>
              <a:gd name="connsiteY2" fmla="*/ 8239125 h 8239126"/>
              <a:gd name="connsiteX3" fmla="*/ 1592580 w 10297613"/>
              <a:gd name="connsiteY3" fmla="*/ 2853995 h 8239126"/>
              <a:gd name="connsiteX4" fmla="*/ 1558900 w 10297613"/>
              <a:gd name="connsiteY4" fmla="*/ 2622880 h 8239126"/>
              <a:gd name="connsiteX5" fmla="*/ 0 w 10297613"/>
              <a:gd name="connsiteY5" fmla="*/ 9525 h 8239126"/>
              <a:gd name="connsiteX6" fmla="*/ 10297613 w 10297613"/>
              <a:gd name="connsiteY6" fmla="*/ 0 h 823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97613" h="8239126">
                <a:moveTo>
                  <a:pt x="10297613" y="0"/>
                </a:moveTo>
                <a:cubicBezTo>
                  <a:pt x="10295232" y="2746375"/>
                  <a:pt x="10292850" y="5492751"/>
                  <a:pt x="10290469" y="8239126"/>
                </a:cubicBezTo>
                <a:lnTo>
                  <a:pt x="226314" y="8239125"/>
                </a:lnTo>
                <a:lnTo>
                  <a:pt x="1592580" y="2853995"/>
                </a:lnTo>
                <a:cubicBezTo>
                  <a:pt x="1612468" y="2775509"/>
                  <a:pt x="1600352" y="2692375"/>
                  <a:pt x="1558900" y="2622880"/>
                </a:cubicBezTo>
                <a:lnTo>
                  <a:pt x="0" y="9525"/>
                </a:lnTo>
                <a:lnTo>
                  <a:pt x="10297613" y="0"/>
                </a:lnTo>
                <a:close/>
              </a:path>
            </a:pathLst>
          </a:custGeom>
          <a:solidFill>
            <a:srgbClr val="FFFFFF"/>
          </a:solidFill>
          <a:ln w="761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1A371EA7-1097-1CDE-409F-0D23B1BE6D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FD9BCE26-E344-E846-1E6B-1A65720970D5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559329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Lateral+Logo_Esquer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áfico 86">
            <a:extLst>
              <a:ext uri="{FF2B5EF4-FFF2-40B4-BE49-F238E27FC236}">
                <a16:creationId xmlns:a16="http://schemas.microsoft.com/office/drawing/2014/main" id="{28EADAAB-A19B-2627-70EE-EBFB2EA0FB7B}"/>
              </a:ext>
            </a:extLst>
          </p:cNvPr>
          <p:cNvSpPr/>
          <p:nvPr/>
        </p:nvSpPr>
        <p:spPr>
          <a:xfrm flipH="1">
            <a:off x="1" y="-11667"/>
            <a:ext cx="12669774" cy="10092293"/>
          </a:xfrm>
          <a:custGeom>
            <a:avLst/>
            <a:gdLst>
              <a:gd name="connsiteX0" fmla="*/ 10767669 w 10767669"/>
              <a:gd name="connsiteY0" fmla="*/ 8229600 h 8229600"/>
              <a:gd name="connsiteX1" fmla="*/ 226314 w 10767669"/>
              <a:gd name="connsiteY1" fmla="*/ 8229600 h 8229600"/>
              <a:gd name="connsiteX2" fmla="*/ 1592580 w 10767669"/>
              <a:gd name="connsiteY2" fmla="*/ 2844470 h 8229600"/>
              <a:gd name="connsiteX3" fmla="*/ 1558900 w 10767669"/>
              <a:gd name="connsiteY3" fmla="*/ 2613355 h 8229600"/>
              <a:gd name="connsiteX4" fmla="*/ 0 w 10767669"/>
              <a:gd name="connsiteY4" fmla="*/ 0 h 8229600"/>
              <a:gd name="connsiteX5" fmla="*/ 10767669 w 10767669"/>
              <a:gd name="connsiteY5" fmla="*/ 0 h 8229600"/>
              <a:gd name="connsiteX6" fmla="*/ 10767669 w 10767669"/>
              <a:gd name="connsiteY6" fmla="*/ 8229600 h 8229600"/>
              <a:gd name="connsiteX0" fmla="*/ 10767669 w 10767669"/>
              <a:gd name="connsiteY0" fmla="*/ 8239125 h 8239125"/>
              <a:gd name="connsiteX1" fmla="*/ 226314 w 10767669"/>
              <a:gd name="connsiteY1" fmla="*/ 8239125 h 8239125"/>
              <a:gd name="connsiteX2" fmla="*/ 1592580 w 10767669"/>
              <a:gd name="connsiteY2" fmla="*/ 2853995 h 8239125"/>
              <a:gd name="connsiteX3" fmla="*/ 1558900 w 10767669"/>
              <a:gd name="connsiteY3" fmla="*/ 2622880 h 8239125"/>
              <a:gd name="connsiteX4" fmla="*/ 0 w 10767669"/>
              <a:gd name="connsiteY4" fmla="*/ 9525 h 8239125"/>
              <a:gd name="connsiteX5" fmla="*/ 10297613 w 10767669"/>
              <a:gd name="connsiteY5" fmla="*/ 0 h 8239125"/>
              <a:gd name="connsiteX6" fmla="*/ 10767669 w 10767669"/>
              <a:gd name="connsiteY6" fmla="*/ 9525 h 8239125"/>
              <a:gd name="connsiteX7" fmla="*/ 10767669 w 10767669"/>
              <a:gd name="connsiteY7" fmla="*/ 8239125 h 8239125"/>
              <a:gd name="connsiteX0" fmla="*/ 10767669 w 10767669"/>
              <a:gd name="connsiteY0" fmla="*/ 8239125 h 8239125"/>
              <a:gd name="connsiteX1" fmla="*/ 10297613 w 10767669"/>
              <a:gd name="connsiteY1" fmla="*/ 8229601 h 8239125"/>
              <a:gd name="connsiteX2" fmla="*/ 226314 w 10767669"/>
              <a:gd name="connsiteY2" fmla="*/ 8239125 h 8239125"/>
              <a:gd name="connsiteX3" fmla="*/ 1592580 w 10767669"/>
              <a:gd name="connsiteY3" fmla="*/ 2853995 h 8239125"/>
              <a:gd name="connsiteX4" fmla="*/ 1558900 w 10767669"/>
              <a:gd name="connsiteY4" fmla="*/ 2622880 h 8239125"/>
              <a:gd name="connsiteX5" fmla="*/ 0 w 10767669"/>
              <a:gd name="connsiteY5" fmla="*/ 9525 h 8239125"/>
              <a:gd name="connsiteX6" fmla="*/ 10297613 w 10767669"/>
              <a:gd name="connsiteY6" fmla="*/ 0 h 8239125"/>
              <a:gd name="connsiteX7" fmla="*/ 10767669 w 10767669"/>
              <a:gd name="connsiteY7" fmla="*/ 9525 h 8239125"/>
              <a:gd name="connsiteX8" fmla="*/ 10767669 w 10767669"/>
              <a:gd name="connsiteY8" fmla="*/ 8239125 h 8239125"/>
              <a:gd name="connsiteX0" fmla="*/ 10767669 w 10767669"/>
              <a:gd name="connsiteY0" fmla="*/ 9525 h 8239125"/>
              <a:gd name="connsiteX1" fmla="*/ 10297613 w 10767669"/>
              <a:gd name="connsiteY1" fmla="*/ 8229601 h 8239125"/>
              <a:gd name="connsiteX2" fmla="*/ 226314 w 10767669"/>
              <a:gd name="connsiteY2" fmla="*/ 8239125 h 8239125"/>
              <a:gd name="connsiteX3" fmla="*/ 1592580 w 10767669"/>
              <a:gd name="connsiteY3" fmla="*/ 2853995 h 8239125"/>
              <a:gd name="connsiteX4" fmla="*/ 1558900 w 10767669"/>
              <a:gd name="connsiteY4" fmla="*/ 2622880 h 8239125"/>
              <a:gd name="connsiteX5" fmla="*/ 0 w 10767669"/>
              <a:gd name="connsiteY5" fmla="*/ 9525 h 8239125"/>
              <a:gd name="connsiteX6" fmla="*/ 10297613 w 10767669"/>
              <a:gd name="connsiteY6" fmla="*/ 0 h 8239125"/>
              <a:gd name="connsiteX7" fmla="*/ 10767669 w 10767669"/>
              <a:gd name="connsiteY7" fmla="*/ 9525 h 8239125"/>
              <a:gd name="connsiteX0" fmla="*/ 10297613 w 10297613"/>
              <a:gd name="connsiteY0" fmla="*/ 0 h 8239125"/>
              <a:gd name="connsiteX1" fmla="*/ 10297613 w 10297613"/>
              <a:gd name="connsiteY1" fmla="*/ 8229601 h 8239125"/>
              <a:gd name="connsiteX2" fmla="*/ 226314 w 10297613"/>
              <a:gd name="connsiteY2" fmla="*/ 8239125 h 8239125"/>
              <a:gd name="connsiteX3" fmla="*/ 1592580 w 10297613"/>
              <a:gd name="connsiteY3" fmla="*/ 2853995 h 8239125"/>
              <a:gd name="connsiteX4" fmla="*/ 1558900 w 10297613"/>
              <a:gd name="connsiteY4" fmla="*/ 2622880 h 8239125"/>
              <a:gd name="connsiteX5" fmla="*/ 0 w 10297613"/>
              <a:gd name="connsiteY5" fmla="*/ 9525 h 8239125"/>
              <a:gd name="connsiteX6" fmla="*/ 10297613 w 10297613"/>
              <a:gd name="connsiteY6" fmla="*/ 0 h 8239125"/>
              <a:gd name="connsiteX0" fmla="*/ 10297613 w 10307138"/>
              <a:gd name="connsiteY0" fmla="*/ 0 h 8239126"/>
              <a:gd name="connsiteX1" fmla="*/ 10307138 w 10307138"/>
              <a:gd name="connsiteY1" fmla="*/ 8239126 h 8239126"/>
              <a:gd name="connsiteX2" fmla="*/ 226314 w 10307138"/>
              <a:gd name="connsiteY2" fmla="*/ 8239125 h 8239126"/>
              <a:gd name="connsiteX3" fmla="*/ 1592580 w 10307138"/>
              <a:gd name="connsiteY3" fmla="*/ 2853995 h 8239126"/>
              <a:gd name="connsiteX4" fmla="*/ 1558900 w 10307138"/>
              <a:gd name="connsiteY4" fmla="*/ 2622880 h 8239126"/>
              <a:gd name="connsiteX5" fmla="*/ 0 w 10307138"/>
              <a:gd name="connsiteY5" fmla="*/ 9525 h 8239126"/>
              <a:gd name="connsiteX6" fmla="*/ 10297613 w 10307138"/>
              <a:gd name="connsiteY6" fmla="*/ 0 h 8239126"/>
              <a:gd name="connsiteX0" fmla="*/ 10297613 w 10297613"/>
              <a:gd name="connsiteY0" fmla="*/ 0 h 8239125"/>
              <a:gd name="connsiteX1" fmla="*/ 10269038 w 10297613"/>
              <a:gd name="connsiteY1" fmla="*/ 8203408 h 8239125"/>
              <a:gd name="connsiteX2" fmla="*/ 226314 w 10297613"/>
              <a:gd name="connsiteY2" fmla="*/ 8239125 h 8239125"/>
              <a:gd name="connsiteX3" fmla="*/ 1592580 w 10297613"/>
              <a:gd name="connsiteY3" fmla="*/ 2853995 h 8239125"/>
              <a:gd name="connsiteX4" fmla="*/ 1558900 w 10297613"/>
              <a:gd name="connsiteY4" fmla="*/ 2622880 h 8239125"/>
              <a:gd name="connsiteX5" fmla="*/ 0 w 10297613"/>
              <a:gd name="connsiteY5" fmla="*/ 9525 h 8239125"/>
              <a:gd name="connsiteX6" fmla="*/ 10297613 w 10297613"/>
              <a:gd name="connsiteY6" fmla="*/ 0 h 8239125"/>
              <a:gd name="connsiteX0" fmla="*/ 10297613 w 10297613"/>
              <a:gd name="connsiteY0" fmla="*/ 0 h 8239126"/>
              <a:gd name="connsiteX1" fmla="*/ 10290469 w 10297613"/>
              <a:gd name="connsiteY1" fmla="*/ 8239126 h 8239126"/>
              <a:gd name="connsiteX2" fmla="*/ 226314 w 10297613"/>
              <a:gd name="connsiteY2" fmla="*/ 8239125 h 8239126"/>
              <a:gd name="connsiteX3" fmla="*/ 1592580 w 10297613"/>
              <a:gd name="connsiteY3" fmla="*/ 2853995 h 8239126"/>
              <a:gd name="connsiteX4" fmla="*/ 1558900 w 10297613"/>
              <a:gd name="connsiteY4" fmla="*/ 2622880 h 8239126"/>
              <a:gd name="connsiteX5" fmla="*/ 0 w 10297613"/>
              <a:gd name="connsiteY5" fmla="*/ 9525 h 8239126"/>
              <a:gd name="connsiteX6" fmla="*/ 10297613 w 10297613"/>
              <a:gd name="connsiteY6" fmla="*/ 0 h 823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97613" h="8239126">
                <a:moveTo>
                  <a:pt x="10297613" y="0"/>
                </a:moveTo>
                <a:cubicBezTo>
                  <a:pt x="10295232" y="2746375"/>
                  <a:pt x="10292850" y="5492751"/>
                  <a:pt x="10290469" y="8239126"/>
                </a:cubicBezTo>
                <a:lnTo>
                  <a:pt x="226314" y="8239125"/>
                </a:lnTo>
                <a:lnTo>
                  <a:pt x="1592580" y="2853995"/>
                </a:lnTo>
                <a:cubicBezTo>
                  <a:pt x="1612468" y="2775509"/>
                  <a:pt x="1600352" y="2692375"/>
                  <a:pt x="1558900" y="2622880"/>
                </a:cubicBezTo>
                <a:lnTo>
                  <a:pt x="0" y="9525"/>
                </a:lnTo>
                <a:lnTo>
                  <a:pt x="10297613" y="0"/>
                </a:lnTo>
                <a:close/>
              </a:path>
            </a:pathLst>
          </a:custGeom>
          <a:solidFill>
            <a:srgbClr val="FFFFFF"/>
          </a:solidFill>
          <a:ln w="761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D9BCE26-E344-E846-1E6B-1A65720970D5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219BD011-A9B0-8FB0-7AA9-020458330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6"/>
            <a:ext cx="1942693" cy="37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56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ra Lateral Colorida +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tângulo 76">
            <a:extLst>
              <a:ext uri="{FF2B5EF4-FFF2-40B4-BE49-F238E27FC236}">
                <a16:creationId xmlns:a16="http://schemas.microsoft.com/office/drawing/2014/main" id="{1A9493E0-D19D-D19B-20EF-5B3FB9E2F332}"/>
              </a:ext>
            </a:extLst>
          </p:cNvPr>
          <p:cNvSpPr/>
          <p:nvPr userDrawn="1"/>
        </p:nvSpPr>
        <p:spPr>
          <a:xfrm>
            <a:off x="6754155" y="0"/>
            <a:ext cx="11246508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AEE9526-014D-6463-2AD5-29A278D4584C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23744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ra Lateral Cinza + Logo_Dire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ECA5EF73-AE13-32E9-B406-9950EBB4D0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281483" y="0"/>
            <a:ext cx="11719182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75" name="Retângulo 74">
            <a:extLst>
              <a:ext uri="{FF2B5EF4-FFF2-40B4-BE49-F238E27FC236}">
                <a16:creationId xmlns:a16="http://schemas.microsoft.com/office/drawing/2014/main" id="{1A5B9E91-3A63-0A8A-6CDB-932B80BA9C4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6754155" cy="1008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671F824-76BE-728A-0AEE-06A0B2A34390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287386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ra Lateral Cinza + Logo_Esquer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FFB58251-7CDA-D4B5-2AD2-16CAAE0D9F5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1719182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24A67192-51EB-FEF7-4C3C-C9008EA735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246509" y="0"/>
            <a:ext cx="6754155" cy="1008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pic>
        <p:nvPicPr>
          <p:cNvPr id="77" name="Gráfico 76">
            <a:extLst>
              <a:ext uri="{FF2B5EF4-FFF2-40B4-BE49-F238E27FC236}">
                <a16:creationId xmlns:a16="http://schemas.microsoft.com/office/drawing/2014/main" id="{C6BFA498-6628-7E28-E10F-3A836991E6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6"/>
            <a:ext cx="1942693" cy="374979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17762D9F-0BF1-96E0-B6F1-23BCA7AE0C81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943851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F934ED71-2944-3607-53C5-26DECB9186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8000663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75" name="Retângulo 74">
            <a:extLst>
              <a:ext uri="{FF2B5EF4-FFF2-40B4-BE49-F238E27FC236}">
                <a16:creationId xmlns:a16="http://schemas.microsoft.com/office/drawing/2014/main" id="{80574AFD-3F2C-ECB5-FEB6-7C53975880B6}"/>
              </a:ext>
            </a:extLst>
          </p:cNvPr>
          <p:cNvSpPr/>
          <p:nvPr userDrawn="1"/>
        </p:nvSpPr>
        <p:spPr>
          <a:xfrm>
            <a:off x="475586" y="6700971"/>
            <a:ext cx="17054358" cy="2926571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D8B294DF-A6A1-6894-14BE-420BDCC7C11D}"/>
              </a:ext>
            </a:extLst>
          </p:cNvPr>
          <p:cNvSpPr/>
          <p:nvPr userDrawn="1"/>
        </p:nvSpPr>
        <p:spPr>
          <a:xfrm>
            <a:off x="11248463" y="2170135"/>
            <a:ext cx="6281481" cy="4344157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7" name="Retângulo 76">
            <a:extLst>
              <a:ext uri="{FF2B5EF4-FFF2-40B4-BE49-F238E27FC236}">
                <a16:creationId xmlns:a16="http://schemas.microsoft.com/office/drawing/2014/main" id="{B6A3749D-5571-78C0-347E-747E561F1774}"/>
              </a:ext>
            </a:extLst>
          </p:cNvPr>
          <p:cNvSpPr/>
          <p:nvPr userDrawn="1"/>
        </p:nvSpPr>
        <p:spPr>
          <a:xfrm>
            <a:off x="4779474" y="2170135"/>
            <a:ext cx="6281481" cy="4344157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8" name="Retângulo 77">
            <a:extLst>
              <a:ext uri="{FF2B5EF4-FFF2-40B4-BE49-F238E27FC236}">
                <a16:creationId xmlns:a16="http://schemas.microsoft.com/office/drawing/2014/main" id="{80FE3289-62BD-FAB9-244F-1AE3FBC84652}"/>
              </a:ext>
            </a:extLst>
          </p:cNvPr>
          <p:cNvSpPr/>
          <p:nvPr userDrawn="1"/>
        </p:nvSpPr>
        <p:spPr>
          <a:xfrm>
            <a:off x="470721" y="2170135"/>
            <a:ext cx="4127105" cy="207874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9" name="Retângulo 78">
            <a:extLst>
              <a:ext uri="{FF2B5EF4-FFF2-40B4-BE49-F238E27FC236}">
                <a16:creationId xmlns:a16="http://schemas.microsoft.com/office/drawing/2014/main" id="{5DEC4890-8D29-CA0A-21C7-A7683BF64DD2}"/>
              </a:ext>
            </a:extLst>
          </p:cNvPr>
          <p:cNvSpPr/>
          <p:nvPr userDrawn="1"/>
        </p:nvSpPr>
        <p:spPr>
          <a:xfrm>
            <a:off x="470721" y="4435553"/>
            <a:ext cx="4127105" cy="207874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80" name="Retângulo 79">
            <a:extLst>
              <a:ext uri="{FF2B5EF4-FFF2-40B4-BE49-F238E27FC236}">
                <a16:creationId xmlns:a16="http://schemas.microsoft.com/office/drawing/2014/main" id="{41802FA7-020B-8282-63F0-62BBE802A382}"/>
              </a:ext>
            </a:extLst>
          </p:cNvPr>
          <p:cNvSpPr/>
          <p:nvPr userDrawn="1"/>
        </p:nvSpPr>
        <p:spPr>
          <a:xfrm>
            <a:off x="470721" y="1373706"/>
            <a:ext cx="17054358" cy="6097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488E462-4134-02E4-7965-C0ABE741F9F1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939775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F934ED71-2944-3607-53C5-26DECB9186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8000663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75" name="Retângulo 74">
            <a:extLst>
              <a:ext uri="{FF2B5EF4-FFF2-40B4-BE49-F238E27FC236}">
                <a16:creationId xmlns:a16="http://schemas.microsoft.com/office/drawing/2014/main" id="{80574AFD-3F2C-ECB5-FEB6-7C53975880B6}"/>
              </a:ext>
            </a:extLst>
          </p:cNvPr>
          <p:cNvSpPr/>
          <p:nvPr userDrawn="1"/>
        </p:nvSpPr>
        <p:spPr>
          <a:xfrm>
            <a:off x="475586" y="6700971"/>
            <a:ext cx="17054358" cy="2926571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D8B294DF-A6A1-6894-14BE-420BDCC7C11D}"/>
              </a:ext>
            </a:extLst>
          </p:cNvPr>
          <p:cNvSpPr/>
          <p:nvPr userDrawn="1"/>
        </p:nvSpPr>
        <p:spPr>
          <a:xfrm>
            <a:off x="9094088" y="2170135"/>
            <a:ext cx="8435856" cy="4344157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7" name="Retângulo 76">
            <a:extLst>
              <a:ext uri="{FF2B5EF4-FFF2-40B4-BE49-F238E27FC236}">
                <a16:creationId xmlns:a16="http://schemas.microsoft.com/office/drawing/2014/main" id="{B6A3749D-5571-78C0-347E-747E561F1774}"/>
              </a:ext>
            </a:extLst>
          </p:cNvPr>
          <p:cNvSpPr/>
          <p:nvPr userDrawn="1"/>
        </p:nvSpPr>
        <p:spPr>
          <a:xfrm>
            <a:off x="478535" y="2170135"/>
            <a:ext cx="8428044" cy="4344157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80" name="Retângulo 79">
            <a:extLst>
              <a:ext uri="{FF2B5EF4-FFF2-40B4-BE49-F238E27FC236}">
                <a16:creationId xmlns:a16="http://schemas.microsoft.com/office/drawing/2014/main" id="{41802FA7-020B-8282-63F0-62BBE802A382}"/>
              </a:ext>
            </a:extLst>
          </p:cNvPr>
          <p:cNvSpPr/>
          <p:nvPr userDrawn="1"/>
        </p:nvSpPr>
        <p:spPr>
          <a:xfrm>
            <a:off x="470721" y="1373706"/>
            <a:ext cx="17054358" cy="6097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488E462-4134-02E4-7965-C0ABE741F9F1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230696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scopo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5B44F0-271B-45CC-91D2-7D50BF2E18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7527" y="2571231"/>
            <a:ext cx="10265638" cy="580928"/>
          </a:xfrm>
          <a:noFill/>
        </p:spPr>
        <p:txBody>
          <a:bodyPr wrap="square" rtlCol="0">
            <a:spAutoFit/>
          </a:bodyPr>
          <a:lstStyle>
            <a:lvl1pPr>
              <a:defRPr lang="pt-BR" sz="3528" b="1" dirty="0">
                <a:solidFill>
                  <a:srgbClr val="353E48"/>
                </a:solidFill>
                <a:latin typeface="Trebuchet"/>
                <a:ea typeface="Lato" charset="0"/>
                <a:cs typeface="Lato" charset="0"/>
              </a:defRPr>
            </a:lvl1pPr>
          </a:lstStyle>
          <a:p>
            <a:pPr marL="0" lvl="0" defTabSz="1343808"/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484FB6-ACEE-4243-85EA-A8CBCE8E1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37527" y="3253841"/>
            <a:ext cx="10265638" cy="37734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2058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8640"/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395CA4-1FB1-4D0B-A0BF-999DBC955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E0FC89-32FC-4C64-B469-D4C68916EE8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25774C-4955-4DDF-9DC2-298E1978E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170">
            <a:extLst>
              <a:ext uri="{FF2B5EF4-FFF2-40B4-BE49-F238E27FC236}">
                <a16:creationId xmlns:a16="http://schemas.microsoft.com/office/drawing/2014/main" id="{C69E9B0E-7CE8-4E01-AC82-F030DBBB9C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-1001025"/>
            <a:ext cx="3879539" cy="3725113"/>
          </a:xfrm>
          <a:custGeom>
            <a:avLst/>
            <a:gdLst>
              <a:gd name="T0" fmla="*/ 386932365 w 3038"/>
              <a:gd name="T1" fmla="*/ 165421609 h 3029"/>
              <a:gd name="T2" fmla="*/ 386932365 w 3038"/>
              <a:gd name="T3" fmla="*/ 165421609 h 3029"/>
              <a:gd name="T4" fmla="*/ 358285057 w 3038"/>
              <a:gd name="T5" fmla="*/ 165421609 h 3029"/>
              <a:gd name="T6" fmla="*/ 333008041 w 3038"/>
              <a:gd name="T7" fmla="*/ 104749880 h 3029"/>
              <a:gd name="T8" fmla="*/ 353877862 w 3038"/>
              <a:gd name="T9" fmla="*/ 83748128 h 3029"/>
              <a:gd name="T10" fmla="*/ 353877862 w 3038"/>
              <a:gd name="T11" fmla="*/ 76099082 h 3029"/>
              <a:gd name="T12" fmla="*/ 317582678 w 3038"/>
              <a:gd name="T13" fmla="*/ 39669976 h 3029"/>
              <a:gd name="T14" fmla="*/ 309805190 w 3038"/>
              <a:gd name="T15" fmla="*/ 39669976 h 3029"/>
              <a:gd name="T16" fmla="*/ 288935369 w 3038"/>
              <a:gd name="T17" fmla="*/ 59505145 h 3029"/>
              <a:gd name="T18" fmla="*/ 228270819 w 3038"/>
              <a:gd name="T19" fmla="*/ 34225198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225198 h 3029"/>
              <a:gd name="T30" fmla="*/ 104737582 w 3038"/>
              <a:gd name="T31" fmla="*/ 59505145 h 3029"/>
              <a:gd name="T32" fmla="*/ 83738148 w 3038"/>
              <a:gd name="T33" fmla="*/ 39669976 h 3029"/>
              <a:gd name="T34" fmla="*/ 76090273 w 3038"/>
              <a:gd name="T35" fmla="*/ 39669976 h 3029"/>
              <a:gd name="T36" fmla="*/ 39665477 w 3038"/>
              <a:gd name="T37" fmla="*/ 76099082 h 3029"/>
              <a:gd name="T38" fmla="*/ 39665477 w 3038"/>
              <a:gd name="T39" fmla="*/ 83748128 h 3029"/>
              <a:gd name="T40" fmla="*/ 59498035 w 3038"/>
              <a:gd name="T41" fmla="*/ 104749880 h 3029"/>
              <a:gd name="T42" fmla="*/ 35258281 w 3038"/>
              <a:gd name="T43" fmla="*/ 165421609 h 3029"/>
              <a:gd name="T44" fmla="*/ 5444098 w 3038"/>
              <a:gd name="T45" fmla="*/ 165421609 h 3029"/>
              <a:gd name="T46" fmla="*/ 0 w 3038"/>
              <a:gd name="T47" fmla="*/ 170866747 h 3029"/>
              <a:gd name="T48" fmla="*/ 0 w 3038"/>
              <a:gd name="T49" fmla="*/ 222723206 h 3029"/>
              <a:gd name="T50" fmla="*/ 5444098 w 3038"/>
              <a:gd name="T51" fmla="*/ 228297605 h 3029"/>
              <a:gd name="T52" fmla="*/ 35258281 w 3038"/>
              <a:gd name="T53" fmla="*/ 228297605 h 3029"/>
              <a:gd name="T54" fmla="*/ 59498035 w 3038"/>
              <a:gd name="T55" fmla="*/ 288840073 h 3029"/>
              <a:gd name="T56" fmla="*/ 39665477 w 3038"/>
              <a:gd name="T57" fmla="*/ 309841825 h 3029"/>
              <a:gd name="T58" fmla="*/ 39665477 w 3038"/>
              <a:gd name="T59" fmla="*/ 317620132 h 3029"/>
              <a:gd name="T60" fmla="*/ 76090273 w 3038"/>
              <a:gd name="T61" fmla="*/ 353919617 h 3029"/>
              <a:gd name="T62" fmla="*/ 83738148 w 3038"/>
              <a:gd name="T63" fmla="*/ 353919617 h 3029"/>
              <a:gd name="T64" fmla="*/ 104737582 w 3038"/>
              <a:gd name="T65" fmla="*/ 333047485 h 3029"/>
              <a:gd name="T66" fmla="*/ 165402132 w 3038"/>
              <a:gd name="T67" fmla="*/ 358327432 h 3029"/>
              <a:gd name="T68" fmla="*/ 165402132 w 3038"/>
              <a:gd name="T69" fmla="*/ 387107851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7107851 h 3029"/>
              <a:gd name="T76" fmla="*/ 228270819 w 3038"/>
              <a:gd name="T77" fmla="*/ 358327432 h 3029"/>
              <a:gd name="T78" fmla="*/ 288935369 w 3038"/>
              <a:gd name="T79" fmla="*/ 333047485 h 3029"/>
              <a:gd name="T80" fmla="*/ 309805190 w 3038"/>
              <a:gd name="T81" fmla="*/ 353919617 h 3029"/>
              <a:gd name="T82" fmla="*/ 317582678 w 3038"/>
              <a:gd name="T83" fmla="*/ 353919617 h 3029"/>
              <a:gd name="T84" fmla="*/ 353877862 w 3038"/>
              <a:gd name="T85" fmla="*/ 317620132 h 3029"/>
              <a:gd name="T86" fmla="*/ 353877862 w 3038"/>
              <a:gd name="T87" fmla="*/ 309841825 h 3029"/>
              <a:gd name="T88" fmla="*/ 333008041 w 3038"/>
              <a:gd name="T89" fmla="*/ 288840073 h 3029"/>
              <a:gd name="T90" fmla="*/ 358285057 w 3038"/>
              <a:gd name="T91" fmla="*/ 228297605 h 3029"/>
              <a:gd name="T92" fmla="*/ 386932365 w 3038"/>
              <a:gd name="T93" fmla="*/ 228297605 h 3029"/>
              <a:gd name="T94" fmla="*/ 393672951 w 3038"/>
              <a:gd name="T95" fmla="*/ 222723206 h 3029"/>
              <a:gd name="T96" fmla="*/ 393672951 w 3038"/>
              <a:gd name="T97" fmla="*/ 170866747 h 3029"/>
              <a:gd name="T98" fmla="*/ 386932365 w 3038"/>
              <a:gd name="T99" fmla="*/ 165421609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28345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89"/>
                  <a:pt x="2407" y="289"/>
                  <a:pt x="2390" y="306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59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89"/>
                  <a:pt x="604" y="289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6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8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4"/>
                  <a:pt x="25" y="1761"/>
                  <a:pt x="42" y="1761"/>
                </a:cubicBezTo>
                <a:cubicBezTo>
                  <a:pt x="272" y="1761"/>
                  <a:pt x="272" y="1761"/>
                  <a:pt x="272" y="1761"/>
                </a:cubicBezTo>
                <a:cubicBezTo>
                  <a:pt x="306" y="1931"/>
                  <a:pt x="366" y="2093"/>
                  <a:pt x="459" y="2228"/>
                </a:cubicBezTo>
                <a:cubicBezTo>
                  <a:pt x="306" y="2390"/>
                  <a:pt x="306" y="2390"/>
                  <a:pt x="306" y="2390"/>
                </a:cubicBezTo>
                <a:cubicBezTo>
                  <a:pt x="289" y="2399"/>
                  <a:pt x="289" y="2433"/>
                  <a:pt x="306" y="2450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9"/>
                  <a:pt x="808" y="2569"/>
                  <a:pt x="808" y="2569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6"/>
                  <a:pt x="1276" y="2986"/>
                  <a:pt x="1276" y="2986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6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9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50"/>
                  <a:pt x="2730" y="2450"/>
                  <a:pt x="2730" y="2450"/>
                </a:cubicBezTo>
                <a:cubicBezTo>
                  <a:pt x="2747" y="2433"/>
                  <a:pt x="2747" y="2399"/>
                  <a:pt x="2730" y="2390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3"/>
                  <a:pt x="2730" y="1931"/>
                  <a:pt x="2764" y="1761"/>
                </a:cubicBezTo>
                <a:cubicBezTo>
                  <a:pt x="2985" y="1761"/>
                  <a:pt x="2985" y="1761"/>
                  <a:pt x="2985" y="1761"/>
                </a:cubicBezTo>
                <a:cubicBezTo>
                  <a:pt x="3011" y="1761"/>
                  <a:pt x="3037" y="1744"/>
                  <a:pt x="3037" y="1718"/>
                </a:cubicBezTo>
                <a:cubicBezTo>
                  <a:pt x="3037" y="1318"/>
                  <a:pt x="3037" y="1318"/>
                  <a:pt x="3037" y="1318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7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7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8" name="Freeform 171">
            <a:extLst>
              <a:ext uri="{FF2B5EF4-FFF2-40B4-BE49-F238E27FC236}">
                <a16:creationId xmlns:a16="http://schemas.microsoft.com/office/drawing/2014/main" id="{D6F0CBF4-56DE-4795-9534-0C0D44C331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891352"/>
            <a:ext cx="3868273" cy="3725119"/>
          </a:xfrm>
          <a:custGeom>
            <a:avLst/>
            <a:gdLst>
              <a:gd name="T0" fmla="*/ 387107851 w 3029"/>
              <a:gd name="T1" fmla="*/ 164276553 h 3030"/>
              <a:gd name="T2" fmla="*/ 387107851 w 3029"/>
              <a:gd name="T3" fmla="*/ 164276553 h 3030"/>
              <a:gd name="T4" fmla="*/ 358457052 w 3029"/>
              <a:gd name="T5" fmla="*/ 164276553 h 3030"/>
              <a:gd name="T6" fmla="*/ 333047485 w 3029"/>
              <a:gd name="T7" fmla="*/ 103644589 h 3030"/>
              <a:gd name="T8" fmla="*/ 354049237 w 3029"/>
              <a:gd name="T9" fmla="*/ 82786165 h 3030"/>
              <a:gd name="T10" fmla="*/ 354049237 w 3029"/>
              <a:gd name="T11" fmla="*/ 75012578 h 3030"/>
              <a:gd name="T12" fmla="*/ 316583168 w 3029"/>
              <a:gd name="T13" fmla="*/ 38607700 h 3030"/>
              <a:gd name="T14" fmla="*/ 308804501 w 3029"/>
              <a:gd name="T15" fmla="*/ 38607700 h 3030"/>
              <a:gd name="T16" fmla="*/ 288969693 w 3029"/>
              <a:gd name="T17" fmla="*/ 59595702 h 3030"/>
              <a:gd name="T18" fmla="*/ 228297605 w 3029"/>
              <a:gd name="T19" fmla="*/ 34202775 h 3030"/>
              <a:gd name="T20" fmla="*/ 228297605 w 3029"/>
              <a:gd name="T21" fmla="*/ 5570765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5 h 3030"/>
              <a:gd name="T28" fmla="*/ 164384645 w 3029"/>
              <a:gd name="T29" fmla="*/ 34202775 h 3030"/>
              <a:gd name="T30" fmla="*/ 103712556 w 3029"/>
              <a:gd name="T31" fmla="*/ 59595702 h 3030"/>
              <a:gd name="T32" fmla="*/ 83877748 w 3029"/>
              <a:gd name="T33" fmla="*/ 38607700 h 3030"/>
              <a:gd name="T34" fmla="*/ 76099082 w 3029"/>
              <a:gd name="T35" fmla="*/ 38607700 h 3030"/>
              <a:gd name="T36" fmla="*/ 38633013 w 3029"/>
              <a:gd name="T37" fmla="*/ 75012578 h 3030"/>
              <a:gd name="T38" fmla="*/ 38633013 w 3029"/>
              <a:gd name="T39" fmla="*/ 82786165 h 3030"/>
              <a:gd name="T40" fmla="*/ 59505145 w 3029"/>
              <a:gd name="T41" fmla="*/ 103644589 h 3030"/>
              <a:gd name="T42" fmla="*/ 34225198 w 3029"/>
              <a:gd name="T43" fmla="*/ 164276553 h 3030"/>
              <a:gd name="T44" fmla="*/ 5574399 w 3029"/>
              <a:gd name="T45" fmla="*/ 164276553 h 3030"/>
              <a:gd name="T46" fmla="*/ 0 w 3029"/>
              <a:gd name="T47" fmla="*/ 169847317 h 3030"/>
              <a:gd name="T48" fmla="*/ 0 w 3029"/>
              <a:gd name="T49" fmla="*/ 221539854 h 3030"/>
              <a:gd name="T50" fmla="*/ 5574399 w 3029"/>
              <a:gd name="T51" fmla="*/ 227110979 h 3030"/>
              <a:gd name="T52" fmla="*/ 34225198 w 3029"/>
              <a:gd name="T53" fmla="*/ 227110979 h 3030"/>
              <a:gd name="T54" fmla="*/ 59505145 w 3029"/>
              <a:gd name="T55" fmla="*/ 287742943 h 3030"/>
              <a:gd name="T56" fmla="*/ 38633013 w 3029"/>
              <a:gd name="T57" fmla="*/ 308601366 h 3030"/>
              <a:gd name="T58" fmla="*/ 38633013 w 3029"/>
              <a:gd name="T59" fmla="*/ 316374593 h 3030"/>
              <a:gd name="T60" fmla="*/ 76099082 w 3029"/>
              <a:gd name="T61" fmla="*/ 352650253 h 3030"/>
              <a:gd name="T62" fmla="*/ 83877748 w 3029"/>
              <a:gd name="T63" fmla="*/ 352650253 h 3030"/>
              <a:gd name="T64" fmla="*/ 103712556 w 3029"/>
              <a:gd name="T65" fmla="*/ 332828092 h 3030"/>
              <a:gd name="T66" fmla="*/ 164384645 w 3029"/>
              <a:gd name="T67" fmla="*/ 357055178 h 3030"/>
              <a:gd name="T68" fmla="*/ 164384645 w 3029"/>
              <a:gd name="T69" fmla="*/ 386853029 h 3030"/>
              <a:gd name="T70" fmla="*/ 169829424 w 3029"/>
              <a:gd name="T71" fmla="*/ 392423794 h 3030"/>
              <a:gd name="T72" fmla="*/ 222723206 w 3029"/>
              <a:gd name="T73" fmla="*/ 392423794 h 3030"/>
              <a:gd name="T74" fmla="*/ 228297605 w 3029"/>
              <a:gd name="T75" fmla="*/ 386853029 h 3030"/>
              <a:gd name="T76" fmla="*/ 228297605 w 3029"/>
              <a:gd name="T77" fmla="*/ 357055178 h 3030"/>
              <a:gd name="T78" fmla="*/ 288969693 w 3029"/>
              <a:gd name="T79" fmla="*/ 332828092 h 3030"/>
              <a:gd name="T80" fmla="*/ 308804501 w 3029"/>
              <a:gd name="T81" fmla="*/ 352650253 h 3030"/>
              <a:gd name="T82" fmla="*/ 316583168 w 3029"/>
              <a:gd name="T83" fmla="*/ 352650253 h 3030"/>
              <a:gd name="T84" fmla="*/ 354049237 w 3029"/>
              <a:gd name="T85" fmla="*/ 316374593 h 3030"/>
              <a:gd name="T86" fmla="*/ 354049237 w 3029"/>
              <a:gd name="T87" fmla="*/ 308601366 h 3030"/>
              <a:gd name="T88" fmla="*/ 333047485 w 3029"/>
              <a:gd name="T89" fmla="*/ 287742943 h 3030"/>
              <a:gd name="T90" fmla="*/ 358457052 w 3029"/>
              <a:gd name="T91" fmla="*/ 227110979 h 3030"/>
              <a:gd name="T92" fmla="*/ 387107851 w 3029"/>
              <a:gd name="T93" fmla="*/ 227110979 h 3030"/>
              <a:gd name="T94" fmla="*/ 392552629 w 3029"/>
              <a:gd name="T95" fmla="*/ 221539854 h 3030"/>
              <a:gd name="T96" fmla="*/ 392552629 w 3029"/>
              <a:gd name="T97" fmla="*/ 169847317 h 3030"/>
              <a:gd name="T98" fmla="*/ 387107851 w 3029"/>
              <a:gd name="T99" fmla="*/ 164276553 h 3030"/>
              <a:gd name="T100" fmla="*/ 196276315 w 3029"/>
              <a:gd name="T101" fmla="*/ 325184443 h 3030"/>
              <a:gd name="T102" fmla="*/ 196276315 w 3029"/>
              <a:gd name="T103" fmla="*/ 325184443 h 3030"/>
              <a:gd name="T104" fmla="*/ 67283451 w 3029"/>
              <a:gd name="T105" fmla="*/ 196276866 h 3030"/>
              <a:gd name="T106" fmla="*/ 196276315 w 3029"/>
              <a:gd name="T107" fmla="*/ 67368929 h 3030"/>
              <a:gd name="T108" fmla="*/ 325398799 w 3029"/>
              <a:gd name="T109" fmla="*/ 196276866 h 3030"/>
              <a:gd name="T110" fmla="*/ 196276315 w 3029"/>
              <a:gd name="T111" fmla="*/ 325184443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9"/>
                  <a:pt x="2731" y="639"/>
                  <a:pt x="2731" y="639"/>
                </a:cubicBezTo>
                <a:cubicBezTo>
                  <a:pt x="2739" y="622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8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8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2"/>
                  <a:pt x="298" y="639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1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5"/>
                  <a:pt x="459" y="2221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2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40"/>
                  <a:pt x="630" y="2740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40"/>
                  <a:pt x="2424" y="2740"/>
                  <a:pt x="2442" y="2722"/>
                </a:cubicBezTo>
                <a:cubicBezTo>
                  <a:pt x="2731" y="2442"/>
                  <a:pt x="2731" y="2442"/>
                  <a:pt x="2731" y="2442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1"/>
                  <a:pt x="2569" y="2221"/>
                  <a:pt x="2569" y="2221"/>
                </a:cubicBezTo>
                <a:cubicBezTo>
                  <a:pt x="2663" y="2085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1"/>
                  <a:pt x="3028" y="1311"/>
                  <a:pt x="3028" y="1311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5"/>
                </a:cubicBezTo>
                <a:cubicBezTo>
                  <a:pt x="519" y="962"/>
                  <a:pt x="961" y="520"/>
                  <a:pt x="1514" y="520"/>
                </a:cubicBezTo>
                <a:cubicBezTo>
                  <a:pt x="2067" y="520"/>
                  <a:pt x="2510" y="962"/>
                  <a:pt x="2510" y="1515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9" name="Freeform 172">
            <a:extLst>
              <a:ext uri="{FF2B5EF4-FFF2-40B4-BE49-F238E27FC236}">
                <a16:creationId xmlns:a16="http://schemas.microsoft.com/office/drawing/2014/main" id="{B0F8542D-0C63-44C0-9FBD-6212F9CEB2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4920118"/>
            <a:ext cx="3868273" cy="3725113"/>
          </a:xfrm>
          <a:custGeom>
            <a:avLst/>
            <a:gdLst>
              <a:gd name="T0" fmla="*/ 387107851 w 3029"/>
              <a:gd name="T1" fmla="*/ 164276042 h 3030"/>
              <a:gd name="T2" fmla="*/ 387107851 w 3029"/>
              <a:gd name="T3" fmla="*/ 164276042 h 3030"/>
              <a:gd name="T4" fmla="*/ 358457052 w 3029"/>
              <a:gd name="T5" fmla="*/ 164276042 h 3030"/>
              <a:gd name="T6" fmla="*/ 333047485 w 3029"/>
              <a:gd name="T7" fmla="*/ 103644134 h 3030"/>
              <a:gd name="T8" fmla="*/ 354049237 w 3029"/>
              <a:gd name="T9" fmla="*/ 82656152 h 3030"/>
              <a:gd name="T10" fmla="*/ 354049237 w 3029"/>
              <a:gd name="T11" fmla="*/ 75012509 h 3030"/>
              <a:gd name="T12" fmla="*/ 316583168 w 3029"/>
              <a:gd name="T13" fmla="*/ 38607665 h 3030"/>
              <a:gd name="T14" fmla="*/ 308804501 w 3029"/>
              <a:gd name="T15" fmla="*/ 38607665 h 3030"/>
              <a:gd name="T16" fmla="*/ 288969693 w 3029"/>
              <a:gd name="T17" fmla="*/ 59595287 h 3030"/>
              <a:gd name="T18" fmla="*/ 228297605 w 3029"/>
              <a:gd name="T19" fmla="*/ 34202744 h 3030"/>
              <a:gd name="T20" fmla="*/ 228297605 w 3029"/>
              <a:gd name="T21" fmla="*/ 5570760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0 h 3030"/>
              <a:gd name="T28" fmla="*/ 164384645 w 3029"/>
              <a:gd name="T29" fmla="*/ 34202744 h 3030"/>
              <a:gd name="T30" fmla="*/ 103712556 w 3029"/>
              <a:gd name="T31" fmla="*/ 59595287 h 3030"/>
              <a:gd name="T32" fmla="*/ 83877748 w 3029"/>
              <a:gd name="T33" fmla="*/ 38607665 h 3030"/>
              <a:gd name="T34" fmla="*/ 76099082 w 3029"/>
              <a:gd name="T35" fmla="*/ 38607665 h 3030"/>
              <a:gd name="T36" fmla="*/ 38633013 w 3029"/>
              <a:gd name="T37" fmla="*/ 75012509 h 3030"/>
              <a:gd name="T38" fmla="*/ 38633013 w 3029"/>
              <a:gd name="T39" fmla="*/ 82656152 h 3030"/>
              <a:gd name="T40" fmla="*/ 59505145 w 3029"/>
              <a:gd name="T41" fmla="*/ 103644134 h 3030"/>
              <a:gd name="T42" fmla="*/ 34225198 w 3029"/>
              <a:gd name="T43" fmla="*/ 164276042 h 3030"/>
              <a:gd name="T44" fmla="*/ 5574399 w 3029"/>
              <a:gd name="T45" fmla="*/ 164276042 h 3030"/>
              <a:gd name="T46" fmla="*/ 0 w 3029"/>
              <a:gd name="T47" fmla="*/ 169717584 h 3030"/>
              <a:gd name="T48" fmla="*/ 0 w 3029"/>
              <a:gd name="T49" fmla="*/ 221539651 h 3030"/>
              <a:gd name="T50" fmla="*/ 5574399 w 3029"/>
              <a:gd name="T51" fmla="*/ 227110411 h 3030"/>
              <a:gd name="T52" fmla="*/ 34225198 w 3029"/>
              <a:gd name="T53" fmla="*/ 227110411 h 3030"/>
              <a:gd name="T54" fmla="*/ 59505145 w 3029"/>
              <a:gd name="T55" fmla="*/ 287612741 h 3030"/>
              <a:gd name="T56" fmla="*/ 38633013 w 3029"/>
              <a:gd name="T57" fmla="*/ 308600723 h 3030"/>
              <a:gd name="T58" fmla="*/ 38633013 w 3029"/>
              <a:gd name="T59" fmla="*/ 316244726 h 3030"/>
              <a:gd name="T60" fmla="*/ 76099082 w 3029"/>
              <a:gd name="T61" fmla="*/ 352649570 h 3030"/>
              <a:gd name="T62" fmla="*/ 83877748 w 3029"/>
              <a:gd name="T63" fmla="*/ 352649570 h 3030"/>
              <a:gd name="T64" fmla="*/ 103712556 w 3029"/>
              <a:gd name="T65" fmla="*/ 332827787 h 3030"/>
              <a:gd name="T66" fmla="*/ 164384645 w 3029"/>
              <a:gd name="T67" fmla="*/ 357054491 h 3030"/>
              <a:gd name="T68" fmla="*/ 164384645 w 3029"/>
              <a:gd name="T69" fmla="*/ 386852314 h 3030"/>
              <a:gd name="T70" fmla="*/ 169829424 w 3029"/>
              <a:gd name="T71" fmla="*/ 392423074 h 3030"/>
              <a:gd name="T72" fmla="*/ 222723206 w 3029"/>
              <a:gd name="T73" fmla="*/ 392423074 h 3030"/>
              <a:gd name="T74" fmla="*/ 228297605 w 3029"/>
              <a:gd name="T75" fmla="*/ 386852314 h 3030"/>
              <a:gd name="T76" fmla="*/ 228297605 w 3029"/>
              <a:gd name="T77" fmla="*/ 357054491 h 3030"/>
              <a:gd name="T78" fmla="*/ 288969693 w 3029"/>
              <a:gd name="T79" fmla="*/ 332827787 h 3030"/>
              <a:gd name="T80" fmla="*/ 308804501 w 3029"/>
              <a:gd name="T81" fmla="*/ 352649570 h 3030"/>
              <a:gd name="T82" fmla="*/ 316583168 w 3029"/>
              <a:gd name="T83" fmla="*/ 352649570 h 3030"/>
              <a:gd name="T84" fmla="*/ 354049237 w 3029"/>
              <a:gd name="T85" fmla="*/ 316244726 h 3030"/>
              <a:gd name="T86" fmla="*/ 354049237 w 3029"/>
              <a:gd name="T87" fmla="*/ 308600723 h 3030"/>
              <a:gd name="T88" fmla="*/ 333047485 w 3029"/>
              <a:gd name="T89" fmla="*/ 287612741 h 3030"/>
              <a:gd name="T90" fmla="*/ 358457052 w 3029"/>
              <a:gd name="T91" fmla="*/ 227110411 h 3030"/>
              <a:gd name="T92" fmla="*/ 387107851 w 3029"/>
              <a:gd name="T93" fmla="*/ 227110411 h 3030"/>
              <a:gd name="T94" fmla="*/ 392552629 w 3029"/>
              <a:gd name="T95" fmla="*/ 221539651 h 3030"/>
              <a:gd name="T96" fmla="*/ 392552629 w 3029"/>
              <a:gd name="T97" fmla="*/ 169717584 h 3030"/>
              <a:gd name="T98" fmla="*/ 387107851 w 3029"/>
              <a:gd name="T99" fmla="*/ 164276042 h 3030"/>
              <a:gd name="T100" fmla="*/ 196276315 w 3029"/>
              <a:gd name="T101" fmla="*/ 325183785 h 3030"/>
              <a:gd name="T102" fmla="*/ 196276315 w 3029"/>
              <a:gd name="T103" fmla="*/ 325183785 h 3030"/>
              <a:gd name="T104" fmla="*/ 67283451 w 3029"/>
              <a:gd name="T105" fmla="*/ 196146748 h 3030"/>
              <a:gd name="T106" fmla="*/ 196276315 w 3029"/>
              <a:gd name="T107" fmla="*/ 67239289 h 3030"/>
              <a:gd name="T108" fmla="*/ 325398799 w 3029"/>
              <a:gd name="T109" fmla="*/ 196146748 h 3030"/>
              <a:gd name="T110" fmla="*/ 196276315 w 3029"/>
              <a:gd name="T111" fmla="*/ 325183785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8"/>
                  <a:pt x="2731" y="638"/>
                  <a:pt x="2731" y="638"/>
                </a:cubicBezTo>
                <a:cubicBezTo>
                  <a:pt x="2739" y="621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7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1"/>
                  <a:pt x="298" y="638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0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4"/>
                  <a:pt x="459" y="2220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9"/>
                  <a:pt x="630" y="2739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39"/>
                  <a:pt x="2424" y="2739"/>
                  <a:pt x="2442" y="2722"/>
                </a:cubicBezTo>
                <a:cubicBezTo>
                  <a:pt x="2731" y="2441"/>
                  <a:pt x="2731" y="2441"/>
                  <a:pt x="2731" y="2441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3" y="2084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0"/>
                  <a:pt x="3028" y="1310"/>
                  <a:pt x="3028" y="1310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4"/>
                </a:cubicBezTo>
                <a:cubicBezTo>
                  <a:pt x="519" y="962"/>
                  <a:pt x="961" y="519"/>
                  <a:pt x="1514" y="519"/>
                </a:cubicBezTo>
                <a:cubicBezTo>
                  <a:pt x="2067" y="519"/>
                  <a:pt x="2510" y="962"/>
                  <a:pt x="2510" y="1514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0" name="Freeform 173">
            <a:extLst>
              <a:ext uri="{FF2B5EF4-FFF2-40B4-BE49-F238E27FC236}">
                <a16:creationId xmlns:a16="http://schemas.microsoft.com/office/drawing/2014/main" id="{3EE37673-DE62-4542-87FF-72250AED50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2930137"/>
            <a:ext cx="3879539" cy="3725119"/>
          </a:xfrm>
          <a:custGeom>
            <a:avLst/>
            <a:gdLst>
              <a:gd name="T0" fmla="*/ 386932365 w 3038"/>
              <a:gd name="T1" fmla="*/ 165531498 h 3028"/>
              <a:gd name="T2" fmla="*/ 386932365 w 3038"/>
              <a:gd name="T3" fmla="*/ 165531498 h 3028"/>
              <a:gd name="T4" fmla="*/ 358285057 w 3038"/>
              <a:gd name="T5" fmla="*/ 165531498 h 3028"/>
              <a:gd name="T6" fmla="*/ 333008041 w 3038"/>
              <a:gd name="T7" fmla="*/ 104819147 h 3028"/>
              <a:gd name="T8" fmla="*/ 353877862 w 3038"/>
              <a:gd name="T9" fmla="*/ 83933260 h 3028"/>
              <a:gd name="T10" fmla="*/ 353877862 w 3038"/>
              <a:gd name="T11" fmla="*/ 76149495 h 3028"/>
              <a:gd name="T12" fmla="*/ 317582678 w 3038"/>
              <a:gd name="T13" fmla="*/ 39696440 h 3028"/>
              <a:gd name="T14" fmla="*/ 309805190 w 3038"/>
              <a:gd name="T15" fmla="*/ 39696440 h 3028"/>
              <a:gd name="T16" fmla="*/ 288935369 w 3038"/>
              <a:gd name="T17" fmla="*/ 59674324 h 3028"/>
              <a:gd name="T18" fmla="*/ 228270819 w 3038"/>
              <a:gd name="T19" fmla="*/ 34247697 h 3028"/>
              <a:gd name="T20" fmla="*/ 228270819 w 3038"/>
              <a:gd name="T21" fmla="*/ 5578406 h 3028"/>
              <a:gd name="T22" fmla="*/ 222696749 w 3038"/>
              <a:gd name="T23" fmla="*/ 0 h 3028"/>
              <a:gd name="T24" fmla="*/ 170846589 w 3038"/>
              <a:gd name="T25" fmla="*/ 0 h 3028"/>
              <a:gd name="T26" fmla="*/ 165402132 w 3038"/>
              <a:gd name="T27" fmla="*/ 5578406 h 3028"/>
              <a:gd name="T28" fmla="*/ 165402132 w 3038"/>
              <a:gd name="T29" fmla="*/ 34247697 h 3028"/>
              <a:gd name="T30" fmla="*/ 104737582 w 3038"/>
              <a:gd name="T31" fmla="*/ 59674324 h 3028"/>
              <a:gd name="T32" fmla="*/ 83738148 w 3038"/>
              <a:gd name="T33" fmla="*/ 39696440 h 3028"/>
              <a:gd name="T34" fmla="*/ 76090273 w 3038"/>
              <a:gd name="T35" fmla="*/ 39696440 h 3028"/>
              <a:gd name="T36" fmla="*/ 39665477 w 3038"/>
              <a:gd name="T37" fmla="*/ 76149495 h 3028"/>
              <a:gd name="T38" fmla="*/ 39665477 w 3038"/>
              <a:gd name="T39" fmla="*/ 83933260 h 3028"/>
              <a:gd name="T40" fmla="*/ 59498035 w 3038"/>
              <a:gd name="T41" fmla="*/ 104819147 h 3028"/>
              <a:gd name="T42" fmla="*/ 35258281 w 3038"/>
              <a:gd name="T43" fmla="*/ 165531498 h 3028"/>
              <a:gd name="T44" fmla="*/ 5444098 w 3038"/>
              <a:gd name="T45" fmla="*/ 165531498 h 3028"/>
              <a:gd name="T46" fmla="*/ 0 w 3038"/>
              <a:gd name="T47" fmla="*/ 171109544 h 3028"/>
              <a:gd name="T48" fmla="*/ 0 w 3038"/>
              <a:gd name="T49" fmla="*/ 222870440 h 3028"/>
              <a:gd name="T50" fmla="*/ 5444098 w 3038"/>
              <a:gd name="T51" fmla="*/ 228319183 h 3028"/>
              <a:gd name="T52" fmla="*/ 35258281 w 3038"/>
              <a:gd name="T53" fmla="*/ 228319183 h 3028"/>
              <a:gd name="T54" fmla="*/ 59498035 w 3038"/>
              <a:gd name="T55" fmla="*/ 289031174 h 3028"/>
              <a:gd name="T56" fmla="*/ 39665477 w 3038"/>
              <a:gd name="T57" fmla="*/ 308879394 h 3028"/>
              <a:gd name="T58" fmla="*/ 39665477 w 3038"/>
              <a:gd name="T59" fmla="*/ 317700825 h 3028"/>
              <a:gd name="T60" fmla="*/ 76090273 w 3038"/>
              <a:gd name="T61" fmla="*/ 354154241 h 3028"/>
              <a:gd name="T62" fmla="*/ 83738148 w 3038"/>
              <a:gd name="T63" fmla="*/ 354154241 h 3028"/>
              <a:gd name="T64" fmla="*/ 104737582 w 3038"/>
              <a:gd name="T65" fmla="*/ 333138330 h 3028"/>
              <a:gd name="T66" fmla="*/ 165402132 w 3038"/>
              <a:gd name="T67" fmla="*/ 358564956 h 3028"/>
              <a:gd name="T68" fmla="*/ 165402132 w 3038"/>
              <a:gd name="T69" fmla="*/ 387234248 h 3028"/>
              <a:gd name="T70" fmla="*/ 170846589 w 3038"/>
              <a:gd name="T71" fmla="*/ 392682990 h 3028"/>
              <a:gd name="T72" fmla="*/ 222696749 w 3038"/>
              <a:gd name="T73" fmla="*/ 392682990 h 3028"/>
              <a:gd name="T74" fmla="*/ 228270819 w 3038"/>
              <a:gd name="T75" fmla="*/ 387234248 h 3028"/>
              <a:gd name="T76" fmla="*/ 228270819 w 3038"/>
              <a:gd name="T77" fmla="*/ 358564956 h 3028"/>
              <a:gd name="T78" fmla="*/ 288935369 w 3038"/>
              <a:gd name="T79" fmla="*/ 333138330 h 3028"/>
              <a:gd name="T80" fmla="*/ 309805190 w 3038"/>
              <a:gd name="T81" fmla="*/ 354154241 h 3028"/>
              <a:gd name="T82" fmla="*/ 317582678 w 3038"/>
              <a:gd name="T83" fmla="*/ 354154241 h 3028"/>
              <a:gd name="T84" fmla="*/ 353877862 w 3038"/>
              <a:gd name="T85" fmla="*/ 317700825 h 3028"/>
              <a:gd name="T86" fmla="*/ 353877862 w 3038"/>
              <a:gd name="T87" fmla="*/ 308879394 h 3028"/>
              <a:gd name="T88" fmla="*/ 333008041 w 3038"/>
              <a:gd name="T89" fmla="*/ 289031174 h 3028"/>
              <a:gd name="T90" fmla="*/ 358285057 w 3038"/>
              <a:gd name="T91" fmla="*/ 228319183 h 3028"/>
              <a:gd name="T92" fmla="*/ 386932365 w 3038"/>
              <a:gd name="T93" fmla="*/ 228319183 h 3028"/>
              <a:gd name="T94" fmla="*/ 393672951 w 3038"/>
              <a:gd name="T95" fmla="*/ 222870440 h 3028"/>
              <a:gd name="T96" fmla="*/ 393672951 w 3038"/>
              <a:gd name="T97" fmla="*/ 171109544 h 3028"/>
              <a:gd name="T98" fmla="*/ 386932365 w 3038"/>
              <a:gd name="T99" fmla="*/ 165531498 h 3028"/>
              <a:gd name="T100" fmla="*/ 196253218 w 3038"/>
              <a:gd name="T101" fmla="*/ 325484590 h 3028"/>
              <a:gd name="T102" fmla="*/ 196253218 w 3038"/>
              <a:gd name="T103" fmla="*/ 325484590 h 3028"/>
              <a:gd name="T104" fmla="*/ 67275523 w 3038"/>
              <a:gd name="T105" fmla="*/ 196406507 h 3028"/>
              <a:gd name="T106" fmla="*/ 196253218 w 3038"/>
              <a:gd name="T107" fmla="*/ 67328064 h 3028"/>
              <a:gd name="T108" fmla="*/ 325230553 w 3038"/>
              <a:gd name="T109" fmla="*/ 196406507 h 3028"/>
              <a:gd name="T110" fmla="*/ 196253218 w 3038"/>
              <a:gd name="T111" fmla="*/ 325484590 h 302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8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7"/>
                  <a:pt x="2730" y="647"/>
                  <a:pt x="2730" y="647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90"/>
                  <a:pt x="2407" y="290"/>
                  <a:pt x="2390" y="306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3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60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90"/>
                  <a:pt x="604" y="290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7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9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3"/>
                  <a:pt x="25" y="1760"/>
                  <a:pt x="42" y="1760"/>
                </a:cubicBezTo>
                <a:cubicBezTo>
                  <a:pt x="272" y="1760"/>
                  <a:pt x="272" y="1760"/>
                  <a:pt x="272" y="1760"/>
                </a:cubicBezTo>
                <a:cubicBezTo>
                  <a:pt x="306" y="1930"/>
                  <a:pt x="366" y="2092"/>
                  <a:pt x="459" y="2228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32"/>
                  <a:pt x="306" y="2449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1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0"/>
                  <a:pt x="1293" y="3027"/>
                  <a:pt x="1318" y="3027"/>
                </a:cubicBezTo>
                <a:cubicBezTo>
                  <a:pt x="1718" y="3027"/>
                  <a:pt x="1718" y="3027"/>
                  <a:pt x="1718" y="3027"/>
                </a:cubicBezTo>
                <a:cubicBezTo>
                  <a:pt x="1744" y="3027"/>
                  <a:pt x="1761" y="3010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1"/>
                  <a:pt x="2229" y="2568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49"/>
                  <a:pt x="2730" y="2449"/>
                  <a:pt x="2730" y="2449"/>
                </a:cubicBezTo>
                <a:cubicBezTo>
                  <a:pt x="2747" y="2432"/>
                  <a:pt x="2747" y="2398"/>
                  <a:pt x="2730" y="2381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2"/>
                  <a:pt x="2730" y="1930"/>
                  <a:pt x="2764" y="1760"/>
                </a:cubicBezTo>
                <a:cubicBezTo>
                  <a:pt x="2985" y="1760"/>
                  <a:pt x="2985" y="1760"/>
                  <a:pt x="2985" y="1760"/>
                </a:cubicBezTo>
                <a:cubicBezTo>
                  <a:pt x="3011" y="1760"/>
                  <a:pt x="3037" y="1743"/>
                  <a:pt x="3037" y="1718"/>
                </a:cubicBezTo>
                <a:cubicBezTo>
                  <a:pt x="3037" y="1319"/>
                  <a:pt x="3037" y="1319"/>
                  <a:pt x="3037" y="1319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6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6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1" name="Freeform 174">
            <a:extLst>
              <a:ext uri="{FF2B5EF4-FFF2-40B4-BE49-F238E27FC236}">
                <a16:creationId xmlns:a16="http://schemas.microsoft.com/office/drawing/2014/main" id="{6193DDB7-F3B3-494F-88CB-2724563DA2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6969747"/>
            <a:ext cx="3879539" cy="3725113"/>
          </a:xfrm>
          <a:custGeom>
            <a:avLst/>
            <a:gdLst>
              <a:gd name="T0" fmla="*/ 386932365 w 3038"/>
              <a:gd name="T1" fmla="*/ 164255025 h 3029"/>
              <a:gd name="T2" fmla="*/ 386932365 w 3038"/>
              <a:gd name="T3" fmla="*/ 164255025 h 3029"/>
              <a:gd name="T4" fmla="*/ 358285057 w 3038"/>
              <a:gd name="T5" fmla="*/ 164255025 h 3029"/>
              <a:gd name="T6" fmla="*/ 333008041 w 3038"/>
              <a:gd name="T7" fmla="*/ 103582936 h 3029"/>
              <a:gd name="T8" fmla="*/ 353877862 w 3038"/>
              <a:gd name="T9" fmla="*/ 83748128 h 3029"/>
              <a:gd name="T10" fmla="*/ 353877862 w 3038"/>
              <a:gd name="T11" fmla="*/ 75969461 h 3029"/>
              <a:gd name="T12" fmla="*/ 317582678 w 3038"/>
              <a:gd name="T13" fmla="*/ 38503392 h 3029"/>
              <a:gd name="T14" fmla="*/ 309805190 w 3038"/>
              <a:gd name="T15" fmla="*/ 38503392 h 3029"/>
              <a:gd name="T16" fmla="*/ 288935369 w 3038"/>
              <a:gd name="T17" fmla="*/ 59505145 h 3029"/>
              <a:gd name="T18" fmla="*/ 228270819 w 3038"/>
              <a:gd name="T19" fmla="*/ 34095577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095577 h 3029"/>
              <a:gd name="T30" fmla="*/ 104737582 w 3038"/>
              <a:gd name="T31" fmla="*/ 59505145 h 3029"/>
              <a:gd name="T32" fmla="*/ 83738148 w 3038"/>
              <a:gd name="T33" fmla="*/ 38503392 h 3029"/>
              <a:gd name="T34" fmla="*/ 76090273 w 3038"/>
              <a:gd name="T35" fmla="*/ 38503392 h 3029"/>
              <a:gd name="T36" fmla="*/ 39665477 w 3038"/>
              <a:gd name="T37" fmla="*/ 75969461 h 3029"/>
              <a:gd name="T38" fmla="*/ 39665477 w 3038"/>
              <a:gd name="T39" fmla="*/ 83748128 h 3029"/>
              <a:gd name="T40" fmla="*/ 59498035 w 3038"/>
              <a:gd name="T41" fmla="*/ 103582936 h 3029"/>
              <a:gd name="T42" fmla="*/ 35258281 w 3038"/>
              <a:gd name="T43" fmla="*/ 164255025 h 3029"/>
              <a:gd name="T44" fmla="*/ 5444098 w 3038"/>
              <a:gd name="T45" fmla="*/ 164255025 h 3029"/>
              <a:gd name="T46" fmla="*/ 0 w 3038"/>
              <a:gd name="T47" fmla="*/ 169699803 h 3029"/>
              <a:gd name="T48" fmla="*/ 0 w 3038"/>
              <a:gd name="T49" fmla="*/ 221556262 h 3029"/>
              <a:gd name="T50" fmla="*/ 5444098 w 3038"/>
              <a:gd name="T51" fmla="*/ 227130661 h 3029"/>
              <a:gd name="T52" fmla="*/ 35258281 w 3038"/>
              <a:gd name="T53" fmla="*/ 227130661 h 3029"/>
              <a:gd name="T54" fmla="*/ 59498035 w 3038"/>
              <a:gd name="T55" fmla="*/ 287802749 h 3029"/>
              <a:gd name="T56" fmla="*/ 39665477 w 3038"/>
              <a:gd name="T57" fmla="*/ 308674881 h 3029"/>
              <a:gd name="T58" fmla="*/ 39665477 w 3038"/>
              <a:gd name="T59" fmla="*/ 316453548 h 3029"/>
              <a:gd name="T60" fmla="*/ 76090273 w 3038"/>
              <a:gd name="T61" fmla="*/ 352882653 h 3029"/>
              <a:gd name="T62" fmla="*/ 83738148 w 3038"/>
              <a:gd name="T63" fmla="*/ 352882653 h 3029"/>
              <a:gd name="T64" fmla="*/ 104737582 w 3038"/>
              <a:gd name="T65" fmla="*/ 332917864 h 3029"/>
              <a:gd name="T66" fmla="*/ 165402132 w 3038"/>
              <a:gd name="T67" fmla="*/ 358327432 h 3029"/>
              <a:gd name="T68" fmla="*/ 165402132 w 3038"/>
              <a:gd name="T69" fmla="*/ 386978230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6978230 h 3029"/>
              <a:gd name="T76" fmla="*/ 228270819 w 3038"/>
              <a:gd name="T77" fmla="*/ 358327432 h 3029"/>
              <a:gd name="T78" fmla="*/ 288935369 w 3038"/>
              <a:gd name="T79" fmla="*/ 332917864 h 3029"/>
              <a:gd name="T80" fmla="*/ 309805190 w 3038"/>
              <a:gd name="T81" fmla="*/ 352882653 h 3029"/>
              <a:gd name="T82" fmla="*/ 317582678 w 3038"/>
              <a:gd name="T83" fmla="*/ 352882653 h 3029"/>
              <a:gd name="T84" fmla="*/ 353877862 w 3038"/>
              <a:gd name="T85" fmla="*/ 316453548 h 3029"/>
              <a:gd name="T86" fmla="*/ 353877862 w 3038"/>
              <a:gd name="T87" fmla="*/ 308674881 h 3029"/>
              <a:gd name="T88" fmla="*/ 333008041 w 3038"/>
              <a:gd name="T89" fmla="*/ 287802749 h 3029"/>
              <a:gd name="T90" fmla="*/ 358285057 w 3038"/>
              <a:gd name="T91" fmla="*/ 227130661 h 3029"/>
              <a:gd name="T92" fmla="*/ 386932365 w 3038"/>
              <a:gd name="T93" fmla="*/ 227130661 h 3029"/>
              <a:gd name="T94" fmla="*/ 393672951 w 3038"/>
              <a:gd name="T95" fmla="*/ 221556262 h 3029"/>
              <a:gd name="T96" fmla="*/ 393672951 w 3038"/>
              <a:gd name="T97" fmla="*/ 169699803 h 3029"/>
              <a:gd name="T98" fmla="*/ 386932365 w 3038"/>
              <a:gd name="T99" fmla="*/ 164255025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15383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67"/>
                </a:moveTo>
                <a:lnTo>
                  <a:pt x="2985" y="1267"/>
                </a:lnTo>
                <a:cubicBezTo>
                  <a:pt x="2764" y="1267"/>
                  <a:pt x="2764" y="1267"/>
                  <a:pt x="2764" y="1267"/>
                </a:cubicBezTo>
                <a:cubicBezTo>
                  <a:pt x="2730" y="1097"/>
                  <a:pt x="2662" y="944"/>
                  <a:pt x="2569" y="799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29"/>
                  <a:pt x="2747" y="603"/>
                  <a:pt x="2730" y="586"/>
                </a:cubicBezTo>
                <a:cubicBezTo>
                  <a:pt x="2450" y="297"/>
                  <a:pt x="2450" y="297"/>
                  <a:pt x="2450" y="297"/>
                </a:cubicBezTo>
                <a:cubicBezTo>
                  <a:pt x="2433" y="280"/>
                  <a:pt x="2407" y="280"/>
                  <a:pt x="2390" y="297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5"/>
                  <a:pt x="1931" y="297"/>
                  <a:pt x="1761" y="263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3"/>
                  <a:pt x="1276" y="263"/>
                  <a:pt x="1276" y="263"/>
                </a:cubicBezTo>
                <a:cubicBezTo>
                  <a:pt x="1106" y="297"/>
                  <a:pt x="944" y="365"/>
                  <a:pt x="808" y="459"/>
                </a:cubicBezTo>
                <a:cubicBezTo>
                  <a:pt x="646" y="297"/>
                  <a:pt x="646" y="297"/>
                  <a:pt x="646" y="297"/>
                </a:cubicBezTo>
                <a:cubicBezTo>
                  <a:pt x="629" y="280"/>
                  <a:pt x="604" y="280"/>
                  <a:pt x="587" y="297"/>
                </a:cubicBezTo>
                <a:cubicBezTo>
                  <a:pt x="306" y="586"/>
                  <a:pt x="306" y="586"/>
                  <a:pt x="306" y="586"/>
                </a:cubicBezTo>
                <a:cubicBezTo>
                  <a:pt x="289" y="603"/>
                  <a:pt x="289" y="629"/>
                  <a:pt x="306" y="646"/>
                </a:cubicBezTo>
                <a:cubicBezTo>
                  <a:pt x="459" y="799"/>
                  <a:pt x="459" y="799"/>
                  <a:pt x="459" y="799"/>
                </a:cubicBezTo>
                <a:cubicBezTo>
                  <a:pt x="366" y="944"/>
                  <a:pt x="306" y="1097"/>
                  <a:pt x="272" y="1267"/>
                </a:cubicBezTo>
                <a:cubicBezTo>
                  <a:pt x="42" y="1267"/>
                  <a:pt x="42" y="1267"/>
                  <a:pt x="42" y="1267"/>
                </a:cubicBezTo>
                <a:cubicBezTo>
                  <a:pt x="25" y="1267"/>
                  <a:pt x="0" y="1293"/>
                  <a:pt x="0" y="1309"/>
                </a:cubicBezTo>
                <a:cubicBezTo>
                  <a:pt x="0" y="1709"/>
                  <a:pt x="0" y="1709"/>
                  <a:pt x="0" y="1709"/>
                </a:cubicBezTo>
                <a:cubicBezTo>
                  <a:pt x="0" y="1735"/>
                  <a:pt x="25" y="1752"/>
                  <a:pt x="42" y="1752"/>
                </a:cubicBezTo>
                <a:cubicBezTo>
                  <a:pt x="272" y="1752"/>
                  <a:pt x="272" y="1752"/>
                  <a:pt x="272" y="1752"/>
                </a:cubicBezTo>
                <a:cubicBezTo>
                  <a:pt x="306" y="1922"/>
                  <a:pt x="366" y="2084"/>
                  <a:pt x="459" y="2220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24"/>
                  <a:pt x="306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8"/>
                  <a:pt x="629" y="2738"/>
                  <a:pt x="646" y="2722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8"/>
                </a:cubicBezTo>
                <a:cubicBezTo>
                  <a:pt x="2390" y="2722"/>
                  <a:pt x="2390" y="2722"/>
                  <a:pt x="2390" y="2722"/>
                </a:cubicBezTo>
                <a:cubicBezTo>
                  <a:pt x="2407" y="2738"/>
                  <a:pt x="2433" y="2738"/>
                  <a:pt x="2450" y="2722"/>
                </a:cubicBezTo>
                <a:cubicBezTo>
                  <a:pt x="2730" y="2441"/>
                  <a:pt x="2730" y="2441"/>
                  <a:pt x="2730" y="2441"/>
                </a:cubicBezTo>
                <a:cubicBezTo>
                  <a:pt x="2747" y="2424"/>
                  <a:pt x="2747" y="2398"/>
                  <a:pt x="2730" y="2381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2" y="2084"/>
                  <a:pt x="2730" y="1922"/>
                  <a:pt x="2764" y="1752"/>
                </a:cubicBezTo>
                <a:cubicBezTo>
                  <a:pt x="2985" y="1752"/>
                  <a:pt x="2985" y="1752"/>
                  <a:pt x="2985" y="1752"/>
                </a:cubicBezTo>
                <a:cubicBezTo>
                  <a:pt x="3011" y="1752"/>
                  <a:pt x="3037" y="1735"/>
                  <a:pt x="3037" y="1709"/>
                </a:cubicBezTo>
                <a:cubicBezTo>
                  <a:pt x="3037" y="1309"/>
                  <a:pt x="3037" y="1309"/>
                  <a:pt x="3037" y="1309"/>
                </a:cubicBezTo>
                <a:cubicBezTo>
                  <a:pt x="3037" y="1293"/>
                  <a:pt x="3011" y="1267"/>
                  <a:pt x="2985" y="1267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58"/>
                  <a:pt x="519" y="1514"/>
                </a:cubicBezTo>
                <a:cubicBezTo>
                  <a:pt x="519" y="961"/>
                  <a:pt x="970" y="518"/>
                  <a:pt x="1514" y="518"/>
                </a:cubicBezTo>
                <a:cubicBezTo>
                  <a:pt x="2067" y="518"/>
                  <a:pt x="2509" y="961"/>
                  <a:pt x="2509" y="1514"/>
                </a:cubicBezTo>
                <a:cubicBezTo>
                  <a:pt x="2509" y="2058"/>
                  <a:pt x="2067" y="2509"/>
                  <a:pt x="1514" y="2509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2" name="Freeform 396">
            <a:extLst>
              <a:ext uri="{FF2B5EF4-FFF2-40B4-BE49-F238E27FC236}">
                <a16:creationId xmlns:a16="http://schemas.microsoft.com/office/drawing/2014/main" id="{64432B7C-C6CB-4097-9778-D63AC1A5E8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26843" y="338281"/>
            <a:ext cx="1154290" cy="1046505"/>
          </a:xfrm>
          <a:custGeom>
            <a:avLst/>
            <a:gdLst>
              <a:gd name="T0" fmla="*/ 111571192 w 903"/>
              <a:gd name="T1" fmla="*/ 0 h 851"/>
              <a:gd name="T2" fmla="*/ 111571192 w 903"/>
              <a:gd name="T3" fmla="*/ 0 h 851"/>
              <a:gd name="T4" fmla="*/ 111571192 w 903"/>
              <a:gd name="T5" fmla="*/ 0 h 851"/>
              <a:gd name="T6" fmla="*/ 59616959 w 903"/>
              <a:gd name="T7" fmla="*/ 6610924 h 851"/>
              <a:gd name="T8" fmla="*/ 59616959 w 903"/>
              <a:gd name="T9" fmla="*/ 6610924 h 851"/>
              <a:gd name="T10" fmla="*/ 57538919 w 903"/>
              <a:gd name="T11" fmla="*/ 6610924 h 851"/>
              <a:gd name="T12" fmla="*/ 6624067 w 903"/>
              <a:gd name="T13" fmla="*/ 0 h 851"/>
              <a:gd name="T14" fmla="*/ 6624067 w 903"/>
              <a:gd name="T15" fmla="*/ 0 h 851"/>
              <a:gd name="T16" fmla="*/ 1169123 w 903"/>
              <a:gd name="T17" fmla="*/ 6610924 h 851"/>
              <a:gd name="T18" fmla="*/ 1169123 w 903"/>
              <a:gd name="T19" fmla="*/ 17628651 h 851"/>
              <a:gd name="T20" fmla="*/ 0 w 903"/>
              <a:gd name="T21" fmla="*/ 82699918 h 851"/>
              <a:gd name="T22" fmla="*/ 0 w 903"/>
              <a:gd name="T23" fmla="*/ 92551138 h 851"/>
              <a:gd name="T24" fmla="*/ 5585047 w 903"/>
              <a:gd name="T25" fmla="*/ 99162062 h 851"/>
              <a:gd name="T26" fmla="*/ 56370157 w 903"/>
              <a:gd name="T27" fmla="*/ 110180149 h 851"/>
              <a:gd name="T28" fmla="*/ 57538919 w 903"/>
              <a:gd name="T29" fmla="*/ 110180149 h 851"/>
              <a:gd name="T30" fmla="*/ 58577939 w 903"/>
              <a:gd name="T31" fmla="*/ 110180149 h 851"/>
              <a:gd name="T32" fmla="*/ 60786082 w 903"/>
              <a:gd name="T33" fmla="*/ 110180149 h 851"/>
              <a:gd name="T34" fmla="*/ 61955204 w 903"/>
              <a:gd name="T35" fmla="*/ 110180149 h 851"/>
              <a:gd name="T36" fmla="*/ 112739954 w 903"/>
              <a:gd name="T37" fmla="*/ 99162062 h 851"/>
              <a:gd name="T38" fmla="*/ 117156239 w 903"/>
              <a:gd name="T39" fmla="*/ 92551138 h 851"/>
              <a:gd name="T40" fmla="*/ 117156239 w 903"/>
              <a:gd name="T41" fmla="*/ 72718726 h 851"/>
              <a:gd name="T42" fmla="*/ 117156239 w 903"/>
              <a:gd name="T43" fmla="*/ 72718726 h 851"/>
              <a:gd name="T44" fmla="*/ 117156239 w 903"/>
              <a:gd name="T45" fmla="*/ 6610924 h 851"/>
              <a:gd name="T46" fmla="*/ 111571192 w 903"/>
              <a:gd name="T47" fmla="*/ 0 h 851"/>
              <a:gd name="T48" fmla="*/ 8832209 w 903"/>
              <a:gd name="T49" fmla="*/ 82699918 h 851"/>
              <a:gd name="T50" fmla="*/ 8832209 w 903"/>
              <a:gd name="T51" fmla="*/ 82699918 h 851"/>
              <a:gd name="T52" fmla="*/ 10000971 w 903"/>
              <a:gd name="T53" fmla="*/ 17628651 h 851"/>
              <a:gd name="T54" fmla="*/ 10000971 w 903"/>
              <a:gd name="T55" fmla="*/ 17628651 h 851"/>
              <a:gd name="T56" fmla="*/ 10000971 w 903"/>
              <a:gd name="T57" fmla="*/ 9851580 h 851"/>
              <a:gd name="T58" fmla="*/ 54162015 w 903"/>
              <a:gd name="T59" fmla="*/ 15425250 h 851"/>
              <a:gd name="T60" fmla="*/ 55201035 w 903"/>
              <a:gd name="T61" fmla="*/ 38627930 h 851"/>
              <a:gd name="T62" fmla="*/ 55201035 w 903"/>
              <a:gd name="T63" fmla="*/ 101365824 h 851"/>
              <a:gd name="T64" fmla="*/ 8832209 w 903"/>
              <a:gd name="T65" fmla="*/ 90347737 h 851"/>
              <a:gd name="T66" fmla="*/ 8832209 w 903"/>
              <a:gd name="T67" fmla="*/ 82699918 h 851"/>
              <a:gd name="T68" fmla="*/ 108324030 w 903"/>
              <a:gd name="T69" fmla="*/ 72718726 h 851"/>
              <a:gd name="T70" fmla="*/ 108324030 w 903"/>
              <a:gd name="T71" fmla="*/ 72718726 h 851"/>
              <a:gd name="T72" fmla="*/ 108324030 w 903"/>
              <a:gd name="T73" fmla="*/ 90347737 h 851"/>
              <a:gd name="T74" fmla="*/ 64033244 w 903"/>
              <a:gd name="T75" fmla="*/ 101365824 h 851"/>
              <a:gd name="T76" fmla="*/ 64033244 w 903"/>
              <a:gd name="T77" fmla="*/ 38627930 h 851"/>
              <a:gd name="T78" fmla="*/ 64033244 w 903"/>
              <a:gd name="T79" fmla="*/ 18665906 h 851"/>
              <a:gd name="T80" fmla="*/ 64033244 w 903"/>
              <a:gd name="T81" fmla="*/ 17628651 h 851"/>
              <a:gd name="T82" fmla="*/ 62994224 w 903"/>
              <a:gd name="T83" fmla="*/ 15425250 h 851"/>
              <a:gd name="T84" fmla="*/ 108324030 w 903"/>
              <a:gd name="T85" fmla="*/ 9851580 h 851"/>
              <a:gd name="T86" fmla="*/ 108324030 w 903"/>
              <a:gd name="T87" fmla="*/ 72718726 h 85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903" h="851">
                <a:moveTo>
                  <a:pt x="859" y="0"/>
                </a:moveTo>
                <a:lnTo>
                  <a:pt x="859" y="0"/>
                </a:lnTo>
                <a:cubicBezTo>
                  <a:pt x="459" y="51"/>
                  <a:pt x="459" y="51"/>
                  <a:pt x="459" y="51"/>
                </a:cubicBezTo>
                <a:cubicBezTo>
                  <a:pt x="451" y="51"/>
                  <a:pt x="451" y="51"/>
                  <a:pt x="443" y="51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0"/>
                  <a:pt x="9" y="25"/>
                  <a:pt x="9" y="51"/>
                </a:cubicBezTo>
                <a:cubicBezTo>
                  <a:pt x="9" y="136"/>
                  <a:pt x="9" y="136"/>
                  <a:pt x="9" y="136"/>
                </a:cubicBezTo>
                <a:cubicBezTo>
                  <a:pt x="0" y="638"/>
                  <a:pt x="0" y="638"/>
                  <a:pt x="0" y="638"/>
                </a:cubicBezTo>
                <a:cubicBezTo>
                  <a:pt x="0" y="714"/>
                  <a:pt x="0" y="714"/>
                  <a:pt x="0" y="714"/>
                </a:cubicBezTo>
                <a:cubicBezTo>
                  <a:pt x="0" y="740"/>
                  <a:pt x="26" y="757"/>
                  <a:pt x="43" y="765"/>
                </a:cubicBezTo>
                <a:cubicBezTo>
                  <a:pt x="434" y="850"/>
                  <a:pt x="434" y="850"/>
                  <a:pt x="434" y="850"/>
                </a:cubicBezTo>
                <a:cubicBezTo>
                  <a:pt x="443" y="850"/>
                  <a:pt x="443" y="850"/>
                  <a:pt x="443" y="850"/>
                </a:cubicBezTo>
                <a:cubicBezTo>
                  <a:pt x="451" y="850"/>
                  <a:pt x="451" y="850"/>
                  <a:pt x="451" y="850"/>
                </a:cubicBezTo>
                <a:cubicBezTo>
                  <a:pt x="459" y="850"/>
                  <a:pt x="459" y="850"/>
                  <a:pt x="468" y="850"/>
                </a:cubicBezTo>
                <a:cubicBezTo>
                  <a:pt x="468" y="850"/>
                  <a:pt x="468" y="850"/>
                  <a:pt x="477" y="850"/>
                </a:cubicBezTo>
                <a:cubicBezTo>
                  <a:pt x="868" y="765"/>
                  <a:pt x="868" y="765"/>
                  <a:pt x="868" y="765"/>
                </a:cubicBezTo>
                <a:cubicBezTo>
                  <a:pt x="885" y="765"/>
                  <a:pt x="902" y="740"/>
                  <a:pt x="902" y="714"/>
                </a:cubicBezTo>
                <a:cubicBezTo>
                  <a:pt x="902" y="561"/>
                  <a:pt x="902" y="561"/>
                  <a:pt x="902" y="561"/>
                </a:cubicBezTo>
                <a:cubicBezTo>
                  <a:pt x="902" y="51"/>
                  <a:pt x="902" y="51"/>
                  <a:pt x="902" y="51"/>
                </a:cubicBezTo>
                <a:cubicBezTo>
                  <a:pt x="902" y="25"/>
                  <a:pt x="885" y="0"/>
                  <a:pt x="859" y="0"/>
                </a:cubicBezTo>
                <a:close/>
                <a:moveTo>
                  <a:pt x="68" y="638"/>
                </a:moveTo>
                <a:lnTo>
                  <a:pt x="68" y="638"/>
                </a:lnTo>
                <a:cubicBezTo>
                  <a:pt x="77" y="136"/>
                  <a:pt x="77" y="136"/>
                  <a:pt x="77" y="136"/>
                </a:cubicBezTo>
                <a:cubicBezTo>
                  <a:pt x="77" y="76"/>
                  <a:pt x="77" y="76"/>
                  <a:pt x="77" y="76"/>
                </a:cubicBezTo>
                <a:cubicBezTo>
                  <a:pt x="417" y="119"/>
                  <a:pt x="417" y="119"/>
                  <a:pt x="417" y="119"/>
                </a:cubicBezTo>
                <a:cubicBezTo>
                  <a:pt x="425" y="298"/>
                  <a:pt x="425" y="298"/>
                  <a:pt x="425" y="298"/>
                </a:cubicBezTo>
                <a:cubicBezTo>
                  <a:pt x="425" y="782"/>
                  <a:pt x="425" y="782"/>
                  <a:pt x="425" y="782"/>
                </a:cubicBezTo>
                <a:cubicBezTo>
                  <a:pt x="68" y="697"/>
                  <a:pt x="68" y="697"/>
                  <a:pt x="68" y="697"/>
                </a:cubicBezTo>
                <a:lnTo>
                  <a:pt x="68" y="638"/>
                </a:lnTo>
                <a:close/>
                <a:moveTo>
                  <a:pt x="834" y="561"/>
                </a:moveTo>
                <a:lnTo>
                  <a:pt x="834" y="561"/>
                </a:lnTo>
                <a:cubicBezTo>
                  <a:pt x="834" y="697"/>
                  <a:pt x="834" y="697"/>
                  <a:pt x="834" y="697"/>
                </a:cubicBezTo>
                <a:cubicBezTo>
                  <a:pt x="493" y="782"/>
                  <a:pt x="493" y="782"/>
                  <a:pt x="493" y="782"/>
                </a:cubicBezTo>
                <a:cubicBezTo>
                  <a:pt x="493" y="298"/>
                  <a:pt x="493" y="298"/>
                  <a:pt x="493" y="298"/>
                </a:cubicBezTo>
                <a:cubicBezTo>
                  <a:pt x="493" y="144"/>
                  <a:pt x="493" y="144"/>
                  <a:pt x="493" y="144"/>
                </a:cubicBezTo>
                <a:lnTo>
                  <a:pt x="493" y="136"/>
                </a:lnTo>
                <a:cubicBezTo>
                  <a:pt x="485" y="119"/>
                  <a:pt x="485" y="119"/>
                  <a:pt x="485" y="119"/>
                </a:cubicBezTo>
                <a:cubicBezTo>
                  <a:pt x="834" y="76"/>
                  <a:pt x="834" y="76"/>
                  <a:pt x="834" y="76"/>
                </a:cubicBezTo>
                <a:lnTo>
                  <a:pt x="834" y="56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3" name="Freeform 397">
            <a:extLst>
              <a:ext uri="{FF2B5EF4-FFF2-40B4-BE49-F238E27FC236}">
                <a16:creationId xmlns:a16="http://schemas.microsoft.com/office/drawing/2014/main" id="{8867BC3D-D6B1-4645-B979-1EBD2B5240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5077" y="2105947"/>
            <a:ext cx="1238749" cy="1285084"/>
          </a:xfrm>
          <a:custGeom>
            <a:avLst/>
            <a:gdLst>
              <a:gd name="T0" fmla="*/ 125489014 w 971"/>
              <a:gd name="T1" fmla="*/ 15366465 h 1047"/>
              <a:gd name="T2" fmla="*/ 125489014 w 971"/>
              <a:gd name="T3" fmla="*/ 15366465 h 1047"/>
              <a:gd name="T4" fmla="*/ 118891390 w 971"/>
              <a:gd name="T5" fmla="*/ 9943176 h 1047"/>
              <a:gd name="T6" fmla="*/ 106730584 w 971"/>
              <a:gd name="T7" fmla="*/ 9943176 h 1047"/>
              <a:gd name="T8" fmla="*/ 106730584 w 971"/>
              <a:gd name="T9" fmla="*/ 4390521 h 1047"/>
              <a:gd name="T10" fmla="*/ 102331689 w 971"/>
              <a:gd name="T11" fmla="*/ 0 h 1047"/>
              <a:gd name="T12" fmla="*/ 97933153 w 971"/>
              <a:gd name="T13" fmla="*/ 4390521 h 1047"/>
              <a:gd name="T14" fmla="*/ 97933153 w 971"/>
              <a:gd name="T15" fmla="*/ 9943176 h 1047"/>
              <a:gd name="T16" fmla="*/ 27555861 w 971"/>
              <a:gd name="T17" fmla="*/ 9943176 h 1047"/>
              <a:gd name="T18" fmla="*/ 27555861 w 971"/>
              <a:gd name="T19" fmla="*/ 4390521 h 1047"/>
              <a:gd name="T20" fmla="*/ 23157325 w 971"/>
              <a:gd name="T21" fmla="*/ 0 h 1047"/>
              <a:gd name="T22" fmla="*/ 18758789 w 971"/>
              <a:gd name="T23" fmla="*/ 4390521 h 1047"/>
              <a:gd name="T24" fmla="*/ 18758789 w 971"/>
              <a:gd name="T25" fmla="*/ 9943176 h 1047"/>
              <a:gd name="T26" fmla="*/ 6727109 w 971"/>
              <a:gd name="T27" fmla="*/ 9943176 h 1047"/>
              <a:gd name="T28" fmla="*/ 0 w 971"/>
              <a:gd name="T29" fmla="*/ 15366465 h 1047"/>
              <a:gd name="T30" fmla="*/ 0 w 971"/>
              <a:gd name="T31" fmla="*/ 48295016 h 1047"/>
              <a:gd name="T32" fmla="*/ 0 w 971"/>
              <a:gd name="T33" fmla="*/ 49457509 h 1047"/>
              <a:gd name="T34" fmla="*/ 0 w 971"/>
              <a:gd name="T35" fmla="*/ 51652411 h 1047"/>
              <a:gd name="T36" fmla="*/ 0 w 971"/>
              <a:gd name="T37" fmla="*/ 128614822 h 1047"/>
              <a:gd name="T38" fmla="*/ 6727109 w 971"/>
              <a:gd name="T39" fmla="*/ 135071598 h 1047"/>
              <a:gd name="T40" fmla="*/ 118891390 w 971"/>
              <a:gd name="T41" fmla="*/ 135071598 h 1047"/>
              <a:gd name="T42" fmla="*/ 125489014 w 971"/>
              <a:gd name="T43" fmla="*/ 128614822 h 1047"/>
              <a:gd name="T44" fmla="*/ 125489014 w 971"/>
              <a:gd name="T45" fmla="*/ 51652411 h 1047"/>
              <a:gd name="T46" fmla="*/ 125489014 w 971"/>
              <a:gd name="T47" fmla="*/ 49457509 h 1047"/>
              <a:gd name="T48" fmla="*/ 125489014 w 971"/>
              <a:gd name="T49" fmla="*/ 48295016 h 1047"/>
              <a:gd name="T50" fmla="*/ 125489014 w 971"/>
              <a:gd name="T51" fmla="*/ 15366465 h 1047"/>
              <a:gd name="T52" fmla="*/ 8926557 w 971"/>
              <a:gd name="T53" fmla="*/ 18724219 h 1047"/>
              <a:gd name="T54" fmla="*/ 8926557 w 971"/>
              <a:gd name="T55" fmla="*/ 18724219 h 1047"/>
              <a:gd name="T56" fmla="*/ 18758789 w 971"/>
              <a:gd name="T57" fmla="*/ 18724219 h 1047"/>
              <a:gd name="T58" fmla="*/ 18758789 w 971"/>
              <a:gd name="T59" fmla="*/ 24147508 h 1047"/>
              <a:gd name="T60" fmla="*/ 23157325 w 971"/>
              <a:gd name="T61" fmla="*/ 28538030 h 1047"/>
              <a:gd name="T62" fmla="*/ 27555861 w 971"/>
              <a:gd name="T63" fmla="*/ 24147508 h 1047"/>
              <a:gd name="T64" fmla="*/ 27555861 w 971"/>
              <a:gd name="T65" fmla="*/ 18724219 h 1047"/>
              <a:gd name="T66" fmla="*/ 97933153 w 971"/>
              <a:gd name="T67" fmla="*/ 18724219 h 1047"/>
              <a:gd name="T68" fmla="*/ 97933153 w 971"/>
              <a:gd name="T69" fmla="*/ 24147508 h 1047"/>
              <a:gd name="T70" fmla="*/ 102331689 w 971"/>
              <a:gd name="T71" fmla="*/ 28538030 h 1047"/>
              <a:gd name="T72" fmla="*/ 106730584 w 971"/>
              <a:gd name="T73" fmla="*/ 24147508 h 1047"/>
              <a:gd name="T74" fmla="*/ 106730584 w 971"/>
              <a:gd name="T75" fmla="*/ 18724219 h 1047"/>
              <a:gd name="T76" fmla="*/ 116691942 w 971"/>
              <a:gd name="T77" fmla="*/ 18724219 h 1047"/>
              <a:gd name="T78" fmla="*/ 116691942 w 971"/>
              <a:gd name="T79" fmla="*/ 45066988 h 1047"/>
              <a:gd name="T80" fmla="*/ 8926557 w 971"/>
              <a:gd name="T81" fmla="*/ 45066988 h 1047"/>
              <a:gd name="T82" fmla="*/ 8926557 w 971"/>
              <a:gd name="T83" fmla="*/ 18724219 h 1047"/>
              <a:gd name="T84" fmla="*/ 116691942 w 971"/>
              <a:gd name="T85" fmla="*/ 126290555 h 1047"/>
              <a:gd name="T86" fmla="*/ 116691942 w 971"/>
              <a:gd name="T87" fmla="*/ 126290555 h 1047"/>
              <a:gd name="T88" fmla="*/ 8926557 w 971"/>
              <a:gd name="T89" fmla="*/ 126290555 h 1047"/>
              <a:gd name="T90" fmla="*/ 8926557 w 971"/>
              <a:gd name="T91" fmla="*/ 53847671 h 1047"/>
              <a:gd name="T92" fmla="*/ 116691942 w 971"/>
              <a:gd name="T93" fmla="*/ 53847671 h 1047"/>
              <a:gd name="T94" fmla="*/ 116691942 w 971"/>
              <a:gd name="T95" fmla="*/ 126290555 h 104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971" h="1047">
                <a:moveTo>
                  <a:pt x="970" y="119"/>
                </a:moveTo>
                <a:lnTo>
                  <a:pt x="970" y="119"/>
                </a:lnTo>
                <a:cubicBezTo>
                  <a:pt x="970" y="85"/>
                  <a:pt x="945" y="77"/>
                  <a:pt x="919" y="77"/>
                </a:cubicBezTo>
                <a:cubicBezTo>
                  <a:pt x="825" y="77"/>
                  <a:pt x="825" y="77"/>
                  <a:pt x="825" y="77"/>
                </a:cubicBezTo>
                <a:cubicBezTo>
                  <a:pt x="825" y="34"/>
                  <a:pt x="825" y="34"/>
                  <a:pt x="825" y="34"/>
                </a:cubicBezTo>
                <a:cubicBezTo>
                  <a:pt x="825" y="17"/>
                  <a:pt x="809" y="0"/>
                  <a:pt x="791" y="0"/>
                </a:cubicBezTo>
                <a:cubicBezTo>
                  <a:pt x="766" y="0"/>
                  <a:pt x="757" y="17"/>
                  <a:pt x="757" y="34"/>
                </a:cubicBezTo>
                <a:cubicBezTo>
                  <a:pt x="757" y="77"/>
                  <a:pt x="757" y="77"/>
                  <a:pt x="757" y="77"/>
                </a:cubicBezTo>
                <a:cubicBezTo>
                  <a:pt x="213" y="77"/>
                  <a:pt x="213" y="77"/>
                  <a:pt x="213" y="77"/>
                </a:cubicBezTo>
                <a:cubicBezTo>
                  <a:pt x="213" y="34"/>
                  <a:pt x="213" y="34"/>
                  <a:pt x="213" y="34"/>
                </a:cubicBezTo>
                <a:cubicBezTo>
                  <a:pt x="213" y="17"/>
                  <a:pt x="196" y="0"/>
                  <a:pt x="179" y="0"/>
                </a:cubicBezTo>
                <a:cubicBezTo>
                  <a:pt x="162" y="0"/>
                  <a:pt x="145" y="17"/>
                  <a:pt x="145" y="34"/>
                </a:cubicBezTo>
                <a:cubicBezTo>
                  <a:pt x="145" y="77"/>
                  <a:pt x="145" y="77"/>
                  <a:pt x="145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18" y="77"/>
                  <a:pt x="0" y="94"/>
                  <a:pt x="0" y="119"/>
                </a:cubicBezTo>
                <a:cubicBezTo>
                  <a:pt x="0" y="374"/>
                  <a:pt x="0" y="374"/>
                  <a:pt x="0" y="374"/>
                </a:cubicBezTo>
                <a:lnTo>
                  <a:pt x="0" y="383"/>
                </a:lnTo>
                <a:cubicBezTo>
                  <a:pt x="0" y="392"/>
                  <a:pt x="0" y="392"/>
                  <a:pt x="0" y="400"/>
                </a:cubicBezTo>
                <a:cubicBezTo>
                  <a:pt x="0" y="996"/>
                  <a:pt x="0" y="996"/>
                  <a:pt x="0" y="996"/>
                </a:cubicBezTo>
                <a:cubicBezTo>
                  <a:pt x="0" y="1021"/>
                  <a:pt x="18" y="1046"/>
                  <a:pt x="52" y="1046"/>
                </a:cubicBezTo>
                <a:cubicBezTo>
                  <a:pt x="919" y="1046"/>
                  <a:pt x="919" y="1046"/>
                  <a:pt x="919" y="1046"/>
                </a:cubicBezTo>
                <a:cubicBezTo>
                  <a:pt x="953" y="1046"/>
                  <a:pt x="970" y="1021"/>
                  <a:pt x="970" y="996"/>
                </a:cubicBezTo>
                <a:cubicBezTo>
                  <a:pt x="970" y="400"/>
                  <a:pt x="970" y="400"/>
                  <a:pt x="970" y="400"/>
                </a:cubicBezTo>
                <a:cubicBezTo>
                  <a:pt x="970" y="392"/>
                  <a:pt x="970" y="392"/>
                  <a:pt x="970" y="383"/>
                </a:cubicBezTo>
                <a:lnTo>
                  <a:pt x="970" y="374"/>
                </a:lnTo>
                <a:lnTo>
                  <a:pt x="970" y="119"/>
                </a:lnTo>
                <a:close/>
                <a:moveTo>
                  <a:pt x="69" y="145"/>
                </a:moveTo>
                <a:lnTo>
                  <a:pt x="69" y="145"/>
                </a:lnTo>
                <a:cubicBezTo>
                  <a:pt x="145" y="145"/>
                  <a:pt x="145" y="145"/>
                  <a:pt x="145" y="145"/>
                </a:cubicBezTo>
                <a:cubicBezTo>
                  <a:pt x="145" y="187"/>
                  <a:pt x="145" y="187"/>
                  <a:pt x="145" y="187"/>
                </a:cubicBezTo>
                <a:cubicBezTo>
                  <a:pt x="145" y="204"/>
                  <a:pt x="162" y="221"/>
                  <a:pt x="179" y="221"/>
                </a:cubicBezTo>
                <a:cubicBezTo>
                  <a:pt x="196" y="221"/>
                  <a:pt x="213" y="204"/>
                  <a:pt x="213" y="187"/>
                </a:cubicBezTo>
                <a:cubicBezTo>
                  <a:pt x="213" y="145"/>
                  <a:pt x="213" y="145"/>
                  <a:pt x="213" y="145"/>
                </a:cubicBezTo>
                <a:cubicBezTo>
                  <a:pt x="757" y="145"/>
                  <a:pt x="757" y="145"/>
                  <a:pt x="757" y="145"/>
                </a:cubicBezTo>
                <a:cubicBezTo>
                  <a:pt x="757" y="187"/>
                  <a:pt x="757" y="187"/>
                  <a:pt x="757" y="187"/>
                </a:cubicBezTo>
                <a:cubicBezTo>
                  <a:pt x="757" y="204"/>
                  <a:pt x="766" y="221"/>
                  <a:pt x="791" y="221"/>
                </a:cubicBezTo>
                <a:cubicBezTo>
                  <a:pt x="809" y="221"/>
                  <a:pt x="825" y="204"/>
                  <a:pt x="825" y="187"/>
                </a:cubicBezTo>
                <a:cubicBezTo>
                  <a:pt x="825" y="145"/>
                  <a:pt x="825" y="145"/>
                  <a:pt x="825" y="145"/>
                </a:cubicBezTo>
                <a:cubicBezTo>
                  <a:pt x="902" y="145"/>
                  <a:pt x="902" y="145"/>
                  <a:pt x="902" y="145"/>
                </a:cubicBezTo>
                <a:cubicBezTo>
                  <a:pt x="902" y="349"/>
                  <a:pt x="902" y="349"/>
                  <a:pt x="902" y="349"/>
                </a:cubicBezTo>
                <a:cubicBezTo>
                  <a:pt x="69" y="349"/>
                  <a:pt x="69" y="349"/>
                  <a:pt x="69" y="349"/>
                </a:cubicBezTo>
                <a:lnTo>
                  <a:pt x="69" y="145"/>
                </a:lnTo>
                <a:close/>
                <a:moveTo>
                  <a:pt x="902" y="978"/>
                </a:moveTo>
                <a:lnTo>
                  <a:pt x="902" y="978"/>
                </a:lnTo>
                <a:cubicBezTo>
                  <a:pt x="69" y="978"/>
                  <a:pt x="69" y="978"/>
                  <a:pt x="69" y="978"/>
                </a:cubicBezTo>
                <a:cubicBezTo>
                  <a:pt x="69" y="417"/>
                  <a:pt x="69" y="417"/>
                  <a:pt x="69" y="417"/>
                </a:cubicBezTo>
                <a:cubicBezTo>
                  <a:pt x="902" y="417"/>
                  <a:pt x="902" y="417"/>
                  <a:pt x="902" y="417"/>
                </a:cubicBezTo>
                <a:lnTo>
                  <a:pt x="902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4" name="Freeform 398">
            <a:extLst>
              <a:ext uri="{FF2B5EF4-FFF2-40B4-BE49-F238E27FC236}">
                <a16:creationId xmlns:a16="http://schemas.microsoft.com/office/drawing/2014/main" id="{6406EA4E-9A85-43BA-A854-CB56FC3FE9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03592" y="2366219"/>
            <a:ext cx="467350" cy="86757"/>
          </a:xfrm>
          <a:custGeom>
            <a:avLst/>
            <a:gdLst>
              <a:gd name="T0" fmla="*/ 42666080 w 367"/>
              <a:gd name="T1" fmla="*/ 0 h 69"/>
              <a:gd name="T2" fmla="*/ 42666080 w 367"/>
              <a:gd name="T3" fmla="*/ 0 h 69"/>
              <a:gd name="T4" fmla="*/ 4382646 w 367"/>
              <a:gd name="T5" fmla="*/ 0 h 69"/>
              <a:gd name="T6" fmla="*/ 0 w 367"/>
              <a:gd name="T7" fmla="*/ 4607339 h 69"/>
              <a:gd name="T8" fmla="*/ 4382646 w 367"/>
              <a:gd name="T9" fmla="*/ 9214678 h 69"/>
              <a:gd name="T10" fmla="*/ 42666080 w 367"/>
              <a:gd name="T11" fmla="*/ 9214678 h 69"/>
              <a:gd name="T12" fmla="*/ 47177616 w 367"/>
              <a:gd name="T13" fmla="*/ 4607339 h 69"/>
              <a:gd name="T14" fmla="*/ 42666080 w 367"/>
              <a:gd name="T15" fmla="*/ 0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7" h="69">
                <a:moveTo>
                  <a:pt x="331" y="0"/>
                </a:moveTo>
                <a:lnTo>
                  <a:pt x="331" y="0"/>
                </a:lnTo>
                <a:cubicBezTo>
                  <a:pt x="34" y="0"/>
                  <a:pt x="34" y="0"/>
                  <a:pt x="34" y="0"/>
                </a:cubicBezTo>
                <a:cubicBezTo>
                  <a:pt x="17" y="0"/>
                  <a:pt x="0" y="8"/>
                  <a:pt x="0" y="34"/>
                </a:cubicBezTo>
                <a:cubicBezTo>
                  <a:pt x="0" y="51"/>
                  <a:pt x="17" y="68"/>
                  <a:pt x="34" y="68"/>
                </a:cubicBezTo>
                <a:cubicBezTo>
                  <a:pt x="331" y="68"/>
                  <a:pt x="331" y="68"/>
                  <a:pt x="331" y="68"/>
                </a:cubicBezTo>
                <a:cubicBezTo>
                  <a:pt x="348" y="68"/>
                  <a:pt x="366" y="51"/>
                  <a:pt x="366" y="34"/>
                </a:cubicBezTo>
                <a:cubicBezTo>
                  <a:pt x="366" y="8"/>
                  <a:pt x="348" y="0"/>
                  <a:pt x="331" y="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5" name="Freeform 399">
            <a:extLst>
              <a:ext uri="{FF2B5EF4-FFF2-40B4-BE49-F238E27FC236}">
                <a16:creationId xmlns:a16="http://schemas.microsoft.com/office/drawing/2014/main" id="{9158E9B4-9F3C-4789-88A4-10FE1951E8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19133" y="2794579"/>
            <a:ext cx="292796" cy="379559"/>
          </a:xfrm>
          <a:custGeom>
            <a:avLst/>
            <a:gdLst>
              <a:gd name="T0" fmla="*/ 13139448 w 230"/>
              <a:gd name="T1" fmla="*/ 22273866 h 307"/>
              <a:gd name="T2" fmla="*/ 13139448 w 230"/>
              <a:gd name="T3" fmla="*/ 22273866 h 307"/>
              <a:gd name="T4" fmla="*/ 2190087 w 230"/>
              <a:gd name="T5" fmla="*/ 31183412 h 307"/>
              <a:gd name="T6" fmla="*/ 0 w 230"/>
              <a:gd name="T7" fmla="*/ 35638186 h 307"/>
              <a:gd name="T8" fmla="*/ 4379816 w 230"/>
              <a:gd name="T9" fmla="*/ 40092959 h 307"/>
              <a:gd name="T10" fmla="*/ 25119606 w 230"/>
              <a:gd name="T11" fmla="*/ 40092959 h 307"/>
              <a:gd name="T12" fmla="*/ 29499422 w 230"/>
              <a:gd name="T13" fmla="*/ 35638186 h 307"/>
              <a:gd name="T14" fmla="*/ 25119606 w 230"/>
              <a:gd name="T15" fmla="*/ 32231680 h 307"/>
              <a:gd name="T16" fmla="*/ 11980158 w 230"/>
              <a:gd name="T17" fmla="*/ 32231680 h 307"/>
              <a:gd name="T18" fmla="*/ 18549703 w 230"/>
              <a:gd name="T19" fmla="*/ 27776906 h 307"/>
              <a:gd name="T20" fmla="*/ 28468983 w 230"/>
              <a:gd name="T21" fmla="*/ 12185019 h 307"/>
              <a:gd name="T22" fmla="*/ 28468983 w 230"/>
              <a:gd name="T23" fmla="*/ 12185019 h 307"/>
              <a:gd name="T24" fmla="*/ 15329535 w 230"/>
              <a:gd name="T25" fmla="*/ 0 h 307"/>
              <a:gd name="T26" fmla="*/ 3220527 w 230"/>
              <a:gd name="T27" fmla="*/ 5503040 h 307"/>
              <a:gd name="T28" fmla="*/ 2190087 w 230"/>
              <a:gd name="T29" fmla="*/ 8909546 h 307"/>
              <a:gd name="T30" fmla="*/ 5410255 w 230"/>
              <a:gd name="T31" fmla="*/ 12185019 h 307"/>
              <a:gd name="T32" fmla="*/ 8759632 w 230"/>
              <a:gd name="T33" fmla="*/ 11137114 h 307"/>
              <a:gd name="T34" fmla="*/ 14169887 w 230"/>
              <a:gd name="T35" fmla="*/ 7730246 h 307"/>
              <a:gd name="T36" fmla="*/ 19709351 w 230"/>
              <a:gd name="T37" fmla="*/ 13364320 h 307"/>
              <a:gd name="T38" fmla="*/ 13139448 w 230"/>
              <a:gd name="T39" fmla="*/ 22273866 h 3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30" h="307">
                <a:moveTo>
                  <a:pt x="102" y="170"/>
                </a:moveTo>
                <a:lnTo>
                  <a:pt x="102" y="170"/>
                </a:lnTo>
                <a:cubicBezTo>
                  <a:pt x="17" y="238"/>
                  <a:pt x="17" y="238"/>
                  <a:pt x="17" y="238"/>
                </a:cubicBezTo>
                <a:cubicBezTo>
                  <a:pt x="8" y="246"/>
                  <a:pt x="0" y="255"/>
                  <a:pt x="0" y="272"/>
                </a:cubicBezTo>
                <a:cubicBezTo>
                  <a:pt x="0" y="289"/>
                  <a:pt x="17" y="306"/>
                  <a:pt x="34" y="306"/>
                </a:cubicBezTo>
                <a:cubicBezTo>
                  <a:pt x="195" y="306"/>
                  <a:pt x="195" y="306"/>
                  <a:pt x="195" y="306"/>
                </a:cubicBezTo>
                <a:cubicBezTo>
                  <a:pt x="212" y="306"/>
                  <a:pt x="229" y="289"/>
                  <a:pt x="229" y="272"/>
                </a:cubicBezTo>
                <a:cubicBezTo>
                  <a:pt x="229" y="255"/>
                  <a:pt x="212" y="246"/>
                  <a:pt x="195" y="246"/>
                </a:cubicBezTo>
                <a:cubicBezTo>
                  <a:pt x="93" y="246"/>
                  <a:pt x="93" y="246"/>
                  <a:pt x="93" y="246"/>
                </a:cubicBezTo>
                <a:cubicBezTo>
                  <a:pt x="144" y="212"/>
                  <a:pt x="144" y="212"/>
                  <a:pt x="144" y="212"/>
                </a:cubicBezTo>
                <a:cubicBezTo>
                  <a:pt x="195" y="170"/>
                  <a:pt x="221" y="144"/>
                  <a:pt x="221" y="93"/>
                </a:cubicBezTo>
                <a:cubicBezTo>
                  <a:pt x="221" y="34"/>
                  <a:pt x="178" y="0"/>
                  <a:pt x="119" y="0"/>
                </a:cubicBezTo>
                <a:cubicBezTo>
                  <a:pt x="76" y="0"/>
                  <a:pt x="42" y="17"/>
                  <a:pt x="25" y="42"/>
                </a:cubicBezTo>
                <a:cubicBezTo>
                  <a:pt x="17" y="51"/>
                  <a:pt x="17" y="59"/>
                  <a:pt x="17" y="68"/>
                </a:cubicBezTo>
                <a:cubicBezTo>
                  <a:pt x="17" y="85"/>
                  <a:pt x="25" y="93"/>
                  <a:pt x="42" y="93"/>
                </a:cubicBezTo>
                <a:cubicBezTo>
                  <a:pt x="51" y="93"/>
                  <a:pt x="59" y="93"/>
                  <a:pt x="68" y="85"/>
                </a:cubicBezTo>
                <a:cubicBezTo>
                  <a:pt x="85" y="68"/>
                  <a:pt x="93" y="59"/>
                  <a:pt x="110" y="59"/>
                </a:cubicBezTo>
                <a:cubicBezTo>
                  <a:pt x="136" y="59"/>
                  <a:pt x="153" y="76"/>
                  <a:pt x="153" y="102"/>
                </a:cubicBezTo>
                <a:cubicBezTo>
                  <a:pt x="153" y="127"/>
                  <a:pt x="136" y="136"/>
                  <a:pt x="102" y="17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6" name="Freeform 400">
            <a:extLst>
              <a:ext uri="{FF2B5EF4-FFF2-40B4-BE49-F238E27FC236}">
                <a16:creationId xmlns:a16="http://schemas.microsoft.com/office/drawing/2014/main" id="{5300606A-F03A-4A98-ABC9-AB344672EE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235" y="2805426"/>
            <a:ext cx="281535" cy="368716"/>
          </a:xfrm>
          <a:custGeom>
            <a:avLst/>
            <a:gdLst>
              <a:gd name="T0" fmla="*/ 3196095 w 222"/>
              <a:gd name="T1" fmla="*/ 6647770 h 299"/>
              <a:gd name="T2" fmla="*/ 3196095 w 222"/>
              <a:gd name="T3" fmla="*/ 6647770 h 299"/>
              <a:gd name="T4" fmla="*/ 18408564 w 222"/>
              <a:gd name="T5" fmla="*/ 6647770 h 299"/>
              <a:gd name="T6" fmla="*/ 4346675 w 222"/>
              <a:gd name="T7" fmla="*/ 32195817 h 299"/>
              <a:gd name="T8" fmla="*/ 3196095 w 222"/>
              <a:gd name="T9" fmla="*/ 34411861 h 299"/>
              <a:gd name="T10" fmla="*/ 7542413 w 222"/>
              <a:gd name="T11" fmla="*/ 38843587 h 299"/>
              <a:gd name="T12" fmla="*/ 11889088 w 222"/>
              <a:gd name="T13" fmla="*/ 35454535 h 299"/>
              <a:gd name="T14" fmla="*/ 27101914 w 222"/>
              <a:gd name="T15" fmla="*/ 7820779 h 299"/>
              <a:gd name="T16" fmla="*/ 28252137 w 222"/>
              <a:gd name="T17" fmla="*/ 3389052 h 299"/>
              <a:gd name="T18" fmla="*/ 23905819 w 222"/>
              <a:gd name="T19" fmla="*/ 0 h 299"/>
              <a:gd name="T20" fmla="*/ 3196095 w 222"/>
              <a:gd name="T21" fmla="*/ 0 h 299"/>
              <a:gd name="T22" fmla="*/ 0 w 222"/>
              <a:gd name="T23" fmla="*/ 3389052 h 299"/>
              <a:gd name="T24" fmla="*/ 3196095 w 222"/>
              <a:gd name="T25" fmla="*/ 6647770 h 29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22" h="299">
                <a:moveTo>
                  <a:pt x="25" y="51"/>
                </a:moveTo>
                <a:lnTo>
                  <a:pt x="25" y="51"/>
                </a:lnTo>
                <a:cubicBezTo>
                  <a:pt x="144" y="51"/>
                  <a:pt x="144" y="51"/>
                  <a:pt x="144" y="51"/>
                </a:cubicBezTo>
                <a:cubicBezTo>
                  <a:pt x="34" y="247"/>
                  <a:pt x="34" y="247"/>
                  <a:pt x="34" y="247"/>
                </a:cubicBezTo>
                <a:cubicBezTo>
                  <a:pt x="25" y="255"/>
                  <a:pt x="25" y="264"/>
                  <a:pt x="25" y="264"/>
                </a:cubicBezTo>
                <a:cubicBezTo>
                  <a:pt x="25" y="289"/>
                  <a:pt x="42" y="298"/>
                  <a:pt x="59" y="298"/>
                </a:cubicBezTo>
                <a:cubicBezTo>
                  <a:pt x="68" y="298"/>
                  <a:pt x="85" y="289"/>
                  <a:pt x="93" y="272"/>
                </a:cubicBezTo>
                <a:cubicBezTo>
                  <a:pt x="212" y="60"/>
                  <a:pt x="212" y="60"/>
                  <a:pt x="212" y="60"/>
                </a:cubicBezTo>
                <a:cubicBezTo>
                  <a:pt x="212" y="51"/>
                  <a:pt x="221" y="34"/>
                  <a:pt x="221" y="26"/>
                </a:cubicBezTo>
                <a:cubicBezTo>
                  <a:pt x="221" y="9"/>
                  <a:pt x="204" y="0"/>
                  <a:pt x="187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8" y="0"/>
                  <a:pt x="0" y="9"/>
                  <a:pt x="0" y="26"/>
                </a:cubicBezTo>
                <a:cubicBezTo>
                  <a:pt x="0" y="43"/>
                  <a:pt x="8" y="51"/>
                  <a:pt x="25" y="51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7" name="Freeform 401">
            <a:extLst>
              <a:ext uri="{FF2B5EF4-FFF2-40B4-BE49-F238E27FC236}">
                <a16:creationId xmlns:a16="http://schemas.microsoft.com/office/drawing/2014/main" id="{9FE038CA-3556-42B9-95FF-0774E66563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38103" y="4155574"/>
            <a:ext cx="1182444" cy="1285084"/>
          </a:xfrm>
          <a:custGeom>
            <a:avLst/>
            <a:gdLst>
              <a:gd name="T0" fmla="*/ 119632768 w 928"/>
              <a:gd name="T1" fmla="*/ 36285945 h 1047"/>
              <a:gd name="T2" fmla="*/ 119632768 w 928"/>
              <a:gd name="T3" fmla="*/ 36285945 h 1047"/>
              <a:gd name="T4" fmla="*/ 118471344 w 928"/>
              <a:gd name="T5" fmla="*/ 31895424 h 1047"/>
              <a:gd name="T6" fmla="*/ 85562418 w 928"/>
              <a:gd name="T7" fmla="*/ 1162133 h 1047"/>
              <a:gd name="T8" fmla="*/ 85562418 w 928"/>
              <a:gd name="T9" fmla="*/ 1162133 h 1047"/>
              <a:gd name="T10" fmla="*/ 85562418 w 928"/>
              <a:gd name="T11" fmla="*/ 1162133 h 1047"/>
              <a:gd name="T12" fmla="*/ 85562418 w 928"/>
              <a:gd name="T13" fmla="*/ 0 h 1047"/>
              <a:gd name="T14" fmla="*/ 85562418 w 928"/>
              <a:gd name="T15" fmla="*/ 0 h 1047"/>
              <a:gd name="T16" fmla="*/ 84529961 w 928"/>
              <a:gd name="T17" fmla="*/ 0 h 1047"/>
              <a:gd name="T18" fmla="*/ 84529961 w 928"/>
              <a:gd name="T19" fmla="*/ 0 h 1047"/>
              <a:gd name="T20" fmla="*/ 84529961 w 928"/>
              <a:gd name="T21" fmla="*/ 0 h 1047"/>
              <a:gd name="T22" fmla="*/ 84529961 w 928"/>
              <a:gd name="T23" fmla="*/ 0 h 1047"/>
              <a:gd name="T24" fmla="*/ 84529961 w 928"/>
              <a:gd name="T25" fmla="*/ 0 h 1047"/>
              <a:gd name="T26" fmla="*/ 84529961 w 928"/>
              <a:gd name="T27" fmla="*/ 0 h 1047"/>
              <a:gd name="T28" fmla="*/ 83368538 w 928"/>
              <a:gd name="T29" fmla="*/ 0 h 1047"/>
              <a:gd name="T30" fmla="*/ 83368538 w 928"/>
              <a:gd name="T31" fmla="*/ 0 h 1047"/>
              <a:gd name="T32" fmla="*/ 83368538 w 928"/>
              <a:gd name="T33" fmla="*/ 0 h 1047"/>
              <a:gd name="T34" fmla="*/ 83368538 w 928"/>
              <a:gd name="T35" fmla="*/ 0 h 1047"/>
              <a:gd name="T36" fmla="*/ 83368538 w 928"/>
              <a:gd name="T37" fmla="*/ 0 h 1047"/>
              <a:gd name="T38" fmla="*/ 82336081 w 928"/>
              <a:gd name="T39" fmla="*/ 0 h 1047"/>
              <a:gd name="T40" fmla="*/ 7614098 w 928"/>
              <a:gd name="T41" fmla="*/ 0 h 1047"/>
              <a:gd name="T42" fmla="*/ 0 w 928"/>
              <a:gd name="T43" fmla="*/ 7747915 h 1047"/>
              <a:gd name="T44" fmla="*/ 0 w 928"/>
              <a:gd name="T45" fmla="*/ 130681077 h 1047"/>
              <a:gd name="T46" fmla="*/ 4387761 w 928"/>
              <a:gd name="T47" fmla="*/ 135071598 h 1047"/>
              <a:gd name="T48" fmla="*/ 25165502 w 928"/>
              <a:gd name="T49" fmla="*/ 135071598 h 1047"/>
              <a:gd name="T50" fmla="*/ 92144419 w 928"/>
              <a:gd name="T51" fmla="*/ 135071598 h 1047"/>
              <a:gd name="T52" fmla="*/ 115245007 w 928"/>
              <a:gd name="T53" fmla="*/ 135071598 h 1047"/>
              <a:gd name="T54" fmla="*/ 119632768 w 928"/>
              <a:gd name="T55" fmla="*/ 130681077 h 1047"/>
              <a:gd name="T56" fmla="*/ 119632768 w 928"/>
              <a:gd name="T57" fmla="*/ 37448079 h 1047"/>
              <a:gd name="T58" fmla="*/ 119632768 w 928"/>
              <a:gd name="T59" fmla="*/ 36285945 h 1047"/>
              <a:gd name="T60" fmla="*/ 73431592 w 928"/>
              <a:gd name="T61" fmla="*/ 8781043 h 1047"/>
              <a:gd name="T62" fmla="*/ 73431592 w 928"/>
              <a:gd name="T63" fmla="*/ 8781043 h 1047"/>
              <a:gd name="T64" fmla="*/ 73431592 w 928"/>
              <a:gd name="T65" fmla="*/ 33057557 h 1047"/>
              <a:gd name="T66" fmla="*/ 40522665 w 928"/>
              <a:gd name="T67" fmla="*/ 33057557 h 1047"/>
              <a:gd name="T68" fmla="*/ 40522665 w 928"/>
              <a:gd name="T69" fmla="*/ 8781043 h 1047"/>
              <a:gd name="T70" fmla="*/ 73431592 w 928"/>
              <a:gd name="T71" fmla="*/ 8781043 h 1047"/>
              <a:gd name="T72" fmla="*/ 27359382 w 928"/>
              <a:gd name="T73" fmla="*/ 126290555 h 1047"/>
              <a:gd name="T74" fmla="*/ 27359382 w 928"/>
              <a:gd name="T75" fmla="*/ 126290555 h 1047"/>
              <a:gd name="T76" fmla="*/ 27359382 w 928"/>
              <a:gd name="T77" fmla="*/ 82256695 h 1047"/>
              <a:gd name="T78" fmla="*/ 89950179 w 928"/>
              <a:gd name="T79" fmla="*/ 82256695 h 1047"/>
              <a:gd name="T80" fmla="*/ 89950179 w 928"/>
              <a:gd name="T81" fmla="*/ 126290555 h 1047"/>
              <a:gd name="T82" fmla="*/ 27359382 w 928"/>
              <a:gd name="T83" fmla="*/ 126290555 h 1047"/>
              <a:gd name="T84" fmla="*/ 110856887 w 928"/>
              <a:gd name="T85" fmla="*/ 126290555 h 1047"/>
              <a:gd name="T86" fmla="*/ 110856887 w 928"/>
              <a:gd name="T87" fmla="*/ 126290555 h 1047"/>
              <a:gd name="T88" fmla="*/ 98726060 w 928"/>
              <a:gd name="T89" fmla="*/ 126290555 h 1047"/>
              <a:gd name="T90" fmla="*/ 98726060 w 928"/>
              <a:gd name="T91" fmla="*/ 77866173 h 1047"/>
              <a:gd name="T92" fmla="*/ 92144419 w 928"/>
              <a:gd name="T93" fmla="*/ 73475652 h 1047"/>
              <a:gd name="T94" fmla="*/ 25165502 w 928"/>
              <a:gd name="T95" fmla="*/ 73475652 h 1047"/>
              <a:gd name="T96" fmla="*/ 18583860 w 928"/>
              <a:gd name="T97" fmla="*/ 77866173 h 1047"/>
              <a:gd name="T98" fmla="*/ 18583860 w 928"/>
              <a:gd name="T99" fmla="*/ 126290555 h 1047"/>
              <a:gd name="T100" fmla="*/ 8775522 w 928"/>
              <a:gd name="T101" fmla="*/ 126290555 h 1047"/>
              <a:gd name="T102" fmla="*/ 8775522 w 928"/>
              <a:gd name="T103" fmla="*/ 8781043 h 1047"/>
              <a:gd name="T104" fmla="*/ 31747143 w 928"/>
              <a:gd name="T105" fmla="*/ 8781043 h 1047"/>
              <a:gd name="T106" fmla="*/ 31747143 w 928"/>
              <a:gd name="T107" fmla="*/ 36285945 h 1047"/>
              <a:gd name="T108" fmla="*/ 37296328 w 928"/>
              <a:gd name="T109" fmla="*/ 41838600 h 1047"/>
              <a:gd name="T110" fmla="*/ 76786896 w 928"/>
              <a:gd name="T111" fmla="*/ 41838600 h 1047"/>
              <a:gd name="T112" fmla="*/ 82336081 w 928"/>
              <a:gd name="T113" fmla="*/ 36285945 h 1047"/>
              <a:gd name="T114" fmla="*/ 82336081 w 928"/>
              <a:gd name="T115" fmla="*/ 9943176 h 1047"/>
              <a:gd name="T116" fmla="*/ 110856887 w 928"/>
              <a:gd name="T117" fmla="*/ 37448079 h 1047"/>
              <a:gd name="T118" fmla="*/ 110856887 w 928"/>
              <a:gd name="T119" fmla="*/ 37448079 h 1047"/>
              <a:gd name="T120" fmla="*/ 110856887 w 928"/>
              <a:gd name="T121" fmla="*/ 126290555 h 10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28" h="1047">
                <a:moveTo>
                  <a:pt x="927" y="281"/>
                </a:moveTo>
                <a:lnTo>
                  <a:pt x="927" y="281"/>
                </a:lnTo>
                <a:cubicBezTo>
                  <a:pt x="927" y="273"/>
                  <a:pt x="927" y="256"/>
                  <a:pt x="918" y="247"/>
                </a:cubicBezTo>
                <a:cubicBezTo>
                  <a:pt x="663" y="9"/>
                  <a:pt x="663" y="9"/>
                  <a:pt x="663" y="9"/>
                </a:cubicBezTo>
                <a:lnTo>
                  <a:pt x="663" y="0"/>
                </a:lnTo>
                <a:lnTo>
                  <a:pt x="655" y="0"/>
                </a:lnTo>
                <a:cubicBezTo>
                  <a:pt x="646" y="0"/>
                  <a:pt x="646" y="0"/>
                  <a:pt x="646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25" y="0"/>
                  <a:pt x="0" y="26"/>
                  <a:pt x="0" y="60"/>
                </a:cubicBezTo>
                <a:cubicBezTo>
                  <a:pt x="0" y="1012"/>
                  <a:pt x="0" y="1012"/>
                  <a:pt x="0" y="1012"/>
                </a:cubicBezTo>
                <a:cubicBezTo>
                  <a:pt x="0" y="1029"/>
                  <a:pt x="17" y="1046"/>
                  <a:pt x="34" y="1046"/>
                </a:cubicBezTo>
                <a:cubicBezTo>
                  <a:pt x="195" y="1046"/>
                  <a:pt x="195" y="1046"/>
                  <a:pt x="195" y="1046"/>
                </a:cubicBezTo>
                <a:cubicBezTo>
                  <a:pt x="714" y="1046"/>
                  <a:pt x="714" y="1046"/>
                  <a:pt x="714" y="1046"/>
                </a:cubicBezTo>
                <a:cubicBezTo>
                  <a:pt x="893" y="1046"/>
                  <a:pt x="893" y="1046"/>
                  <a:pt x="893" y="1046"/>
                </a:cubicBezTo>
                <a:cubicBezTo>
                  <a:pt x="910" y="1046"/>
                  <a:pt x="927" y="1029"/>
                  <a:pt x="927" y="1012"/>
                </a:cubicBezTo>
                <a:cubicBezTo>
                  <a:pt x="927" y="290"/>
                  <a:pt x="927" y="290"/>
                  <a:pt x="927" y="290"/>
                </a:cubicBezTo>
                <a:cubicBezTo>
                  <a:pt x="927" y="290"/>
                  <a:pt x="927" y="290"/>
                  <a:pt x="927" y="281"/>
                </a:cubicBezTo>
                <a:close/>
                <a:moveTo>
                  <a:pt x="569" y="68"/>
                </a:moveTo>
                <a:lnTo>
                  <a:pt x="569" y="68"/>
                </a:lnTo>
                <a:cubicBezTo>
                  <a:pt x="569" y="256"/>
                  <a:pt x="569" y="256"/>
                  <a:pt x="569" y="256"/>
                </a:cubicBezTo>
                <a:cubicBezTo>
                  <a:pt x="314" y="256"/>
                  <a:pt x="314" y="256"/>
                  <a:pt x="314" y="256"/>
                </a:cubicBezTo>
                <a:cubicBezTo>
                  <a:pt x="314" y="68"/>
                  <a:pt x="314" y="68"/>
                  <a:pt x="314" y="68"/>
                </a:cubicBezTo>
                <a:lnTo>
                  <a:pt x="569" y="68"/>
                </a:lnTo>
                <a:close/>
                <a:moveTo>
                  <a:pt x="212" y="978"/>
                </a:moveTo>
                <a:lnTo>
                  <a:pt x="212" y="978"/>
                </a:lnTo>
                <a:cubicBezTo>
                  <a:pt x="212" y="637"/>
                  <a:pt x="212" y="637"/>
                  <a:pt x="212" y="637"/>
                </a:cubicBezTo>
                <a:cubicBezTo>
                  <a:pt x="697" y="637"/>
                  <a:pt x="697" y="637"/>
                  <a:pt x="697" y="637"/>
                </a:cubicBezTo>
                <a:cubicBezTo>
                  <a:pt x="697" y="978"/>
                  <a:pt x="697" y="978"/>
                  <a:pt x="697" y="978"/>
                </a:cubicBezTo>
                <a:lnTo>
                  <a:pt x="212" y="978"/>
                </a:lnTo>
                <a:close/>
                <a:moveTo>
                  <a:pt x="859" y="978"/>
                </a:moveTo>
                <a:lnTo>
                  <a:pt x="859" y="978"/>
                </a:lnTo>
                <a:cubicBezTo>
                  <a:pt x="765" y="978"/>
                  <a:pt x="765" y="978"/>
                  <a:pt x="765" y="978"/>
                </a:cubicBezTo>
                <a:cubicBezTo>
                  <a:pt x="765" y="603"/>
                  <a:pt x="765" y="603"/>
                  <a:pt x="765" y="603"/>
                </a:cubicBezTo>
                <a:cubicBezTo>
                  <a:pt x="765" y="586"/>
                  <a:pt x="748" y="569"/>
                  <a:pt x="714" y="569"/>
                </a:cubicBezTo>
                <a:cubicBezTo>
                  <a:pt x="195" y="569"/>
                  <a:pt x="195" y="569"/>
                  <a:pt x="195" y="569"/>
                </a:cubicBezTo>
                <a:cubicBezTo>
                  <a:pt x="170" y="569"/>
                  <a:pt x="144" y="586"/>
                  <a:pt x="144" y="603"/>
                </a:cubicBezTo>
                <a:cubicBezTo>
                  <a:pt x="144" y="978"/>
                  <a:pt x="144" y="978"/>
                  <a:pt x="144" y="978"/>
                </a:cubicBezTo>
                <a:cubicBezTo>
                  <a:pt x="68" y="978"/>
                  <a:pt x="68" y="978"/>
                  <a:pt x="68" y="978"/>
                </a:cubicBezTo>
                <a:cubicBezTo>
                  <a:pt x="68" y="68"/>
                  <a:pt x="68" y="68"/>
                  <a:pt x="68" y="68"/>
                </a:cubicBezTo>
                <a:cubicBezTo>
                  <a:pt x="246" y="68"/>
                  <a:pt x="246" y="68"/>
                  <a:pt x="246" y="68"/>
                </a:cubicBezTo>
                <a:cubicBezTo>
                  <a:pt x="246" y="281"/>
                  <a:pt x="246" y="281"/>
                  <a:pt x="246" y="281"/>
                </a:cubicBezTo>
                <a:cubicBezTo>
                  <a:pt x="246" y="307"/>
                  <a:pt x="263" y="324"/>
                  <a:pt x="289" y="324"/>
                </a:cubicBezTo>
                <a:cubicBezTo>
                  <a:pt x="595" y="324"/>
                  <a:pt x="595" y="324"/>
                  <a:pt x="595" y="324"/>
                </a:cubicBezTo>
                <a:cubicBezTo>
                  <a:pt x="621" y="324"/>
                  <a:pt x="638" y="307"/>
                  <a:pt x="638" y="281"/>
                </a:cubicBezTo>
                <a:cubicBezTo>
                  <a:pt x="638" y="77"/>
                  <a:pt x="638" y="77"/>
                  <a:pt x="638" y="77"/>
                </a:cubicBezTo>
                <a:cubicBezTo>
                  <a:pt x="859" y="290"/>
                  <a:pt x="859" y="290"/>
                  <a:pt x="859" y="290"/>
                </a:cubicBezTo>
                <a:lnTo>
                  <a:pt x="859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8" name="Freeform 406">
            <a:extLst>
              <a:ext uri="{FF2B5EF4-FFF2-40B4-BE49-F238E27FC236}">
                <a16:creationId xmlns:a16="http://schemas.microsoft.com/office/drawing/2014/main" id="{476AE601-2DFB-4D97-887A-B61DA6FADE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11304" y="8319896"/>
            <a:ext cx="1340102" cy="1024815"/>
          </a:xfrm>
          <a:custGeom>
            <a:avLst/>
            <a:gdLst>
              <a:gd name="T0" fmla="*/ 129324667 w 1048"/>
              <a:gd name="T1" fmla="*/ 19802148 h 834"/>
              <a:gd name="T2" fmla="*/ 129324667 w 1048"/>
              <a:gd name="T3" fmla="*/ 19802148 h 834"/>
              <a:gd name="T4" fmla="*/ 100600593 w 1048"/>
              <a:gd name="T5" fmla="*/ 19802148 h 834"/>
              <a:gd name="T6" fmla="*/ 88512717 w 1048"/>
              <a:gd name="T7" fmla="*/ 6600836 h 834"/>
              <a:gd name="T8" fmla="*/ 67456904 w 1048"/>
              <a:gd name="T9" fmla="*/ 0 h 834"/>
              <a:gd name="T10" fmla="*/ 47570619 w 1048"/>
              <a:gd name="T11" fmla="*/ 6600836 h 834"/>
              <a:gd name="T12" fmla="*/ 35352955 w 1048"/>
              <a:gd name="T13" fmla="*/ 19802148 h 834"/>
              <a:gd name="T14" fmla="*/ 6628882 w 1048"/>
              <a:gd name="T15" fmla="*/ 19802148 h 834"/>
              <a:gd name="T16" fmla="*/ 0 w 1048"/>
              <a:gd name="T17" fmla="*/ 26402984 h 834"/>
              <a:gd name="T18" fmla="*/ 0 w 1048"/>
              <a:gd name="T19" fmla="*/ 36239122 h 834"/>
              <a:gd name="T20" fmla="*/ 0 w 1048"/>
              <a:gd name="T21" fmla="*/ 57206166 h 834"/>
              <a:gd name="T22" fmla="*/ 0 w 1048"/>
              <a:gd name="T23" fmla="*/ 101211020 h 834"/>
              <a:gd name="T24" fmla="*/ 6628882 w 1048"/>
              <a:gd name="T25" fmla="*/ 107811496 h 834"/>
              <a:gd name="T26" fmla="*/ 129324667 w 1048"/>
              <a:gd name="T27" fmla="*/ 107811496 h 834"/>
              <a:gd name="T28" fmla="*/ 136083336 w 1048"/>
              <a:gd name="T29" fmla="*/ 101211020 h 834"/>
              <a:gd name="T30" fmla="*/ 136083336 w 1048"/>
              <a:gd name="T31" fmla="*/ 57206166 h 834"/>
              <a:gd name="T32" fmla="*/ 136083336 w 1048"/>
              <a:gd name="T33" fmla="*/ 36239122 h 834"/>
              <a:gd name="T34" fmla="*/ 136083336 w 1048"/>
              <a:gd name="T35" fmla="*/ 26402984 h 834"/>
              <a:gd name="T36" fmla="*/ 129324667 w 1048"/>
              <a:gd name="T37" fmla="*/ 19802148 h 834"/>
              <a:gd name="T38" fmla="*/ 51989874 w 1048"/>
              <a:gd name="T39" fmla="*/ 13201312 h 834"/>
              <a:gd name="T40" fmla="*/ 51989874 w 1048"/>
              <a:gd name="T41" fmla="*/ 13201312 h 834"/>
              <a:gd name="T42" fmla="*/ 67456904 w 1048"/>
              <a:gd name="T43" fmla="*/ 8801115 h 834"/>
              <a:gd name="T44" fmla="*/ 84093462 w 1048"/>
              <a:gd name="T45" fmla="*/ 13201312 h 834"/>
              <a:gd name="T46" fmla="*/ 89552456 w 1048"/>
              <a:gd name="T47" fmla="*/ 19802148 h 834"/>
              <a:gd name="T48" fmla="*/ 67456904 w 1048"/>
              <a:gd name="T49" fmla="*/ 19802148 h 834"/>
              <a:gd name="T50" fmla="*/ 46401092 w 1048"/>
              <a:gd name="T51" fmla="*/ 19802148 h 834"/>
              <a:gd name="T52" fmla="*/ 51989874 w 1048"/>
              <a:gd name="T53" fmla="*/ 13201312 h 834"/>
              <a:gd name="T54" fmla="*/ 8838149 w 1048"/>
              <a:gd name="T55" fmla="*/ 28602903 h 834"/>
              <a:gd name="T56" fmla="*/ 8838149 w 1048"/>
              <a:gd name="T57" fmla="*/ 28602903 h 834"/>
              <a:gd name="T58" fmla="*/ 32103588 w 1048"/>
              <a:gd name="T59" fmla="*/ 28602903 h 834"/>
              <a:gd name="T60" fmla="*/ 32103588 w 1048"/>
              <a:gd name="T61" fmla="*/ 28602903 h 834"/>
              <a:gd name="T62" fmla="*/ 103979747 w 1048"/>
              <a:gd name="T63" fmla="*/ 28602903 h 834"/>
              <a:gd name="T64" fmla="*/ 103979747 w 1048"/>
              <a:gd name="T65" fmla="*/ 28602903 h 834"/>
              <a:gd name="T66" fmla="*/ 127115400 w 1048"/>
              <a:gd name="T67" fmla="*/ 28602903 h 834"/>
              <a:gd name="T68" fmla="*/ 127115400 w 1048"/>
              <a:gd name="T69" fmla="*/ 36239122 h 834"/>
              <a:gd name="T70" fmla="*/ 127115400 w 1048"/>
              <a:gd name="T71" fmla="*/ 57206166 h 834"/>
              <a:gd name="T72" fmla="*/ 119446778 w 1048"/>
              <a:gd name="T73" fmla="*/ 64971538 h 834"/>
              <a:gd name="T74" fmla="*/ 16636918 w 1048"/>
              <a:gd name="T75" fmla="*/ 64971538 h 834"/>
              <a:gd name="T76" fmla="*/ 8838149 w 1048"/>
              <a:gd name="T77" fmla="*/ 57206166 h 834"/>
              <a:gd name="T78" fmla="*/ 8838149 w 1048"/>
              <a:gd name="T79" fmla="*/ 36239122 h 834"/>
              <a:gd name="T80" fmla="*/ 8838149 w 1048"/>
              <a:gd name="T81" fmla="*/ 28602903 h 834"/>
              <a:gd name="T82" fmla="*/ 8838149 w 1048"/>
              <a:gd name="T83" fmla="*/ 99010741 h 834"/>
              <a:gd name="T84" fmla="*/ 8838149 w 1048"/>
              <a:gd name="T85" fmla="*/ 99010741 h 834"/>
              <a:gd name="T86" fmla="*/ 8838149 w 1048"/>
              <a:gd name="T87" fmla="*/ 71572374 h 834"/>
              <a:gd name="T88" fmla="*/ 16636918 w 1048"/>
              <a:gd name="T89" fmla="*/ 73772653 h 834"/>
              <a:gd name="T90" fmla="*/ 119446778 w 1048"/>
              <a:gd name="T91" fmla="*/ 73772653 h 834"/>
              <a:gd name="T92" fmla="*/ 127115400 w 1048"/>
              <a:gd name="T93" fmla="*/ 71572374 h 834"/>
              <a:gd name="T94" fmla="*/ 127115400 w 1048"/>
              <a:gd name="T95" fmla="*/ 99010741 h 834"/>
              <a:gd name="T96" fmla="*/ 8838149 w 1048"/>
              <a:gd name="T97" fmla="*/ 99010741 h 8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048" h="834">
                <a:moveTo>
                  <a:pt x="995" y="153"/>
                </a:moveTo>
                <a:lnTo>
                  <a:pt x="995" y="153"/>
                </a:lnTo>
                <a:cubicBezTo>
                  <a:pt x="774" y="153"/>
                  <a:pt x="774" y="153"/>
                  <a:pt x="774" y="153"/>
                </a:cubicBezTo>
                <a:cubicBezTo>
                  <a:pt x="749" y="110"/>
                  <a:pt x="723" y="76"/>
                  <a:pt x="681" y="51"/>
                </a:cubicBezTo>
                <a:cubicBezTo>
                  <a:pt x="638" y="17"/>
                  <a:pt x="579" y="0"/>
                  <a:pt x="519" y="0"/>
                </a:cubicBezTo>
                <a:cubicBezTo>
                  <a:pt x="468" y="0"/>
                  <a:pt x="408" y="17"/>
                  <a:pt x="366" y="51"/>
                </a:cubicBezTo>
                <a:cubicBezTo>
                  <a:pt x="323" y="76"/>
                  <a:pt x="298" y="110"/>
                  <a:pt x="27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26" y="153"/>
                  <a:pt x="0" y="178"/>
                  <a:pt x="0" y="204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808"/>
                  <a:pt x="26" y="833"/>
                  <a:pt x="51" y="833"/>
                </a:cubicBezTo>
                <a:cubicBezTo>
                  <a:pt x="995" y="833"/>
                  <a:pt x="995" y="833"/>
                  <a:pt x="995" y="833"/>
                </a:cubicBezTo>
                <a:cubicBezTo>
                  <a:pt x="1021" y="833"/>
                  <a:pt x="1047" y="808"/>
                  <a:pt x="1047" y="782"/>
                </a:cubicBezTo>
                <a:cubicBezTo>
                  <a:pt x="1047" y="442"/>
                  <a:pt x="1047" y="442"/>
                  <a:pt x="1047" y="442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04"/>
                  <a:pt x="1047" y="204"/>
                  <a:pt x="1047" y="204"/>
                </a:cubicBezTo>
                <a:cubicBezTo>
                  <a:pt x="1047" y="170"/>
                  <a:pt x="1021" y="153"/>
                  <a:pt x="995" y="153"/>
                </a:cubicBezTo>
                <a:close/>
                <a:moveTo>
                  <a:pt x="400" y="102"/>
                </a:moveTo>
                <a:lnTo>
                  <a:pt x="400" y="102"/>
                </a:lnTo>
                <a:cubicBezTo>
                  <a:pt x="434" y="85"/>
                  <a:pt x="477" y="68"/>
                  <a:pt x="519" y="68"/>
                </a:cubicBezTo>
                <a:cubicBezTo>
                  <a:pt x="570" y="68"/>
                  <a:pt x="604" y="85"/>
                  <a:pt x="647" y="102"/>
                </a:cubicBezTo>
                <a:cubicBezTo>
                  <a:pt x="664" y="119"/>
                  <a:pt x="681" y="136"/>
                  <a:pt x="689" y="153"/>
                </a:cubicBezTo>
                <a:cubicBezTo>
                  <a:pt x="519" y="153"/>
                  <a:pt x="519" y="153"/>
                  <a:pt x="519" y="153"/>
                </a:cubicBezTo>
                <a:cubicBezTo>
                  <a:pt x="357" y="153"/>
                  <a:pt x="357" y="153"/>
                  <a:pt x="357" y="153"/>
                </a:cubicBezTo>
                <a:cubicBezTo>
                  <a:pt x="366" y="136"/>
                  <a:pt x="383" y="119"/>
                  <a:pt x="400" y="102"/>
                </a:cubicBezTo>
                <a:close/>
                <a:moveTo>
                  <a:pt x="68" y="221"/>
                </a:moveTo>
                <a:lnTo>
                  <a:pt x="68" y="221"/>
                </a:lnTo>
                <a:cubicBezTo>
                  <a:pt x="247" y="221"/>
                  <a:pt x="247" y="221"/>
                  <a:pt x="247" y="221"/>
                </a:cubicBezTo>
                <a:cubicBezTo>
                  <a:pt x="800" y="221"/>
                  <a:pt x="800" y="221"/>
                  <a:pt x="800" y="221"/>
                </a:cubicBezTo>
                <a:cubicBezTo>
                  <a:pt x="978" y="221"/>
                  <a:pt x="978" y="221"/>
                  <a:pt x="978" y="221"/>
                </a:cubicBezTo>
                <a:cubicBezTo>
                  <a:pt x="978" y="280"/>
                  <a:pt x="978" y="280"/>
                  <a:pt x="978" y="280"/>
                </a:cubicBezTo>
                <a:cubicBezTo>
                  <a:pt x="978" y="442"/>
                  <a:pt x="978" y="442"/>
                  <a:pt x="978" y="442"/>
                </a:cubicBezTo>
                <a:cubicBezTo>
                  <a:pt x="978" y="476"/>
                  <a:pt x="953" y="502"/>
                  <a:pt x="919" y="502"/>
                </a:cubicBezTo>
                <a:cubicBezTo>
                  <a:pt x="128" y="502"/>
                  <a:pt x="128" y="502"/>
                  <a:pt x="128" y="502"/>
                </a:cubicBezTo>
                <a:cubicBezTo>
                  <a:pt x="94" y="502"/>
                  <a:pt x="68" y="476"/>
                  <a:pt x="68" y="442"/>
                </a:cubicBezTo>
                <a:cubicBezTo>
                  <a:pt x="68" y="280"/>
                  <a:pt x="68" y="280"/>
                  <a:pt x="68" y="280"/>
                </a:cubicBezTo>
                <a:lnTo>
                  <a:pt x="68" y="221"/>
                </a:lnTo>
                <a:close/>
                <a:moveTo>
                  <a:pt x="68" y="765"/>
                </a:moveTo>
                <a:lnTo>
                  <a:pt x="68" y="765"/>
                </a:lnTo>
                <a:cubicBezTo>
                  <a:pt x="68" y="553"/>
                  <a:pt x="68" y="553"/>
                  <a:pt x="68" y="553"/>
                </a:cubicBezTo>
                <a:cubicBezTo>
                  <a:pt x="85" y="561"/>
                  <a:pt x="111" y="570"/>
                  <a:pt x="128" y="570"/>
                </a:cubicBezTo>
                <a:cubicBezTo>
                  <a:pt x="919" y="570"/>
                  <a:pt x="919" y="570"/>
                  <a:pt x="919" y="570"/>
                </a:cubicBezTo>
                <a:cubicBezTo>
                  <a:pt x="936" y="570"/>
                  <a:pt x="961" y="561"/>
                  <a:pt x="978" y="553"/>
                </a:cubicBezTo>
                <a:cubicBezTo>
                  <a:pt x="978" y="765"/>
                  <a:pt x="978" y="765"/>
                  <a:pt x="978" y="765"/>
                </a:cubicBezTo>
                <a:lnTo>
                  <a:pt x="68" y="76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713C565-7D55-4B27-828F-3EC3CC74E4AC}"/>
              </a:ext>
            </a:extLst>
          </p:cNvPr>
          <p:cNvGrpSpPr/>
          <p:nvPr userDrawn="1"/>
        </p:nvGrpSpPr>
        <p:grpSpPr>
          <a:xfrm>
            <a:off x="2566527" y="6313086"/>
            <a:ext cx="1090803" cy="928677"/>
            <a:chOff x="5846115" y="3218159"/>
            <a:chExt cx="447713" cy="343594"/>
          </a:xfrm>
        </p:grpSpPr>
        <p:sp>
          <p:nvSpPr>
            <p:cNvPr id="20" name="Freeform 402">
              <a:extLst>
                <a:ext uri="{FF2B5EF4-FFF2-40B4-BE49-F238E27FC236}">
                  <a16:creationId xmlns:a16="http://schemas.microsoft.com/office/drawing/2014/main" id="{310DB959-460F-45F1-80BB-47E88DB9E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115" y="3218159"/>
              <a:ext cx="447713" cy="343594"/>
            </a:xfrm>
            <a:custGeom>
              <a:avLst/>
              <a:gdLst>
                <a:gd name="T0" fmla="*/ 258261 w 757"/>
                <a:gd name="T1" fmla="*/ 209189 h 580"/>
                <a:gd name="T2" fmla="*/ 258261 w 757"/>
                <a:gd name="T3" fmla="*/ 209189 h 580"/>
                <a:gd name="T4" fmla="*/ 14428 w 757"/>
                <a:gd name="T5" fmla="*/ 209189 h 580"/>
                <a:gd name="T6" fmla="*/ 0 w 757"/>
                <a:gd name="T7" fmla="*/ 194737 h 580"/>
                <a:gd name="T8" fmla="*/ 0 w 757"/>
                <a:gd name="T9" fmla="*/ 14452 h 580"/>
                <a:gd name="T10" fmla="*/ 14428 w 757"/>
                <a:gd name="T11" fmla="*/ 0 h 580"/>
                <a:gd name="T12" fmla="*/ 104603 w 757"/>
                <a:gd name="T13" fmla="*/ 0 h 580"/>
                <a:gd name="T14" fmla="*/ 113260 w 757"/>
                <a:gd name="T15" fmla="*/ 5781 h 580"/>
                <a:gd name="T16" fmla="*/ 139591 w 757"/>
                <a:gd name="T17" fmla="*/ 32155 h 580"/>
                <a:gd name="T18" fmla="*/ 258261 w 757"/>
                <a:gd name="T19" fmla="*/ 32155 h 580"/>
                <a:gd name="T20" fmla="*/ 272689 w 757"/>
                <a:gd name="T21" fmla="*/ 46607 h 580"/>
                <a:gd name="T22" fmla="*/ 272689 w 757"/>
                <a:gd name="T23" fmla="*/ 194737 h 580"/>
                <a:gd name="T24" fmla="*/ 258261 w 757"/>
                <a:gd name="T25" fmla="*/ 209189 h 580"/>
                <a:gd name="T26" fmla="*/ 17314 w 757"/>
                <a:gd name="T27" fmla="*/ 191847 h 580"/>
                <a:gd name="T28" fmla="*/ 17314 w 757"/>
                <a:gd name="T29" fmla="*/ 191847 h 580"/>
                <a:gd name="T30" fmla="*/ 255376 w 757"/>
                <a:gd name="T31" fmla="*/ 191847 h 580"/>
                <a:gd name="T32" fmla="*/ 255376 w 757"/>
                <a:gd name="T33" fmla="*/ 49497 h 580"/>
                <a:gd name="T34" fmla="*/ 136705 w 757"/>
                <a:gd name="T35" fmla="*/ 49497 h 580"/>
                <a:gd name="T36" fmla="*/ 127688 w 757"/>
                <a:gd name="T37" fmla="*/ 46607 h 580"/>
                <a:gd name="T38" fmla="*/ 101717 w 757"/>
                <a:gd name="T39" fmla="*/ 17342 h 580"/>
                <a:gd name="T40" fmla="*/ 17314 w 757"/>
                <a:gd name="T41" fmla="*/ 17342 h 580"/>
                <a:gd name="T42" fmla="*/ 17314 w 757"/>
                <a:gd name="T43" fmla="*/ 191847 h 580"/>
                <a:gd name="T44" fmla="*/ 142477 w 757"/>
                <a:gd name="T45" fmla="*/ 35045 h 580"/>
                <a:gd name="T46" fmla="*/ 142477 w 757"/>
                <a:gd name="T47" fmla="*/ 35045 h 580"/>
                <a:gd name="T48" fmla="*/ 104603 w 757"/>
                <a:gd name="T49" fmla="*/ 17342 h 580"/>
                <a:gd name="T50" fmla="*/ 104603 w 757"/>
                <a:gd name="T51" fmla="*/ 17342 h 5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757" h="580">
                  <a:moveTo>
                    <a:pt x="716" y="579"/>
                  </a:moveTo>
                  <a:lnTo>
                    <a:pt x="716" y="579"/>
                  </a:lnTo>
                  <a:cubicBezTo>
                    <a:pt x="40" y="579"/>
                    <a:pt x="40" y="579"/>
                    <a:pt x="40" y="579"/>
                  </a:cubicBezTo>
                  <a:cubicBezTo>
                    <a:pt x="16" y="579"/>
                    <a:pt x="0" y="563"/>
                    <a:pt x="0" y="5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24" y="0"/>
                    <a:pt x="40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8" y="0"/>
                    <a:pt x="306" y="8"/>
                    <a:pt x="314" y="16"/>
                  </a:cubicBezTo>
                  <a:cubicBezTo>
                    <a:pt x="387" y="89"/>
                    <a:pt x="387" y="89"/>
                    <a:pt x="387" y="89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40" y="89"/>
                    <a:pt x="756" y="105"/>
                    <a:pt x="756" y="129"/>
                  </a:cubicBezTo>
                  <a:cubicBezTo>
                    <a:pt x="756" y="539"/>
                    <a:pt x="756" y="539"/>
                    <a:pt x="756" y="539"/>
                  </a:cubicBezTo>
                  <a:cubicBezTo>
                    <a:pt x="756" y="563"/>
                    <a:pt x="740" y="579"/>
                    <a:pt x="716" y="579"/>
                  </a:cubicBezTo>
                  <a:close/>
                  <a:moveTo>
                    <a:pt x="48" y="531"/>
                  </a:moveTo>
                  <a:lnTo>
                    <a:pt x="48" y="531"/>
                  </a:lnTo>
                  <a:cubicBezTo>
                    <a:pt x="708" y="531"/>
                    <a:pt x="708" y="531"/>
                    <a:pt x="708" y="531"/>
                  </a:cubicBezTo>
                  <a:cubicBezTo>
                    <a:pt x="708" y="137"/>
                    <a:pt x="708" y="137"/>
                    <a:pt x="708" y="137"/>
                  </a:cubicBezTo>
                  <a:cubicBezTo>
                    <a:pt x="379" y="137"/>
                    <a:pt x="379" y="137"/>
                    <a:pt x="379" y="137"/>
                  </a:cubicBezTo>
                  <a:cubicBezTo>
                    <a:pt x="370" y="137"/>
                    <a:pt x="362" y="137"/>
                    <a:pt x="354" y="129"/>
                  </a:cubicBezTo>
                  <a:cubicBezTo>
                    <a:pt x="282" y="48"/>
                    <a:pt x="282" y="48"/>
                    <a:pt x="282" y="48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8" y="531"/>
                  </a:lnTo>
                  <a:close/>
                  <a:moveTo>
                    <a:pt x="395" y="97"/>
                  </a:moveTo>
                  <a:lnTo>
                    <a:pt x="395" y="97"/>
                  </a:lnTo>
                  <a:close/>
                  <a:moveTo>
                    <a:pt x="290" y="48"/>
                  </a:moveTo>
                  <a:lnTo>
                    <a:pt x="290" y="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43808"/>
              <a:endParaRPr lang="es-MX" sz="2646">
                <a:solidFill>
                  <a:srgbClr val="989998"/>
                </a:solidFill>
                <a:latin typeface="Calibri" panose="020F0502020204030204"/>
              </a:endParaRPr>
            </a:p>
          </p:txBody>
        </p:sp>
        <p:sp>
          <p:nvSpPr>
            <p:cNvPr id="21" name="Freeform 403">
              <a:extLst>
                <a:ext uri="{FF2B5EF4-FFF2-40B4-BE49-F238E27FC236}">
                  <a16:creationId xmlns:a16="http://schemas.microsoft.com/office/drawing/2014/main" id="{2A1D2BDE-B395-4640-A31E-C716AA13C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9971" y="3218159"/>
              <a:ext cx="223856" cy="28634"/>
            </a:xfrm>
            <a:custGeom>
              <a:avLst/>
              <a:gdLst>
                <a:gd name="T0" fmla="*/ 127496 w 378"/>
                <a:gd name="T1" fmla="*/ 17107 h 49"/>
                <a:gd name="T2" fmla="*/ 127496 w 378"/>
                <a:gd name="T3" fmla="*/ 17107 h 49"/>
                <a:gd name="T4" fmla="*/ 8668 w 378"/>
                <a:gd name="T5" fmla="*/ 17107 h 49"/>
                <a:gd name="T6" fmla="*/ 0 w 378"/>
                <a:gd name="T7" fmla="*/ 8553 h 49"/>
                <a:gd name="T8" fmla="*/ 8668 w 378"/>
                <a:gd name="T9" fmla="*/ 0 h 49"/>
                <a:gd name="T10" fmla="*/ 127496 w 378"/>
                <a:gd name="T11" fmla="*/ 0 h 49"/>
                <a:gd name="T12" fmla="*/ 136164 w 378"/>
                <a:gd name="T13" fmla="*/ 8553 h 49"/>
                <a:gd name="T14" fmla="*/ 127496 w 378"/>
                <a:gd name="T15" fmla="*/ 17107 h 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8" h="49">
                  <a:moveTo>
                    <a:pt x="353" y="48"/>
                  </a:moveTo>
                  <a:lnTo>
                    <a:pt x="353" y="48"/>
                  </a:lnTo>
                  <a:cubicBezTo>
                    <a:pt x="24" y="48"/>
                    <a:pt x="24" y="48"/>
                    <a:pt x="24" y="48"/>
                  </a:cubicBezTo>
                  <a:cubicBezTo>
                    <a:pt x="8" y="48"/>
                    <a:pt x="0" y="40"/>
                    <a:pt x="0" y="24"/>
                  </a:cubicBezTo>
                  <a:cubicBezTo>
                    <a:pt x="0" y="16"/>
                    <a:pt x="8" y="0"/>
                    <a:pt x="24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61" y="0"/>
                    <a:pt x="377" y="16"/>
                    <a:pt x="377" y="24"/>
                  </a:cubicBezTo>
                  <a:cubicBezTo>
                    <a:pt x="377" y="40"/>
                    <a:pt x="361" y="48"/>
                    <a:pt x="353" y="4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43808"/>
              <a:endParaRPr lang="es-MX" sz="2646">
                <a:solidFill>
                  <a:srgbClr val="989998"/>
                </a:solidFill>
                <a:latin typeface="Calibri" panose="020F0502020204030204"/>
              </a:endParaRPr>
            </a:p>
          </p:txBody>
        </p:sp>
      </p:grp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072E340-3081-4F04-98E1-D621E4AC1FA5}"/>
              </a:ext>
            </a:extLst>
          </p:cNvPr>
          <p:cNvSpPr txBox="1">
            <a:spLocks/>
          </p:cNvSpPr>
          <p:nvPr userDrawn="1"/>
        </p:nvSpPr>
        <p:spPr>
          <a:xfrm>
            <a:off x="978263" y="9389523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352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Escopo do trabalho</a:t>
            </a:r>
          </a:p>
        </p:txBody>
      </p:sp>
    </p:spTree>
    <p:extLst>
      <p:ext uri="{BB962C8B-B14F-4D97-AF65-F5344CB8AC3E}">
        <p14:creationId xmlns:p14="http://schemas.microsoft.com/office/powerpoint/2010/main" val="46958931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Superior + Logo_Direi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9416492E-78EA-F6F3-10E5-254BE3692B61}"/>
              </a:ext>
            </a:extLst>
          </p:cNvPr>
          <p:cNvSpPr/>
          <p:nvPr userDrawn="1"/>
        </p:nvSpPr>
        <p:spPr>
          <a:xfrm rot="10800000">
            <a:off x="864150" y="1398"/>
            <a:ext cx="17063969" cy="9232500"/>
          </a:xfrm>
          <a:custGeom>
            <a:avLst/>
            <a:gdLst>
              <a:gd name="connsiteX0" fmla="*/ 13869084 w 13869083"/>
              <a:gd name="connsiteY0" fmla="*/ 7537211 h 7537210"/>
              <a:gd name="connsiteX1" fmla="*/ 0 w 13869083"/>
              <a:gd name="connsiteY1" fmla="*/ 7537211 h 7537210"/>
              <a:gd name="connsiteX2" fmla="*/ 848594 w 13869083"/>
              <a:gd name="connsiteY2" fmla="*/ 1059946 h 7537210"/>
              <a:gd name="connsiteX3" fmla="*/ 1128394 w 13869083"/>
              <a:gd name="connsiteY3" fmla="*/ 796181 h 7537210"/>
              <a:gd name="connsiteX4" fmla="*/ 12273800 w 13869083"/>
              <a:gd name="connsiteY4" fmla="*/ 780 h 7537210"/>
              <a:gd name="connsiteX5" fmla="*/ 12594863 w 13869083"/>
              <a:gd name="connsiteY5" fmla="*/ 251627 h 7537210"/>
              <a:gd name="connsiteX6" fmla="*/ 13869084 w 13869083"/>
              <a:gd name="connsiteY6" fmla="*/ 7537211 h 7537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69083" h="7537210">
                <a:moveTo>
                  <a:pt x="13869084" y="7537211"/>
                </a:moveTo>
                <a:lnTo>
                  <a:pt x="0" y="7537211"/>
                </a:lnTo>
                <a:lnTo>
                  <a:pt x="848594" y="1059946"/>
                </a:lnTo>
                <a:cubicBezTo>
                  <a:pt x="867364" y="916703"/>
                  <a:pt x="984314" y="806515"/>
                  <a:pt x="1128394" y="796181"/>
                </a:cubicBezTo>
                <a:lnTo>
                  <a:pt x="12273800" y="780"/>
                </a:lnTo>
                <a:cubicBezTo>
                  <a:pt x="12429278" y="-10314"/>
                  <a:pt x="12567962" y="98049"/>
                  <a:pt x="12594863" y="251627"/>
                </a:cubicBezTo>
                <a:lnTo>
                  <a:pt x="13869084" y="7537211"/>
                </a:lnTo>
                <a:close/>
              </a:path>
            </a:pathLst>
          </a:custGeom>
          <a:solidFill>
            <a:srgbClr val="FFFFFF"/>
          </a:solidFill>
          <a:ln w="7599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970B8B00-3C56-AAB7-25B7-DA4107BE9A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6"/>
            <a:ext cx="1942693" cy="37497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546EE2A7-8624-F9F6-EBCF-A749452C58FB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3050880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Inferior + Logo_Direi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9416492E-78EA-F6F3-10E5-254BE3692B61}"/>
              </a:ext>
            </a:extLst>
          </p:cNvPr>
          <p:cNvSpPr/>
          <p:nvPr userDrawn="1"/>
        </p:nvSpPr>
        <p:spPr>
          <a:xfrm rot="10800000" flipV="1">
            <a:off x="864150" y="848123"/>
            <a:ext cx="17063969" cy="9232500"/>
          </a:xfrm>
          <a:custGeom>
            <a:avLst/>
            <a:gdLst>
              <a:gd name="connsiteX0" fmla="*/ 13869084 w 13869083"/>
              <a:gd name="connsiteY0" fmla="*/ 7537211 h 7537210"/>
              <a:gd name="connsiteX1" fmla="*/ 0 w 13869083"/>
              <a:gd name="connsiteY1" fmla="*/ 7537211 h 7537210"/>
              <a:gd name="connsiteX2" fmla="*/ 848594 w 13869083"/>
              <a:gd name="connsiteY2" fmla="*/ 1059946 h 7537210"/>
              <a:gd name="connsiteX3" fmla="*/ 1128394 w 13869083"/>
              <a:gd name="connsiteY3" fmla="*/ 796181 h 7537210"/>
              <a:gd name="connsiteX4" fmla="*/ 12273800 w 13869083"/>
              <a:gd name="connsiteY4" fmla="*/ 780 h 7537210"/>
              <a:gd name="connsiteX5" fmla="*/ 12594863 w 13869083"/>
              <a:gd name="connsiteY5" fmla="*/ 251627 h 7537210"/>
              <a:gd name="connsiteX6" fmla="*/ 13869084 w 13869083"/>
              <a:gd name="connsiteY6" fmla="*/ 7537211 h 7537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69083" h="7537210">
                <a:moveTo>
                  <a:pt x="13869084" y="7537211"/>
                </a:moveTo>
                <a:lnTo>
                  <a:pt x="0" y="7537211"/>
                </a:lnTo>
                <a:lnTo>
                  <a:pt x="848594" y="1059946"/>
                </a:lnTo>
                <a:cubicBezTo>
                  <a:pt x="867364" y="916703"/>
                  <a:pt x="984314" y="806515"/>
                  <a:pt x="1128394" y="796181"/>
                </a:cubicBezTo>
                <a:lnTo>
                  <a:pt x="12273800" y="780"/>
                </a:lnTo>
                <a:cubicBezTo>
                  <a:pt x="12429278" y="-10314"/>
                  <a:pt x="12567962" y="98049"/>
                  <a:pt x="12594863" y="251627"/>
                </a:cubicBezTo>
                <a:lnTo>
                  <a:pt x="13869084" y="7537211"/>
                </a:lnTo>
                <a:close/>
              </a:path>
            </a:pathLst>
          </a:custGeom>
          <a:solidFill>
            <a:srgbClr val="FFFFFF"/>
          </a:solidFill>
          <a:ln w="7599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6859E757-0B04-5884-9C17-7C8A52A76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V="1">
            <a:off x="46878" y="453084"/>
            <a:ext cx="18000663" cy="968734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B411744A-5160-3F7E-C907-F20C5927F75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63422" y="453086"/>
            <a:ext cx="1947525" cy="37497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AF83AA11-C9CC-7844-A5A0-32902FEA7BDC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934688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Direita_Branc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CaixaDeTexto 99">
            <a:extLst>
              <a:ext uri="{FF2B5EF4-FFF2-40B4-BE49-F238E27FC236}">
                <a16:creationId xmlns:a16="http://schemas.microsoft.com/office/drawing/2014/main" id="{A94DBF0A-295F-327F-C788-2B6B40EF892E}"/>
              </a:ext>
            </a:extLst>
          </p:cNvPr>
          <p:cNvSpPr txBox="1"/>
          <p:nvPr userDrawn="1"/>
        </p:nvSpPr>
        <p:spPr>
          <a:xfrm>
            <a:off x="-4314751" y="245746"/>
            <a:ext cx="3679771" cy="9585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E1AF9AB-932F-48C6-6896-799075B7A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1653" y="453085"/>
            <a:ext cx="1944461" cy="37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28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Direita_Pre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3E1AF9AB-932F-48C6-6896-799075B7A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1653" y="453085"/>
            <a:ext cx="1944461" cy="37439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5271261-6B64-625C-140B-0BBFC34F7D4D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8749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Direita_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3E1AF9AB-932F-48C6-6896-799075B7A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1653" y="453085"/>
            <a:ext cx="1944461" cy="37439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848C56F-53CF-0705-EBA7-743A04575B3A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4117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Esquerda_Branc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3E1AF9AB-932F-48C6-6896-799075B7A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5"/>
            <a:ext cx="1944461" cy="37439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5DB2C9F8-5268-4D81-2372-035DEFB6B125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1784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Esquerda_Pre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9FA84B8D-B60A-903D-A9F5-BEDC70E77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5"/>
            <a:ext cx="1944461" cy="37439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E09BCB6-7792-361F-1B09-FA2B6FDEDE94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238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Esquerda_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9FA84B8D-B60A-903D-A9F5-BEDC70E77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534" y="453085"/>
            <a:ext cx="1944461" cy="37439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6E0B39D-F5CE-9247-4C56-D0D47CD65515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4917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75A95B8C-0767-9A22-C092-F3433C544CC2}"/>
              </a:ext>
            </a:extLst>
          </p:cNvPr>
          <p:cNvSpPr txBox="1"/>
          <p:nvPr userDrawn="1"/>
        </p:nvSpPr>
        <p:spPr>
          <a:xfrm>
            <a:off x="-4314751" y="245744"/>
            <a:ext cx="3679771" cy="360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  <a:p>
            <a:pPr marL="105002" marR="0" lvl="2" indent="-105002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154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75A95B8C-0767-9A22-C092-F3433C544CC2}"/>
              </a:ext>
            </a:extLst>
          </p:cNvPr>
          <p:cNvSpPr txBox="1"/>
          <p:nvPr userDrawn="1"/>
        </p:nvSpPr>
        <p:spPr>
          <a:xfrm>
            <a:off x="-4314750" y="245744"/>
            <a:ext cx="3679771" cy="360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9913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42715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GP Superio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Agrupar 95">
            <a:extLst>
              <a:ext uri="{FF2B5EF4-FFF2-40B4-BE49-F238E27FC236}">
                <a16:creationId xmlns:a16="http://schemas.microsoft.com/office/drawing/2014/main" id="{5CC409D9-D06D-193B-6BC4-7F59D20D9791}"/>
              </a:ext>
            </a:extLst>
          </p:cNvPr>
          <p:cNvGrpSpPr>
            <a:grpSpLocks/>
          </p:cNvGrpSpPr>
          <p:nvPr userDrawn="1"/>
        </p:nvGrpSpPr>
        <p:grpSpPr>
          <a:xfrm>
            <a:off x="0" y="3453547"/>
            <a:ext cx="18000663" cy="6627078"/>
            <a:chOff x="0" y="2057400"/>
            <a:chExt cx="14630400" cy="5410200"/>
          </a:xfrm>
        </p:grpSpPr>
        <p:pic>
          <p:nvPicPr>
            <p:cNvPr id="93" name="Gráfico 92">
              <a:extLst>
                <a:ext uri="{FF2B5EF4-FFF2-40B4-BE49-F238E27FC236}">
                  <a16:creationId xmlns:a16="http://schemas.microsoft.com/office/drawing/2014/main" id="{B524E498-CF67-0F65-C5B8-0CBD74410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0" y="2057400"/>
              <a:ext cx="14630400" cy="4114800"/>
            </a:xfrm>
            <a:prstGeom prst="rect">
              <a:avLst/>
            </a:prstGeom>
          </p:spPr>
        </p:pic>
        <p:sp>
          <p:nvSpPr>
            <p:cNvPr id="95" name="Retângulo 94">
              <a:extLst>
                <a:ext uri="{FF2B5EF4-FFF2-40B4-BE49-F238E27FC236}">
                  <a16:creationId xmlns:a16="http://schemas.microsoft.com/office/drawing/2014/main" id="{5A68B4AB-9351-5E29-5ACD-7CE8E830E7F7}"/>
                </a:ext>
              </a:extLst>
            </p:cNvPr>
            <p:cNvSpPr>
              <a:spLocks/>
            </p:cNvSpPr>
            <p:nvPr/>
          </p:nvSpPr>
          <p:spPr>
            <a:xfrm>
              <a:off x="0" y="5905500"/>
              <a:ext cx="14630400" cy="1562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5"/>
                <a:t>v</a:t>
              </a: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E69D6B2A-4AD6-C59D-721E-B57E222D8BF3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1460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Lateral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ráfico 86">
            <a:extLst>
              <a:ext uri="{FF2B5EF4-FFF2-40B4-BE49-F238E27FC236}">
                <a16:creationId xmlns:a16="http://schemas.microsoft.com/office/drawing/2014/main" id="{28EADAAB-A19B-2627-70EE-EBFB2EA0FB7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53300" y="0"/>
            <a:ext cx="13247363" cy="10080625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2CD89C7-4B2A-D5C2-07C6-18DDB02841D1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61138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Sem logo_Colori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1C7C83C9-52A9-3433-99FF-EC2BC1020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400087"/>
            <a:ext cx="18000663" cy="8680538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0FB1CEC4-9CDC-2212-2367-377F2BDB1F13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978579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Sem logo_Branc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áfico 36">
            <a:extLst>
              <a:ext uri="{FF2B5EF4-FFF2-40B4-BE49-F238E27FC236}">
                <a16:creationId xmlns:a16="http://schemas.microsoft.com/office/drawing/2014/main" id="{9631F65F-B4B1-2227-759A-C9AB1C57CA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6000" y="-17779"/>
            <a:ext cx="18032666" cy="1984375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27759B0-DFFC-71BD-BBF0-A4877E8155FC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432679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0B854E13-596A-6062-4F2D-4B863732411E}"/>
              </a:ext>
            </a:extLst>
          </p:cNvPr>
          <p:cNvSpPr/>
          <p:nvPr userDrawn="1"/>
        </p:nvSpPr>
        <p:spPr>
          <a:xfrm>
            <a:off x="17047503" y="0"/>
            <a:ext cx="953160" cy="1008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2C550E1-AD24-09C1-6CEF-BB6B1AD3D3C3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3131206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ra Lateral Cinza 1_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63E6BC48-5853-17C5-B9B7-6707B240A91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929907" y="0"/>
            <a:ext cx="12070757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5" name="Retângulo 74">
            <a:extLst>
              <a:ext uri="{FF2B5EF4-FFF2-40B4-BE49-F238E27FC236}">
                <a16:creationId xmlns:a16="http://schemas.microsoft.com/office/drawing/2014/main" id="{1A5B9E91-3A63-0A8A-6CDB-932B80BA9C47}"/>
              </a:ext>
            </a:extLst>
          </p:cNvPr>
          <p:cNvSpPr/>
          <p:nvPr userDrawn="1"/>
        </p:nvSpPr>
        <p:spPr>
          <a:xfrm>
            <a:off x="1" y="0"/>
            <a:ext cx="6754155" cy="1008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4D7B238-0B85-3A5C-C8D0-A459EC033326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718646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ra Lateral Cinza 2_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CF2C0B77-6901-AEF0-C200-8F7C5252E7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070757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24A67192-51EB-FEF7-4C3C-C9008EA73516}"/>
              </a:ext>
            </a:extLst>
          </p:cNvPr>
          <p:cNvSpPr/>
          <p:nvPr userDrawn="1"/>
        </p:nvSpPr>
        <p:spPr>
          <a:xfrm>
            <a:off x="11246509" y="0"/>
            <a:ext cx="6754155" cy="1008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63922D5A-DC5D-093F-0C90-6D7F10039F03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579154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Superior 1_Sem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orma Livre: Forma 81">
            <a:extLst>
              <a:ext uri="{FF2B5EF4-FFF2-40B4-BE49-F238E27FC236}">
                <a16:creationId xmlns:a16="http://schemas.microsoft.com/office/drawing/2014/main" id="{81E58531-61B5-5503-322D-4BD9F8D7483A}"/>
              </a:ext>
            </a:extLst>
          </p:cNvPr>
          <p:cNvSpPr/>
          <p:nvPr userDrawn="1"/>
        </p:nvSpPr>
        <p:spPr>
          <a:xfrm rot="10800000">
            <a:off x="864149" y="1397"/>
            <a:ext cx="17063969" cy="9232501"/>
          </a:xfrm>
          <a:custGeom>
            <a:avLst/>
            <a:gdLst>
              <a:gd name="connsiteX0" fmla="*/ 13869084 w 13869083"/>
              <a:gd name="connsiteY0" fmla="*/ 7537211 h 7537210"/>
              <a:gd name="connsiteX1" fmla="*/ 0 w 13869083"/>
              <a:gd name="connsiteY1" fmla="*/ 7537211 h 7537210"/>
              <a:gd name="connsiteX2" fmla="*/ 848594 w 13869083"/>
              <a:gd name="connsiteY2" fmla="*/ 1059946 h 7537210"/>
              <a:gd name="connsiteX3" fmla="*/ 1128394 w 13869083"/>
              <a:gd name="connsiteY3" fmla="*/ 796181 h 7537210"/>
              <a:gd name="connsiteX4" fmla="*/ 12273800 w 13869083"/>
              <a:gd name="connsiteY4" fmla="*/ 780 h 7537210"/>
              <a:gd name="connsiteX5" fmla="*/ 12594863 w 13869083"/>
              <a:gd name="connsiteY5" fmla="*/ 251627 h 7537210"/>
              <a:gd name="connsiteX6" fmla="*/ 13869084 w 13869083"/>
              <a:gd name="connsiteY6" fmla="*/ 7537211 h 7537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69083" h="7537210">
                <a:moveTo>
                  <a:pt x="13869084" y="7537211"/>
                </a:moveTo>
                <a:lnTo>
                  <a:pt x="0" y="7537211"/>
                </a:lnTo>
                <a:lnTo>
                  <a:pt x="848594" y="1059946"/>
                </a:lnTo>
                <a:cubicBezTo>
                  <a:pt x="867364" y="916703"/>
                  <a:pt x="984314" y="806515"/>
                  <a:pt x="1128394" y="796181"/>
                </a:cubicBezTo>
                <a:lnTo>
                  <a:pt x="12273800" y="780"/>
                </a:lnTo>
                <a:cubicBezTo>
                  <a:pt x="12429278" y="-10314"/>
                  <a:pt x="12567962" y="98049"/>
                  <a:pt x="12594863" y="251627"/>
                </a:cubicBezTo>
                <a:lnTo>
                  <a:pt x="13869084" y="7537211"/>
                </a:lnTo>
                <a:close/>
              </a:path>
            </a:pathLst>
          </a:custGeom>
          <a:solidFill>
            <a:srgbClr val="FFFFFF"/>
          </a:solidFill>
          <a:ln w="7599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78" name="Gráfico 77">
            <a:extLst>
              <a:ext uri="{FF2B5EF4-FFF2-40B4-BE49-F238E27FC236}">
                <a16:creationId xmlns:a16="http://schemas.microsoft.com/office/drawing/2014/main" id="{C5D4D627-ED9D-1913-F82F-AE0F635855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46878" y="-46668"/>
            <a:ext cx="18000663" cy="9687345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7C11BD85-C3E6-D579-18DA-4CCE84DABC1B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63400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2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Inferior_Sem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Forma Livre: Forma 82">
            <a:extLst>
              <a:ext uri="{FF2B5EF4-FFF2-40B4-BE49-F238E27FC236}">
                <a16:creationId xmlns:a16="http://schemas.microsoft.com/office/drawing/2014/main" id="{5289CBC8-5FDA-3B5B-7909-4DB7CCA33807}"/>
              </a:ext>
            </a:extLst>
          </p:cNvPr>
          <p:cNvSpPr/>
          <p:nvPr userDrawn="1"/>
        </p:nvSpPr>
        <p:spPr>
          <a:xfrm>
            <a:off x="468768" y="846727"/>
            <a:ext cx="17063969" cy="9232501"/>
          </a:xfrm>
          <a:custGeom>
            <a:avLst/>
            <a:gdLst>
              <a:gd name="connsiteX0" fmla="*/ 13869084 w 13869083"/>
              <a:gd name="connsiteY0" fmla="*/ 7537211 h 7537210"/>
              <a:gd name="connsiteX1" fmla="*/ 0 w 13869083"/>
              <a:gd name="connsiteY1" fmla="*/ 7537211 h 7537210"/>
              <a:gd name="connsiteX2" fmla="*/ 848594 w 13869083"/>
              <a:gd name="connsiteY2" fmla="*/ 1059946 h 7537210"/>
              <a:gd name="connsiteX3" fmla="*/ 1128394 w 13869083"/>
              <a:gd name="connsiteY3" fmla="*/ 796181 h 7537210"/>
              <a:gd name="connsiteX4" fmla="*/ 12273800 w 13869083"/>
              <a:gd name="connsiteY4" fmla="*/ 780 h 7537210"/>
              <a:gd name="connsiteX5" fmla="*/ 12594863 w 13869083"/>
              <a:gd name="connsiteY5" fmla="*/ 251627 h 7537210"/>
              <a:gd name="connsiteX6" fmla="*/ 13869084 w 13869083"/>
              <a:gd name="connsiteY6" fmla="*/ 7537211 h 7537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69083" h="7537210">
                <a:moveTo>
                  <a:pt x="13869084" y="7537211"/>
                </a:moveTo>
                <a:lnTo>
                  <a:pt x="0" y="7537211"/>
                </a:lnTo>
                <a:lnTo>
                  <a:pt x="848594" y="1059946"/>
                </a:lnTo>
                <a:cubicBezTo>
                  <a:pt x="867364" y="916703"/>
                  <a:pt x="984314" y="806515"/>
                  <a:pt x="1128394" y="796181"/>
                </a:cubicBezTo>
                <a:lnTo>
                  <a:pt x="12273800" y="780"/>
                </a:lnTo>
                <a:cubicBezTo>
                  <a:pt x="12429278" y="-10314"/>
                  <a:pt x="12567962" y="98049"/>
                  <a:pt x="12594863" y="251627"/>
                </a:cubicBezTo>
                <a:lnTo>
                  <a:pt x="13869084" y="7537211"/>
                </a:lnTo>
                <a:close/>
              </a:path>
            </a:pathLst>
          </a:custGeom>
          <a:solidFill>
            <a:srgbClr val="FFFFFF"/>
          </a:solidFill>
          <a:ln w="7599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2493FD9-D484-265E-FAF4-F4CED1E5955C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4819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2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P Superior 2_Sem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9BCD0FAD-5E87-2843-A79E-41C6403A6810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 flipV="1">
            <a:off x="-85941" y="-17778"/>
            <a:ext cx="18172544" cy="9772132"/>
            <a:chOff x="-69850" y="264546"/>
            <a:chExt cx="14770100" cy="7977753"/>
          </a:xfrm>
        </p:grpSpPr>
        <p:sp>
          <p:nvSpPr>
            <p:cNvPr id="9" name="Gráfico 6">
              <a:extLst>
                <a:ext uri="{FF2B5EF4-FFF2-40B4-BE49-F238E27FC236}">
                  <a16:creationId xmlns:a16="http://schemas.microsoft.com/office/drawing/2014/main" id="{487E8893-35E6-0398-9B7D-E34DCBAA9AD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 flipH="1">
              <a:off x="-12200" y="264546"/>
              <a:ext cx="14654801" cy="7051091"/>
            </a:xfrm>
            <a:custGeom>
              <a:avLst/>
              <a:gdLst>
                <a:gd name="connsiteX0" fmla="*/ 16672410 w 16672410"/>
                <a:gd name="connsiteY0" fmla="*/ 7053958 h 7053957"/>
                <a:gd name="connsiteX1" fmla="*/ 0 w 16672410"/>
                <a:gd name="connsiteY1" fmla="*/ 7053958 h 7053957"/>
                <a:gd name="connsiteX2" fmla="*/ 0 w 16672410"/>
                <a:gd name="connsiteY2" fmla="*/ 4525569 h 7053957"/>
                <a:gd name="connsiteX3" fmla="*/ 2972812 w 16672410"/>
                <a:gd name="connsiteY3" fmla="*/ 152101 h 7053957"/>
                <a:gd name="connsiteX4" fmla="*/ 3314423 w 16672410"/>
                <a:gd name="connsiteY4" fmla="*/ 4307 h 7053957"/>
                <a:gd name="connsiteX5" fmla="*/ 12175027 w 16672410"/>
                <a:gd name="connsiteY5" fmla="*/ 1408957 h 7053957"/>
                <a:gd name="connsiteX6" fmla="*/ 12395069 w 16672410"/>
                <a:gd name="connsiteY6" fmla="*/ 1539124 h 7053957"/>
                <a:gd name="connsiteX7" fmla="*/ 16672323 w 16672410"/>
                <a:gd name="connsiteY7" fmla="*/ 7053871 h 7053957"/>
                <a:gd name="connsiteX0" fmla="*/ 16672410 w 16672410"/>
                <a:gd name="connsiteY0" fmla="*/ 7053958 h 7053958"/>
                <a:gd name="connsiteX1" fmla="*/ 0 w 16672410"/>
                <a:gd name="connsiteY1" fmla="*/ 7053958 h 7053958"/>
                <a:gd name="connsiteX2" fmla="*/ 0 w 16672410"/>
                <a:gd name="connsiteY2" fmla="*/ 4525569 h 7053958"/>
                <a:gd name="connsiteX3" fmla="*/ 2972812 w 16672410"/>
                <a:gd name="connsiteY3" fmla="*/ 152101 h 7053958"/>
                <a:gd name="connsiteX4" fmla="*/ 3314423 w 16672410"/>
                <a:gd name="connsiteY4" fmla="*/ 4307 h 7053958"/>
                <a:gd name="connsiteX5" fmla="*/ 12175027 w 16672410"/>
                <a:gd name="connsiteY5" fmla="*/ 1408957 h 7053958"/>
                <a:gd name="connsiteX6" fmla="*/ 12395069 w 16672410"/>
                <a:gd name="connsiteY6" fmla="*/ 1539124 h 7053958"/>
                <a:gd name="connsiteX7" fmla="*/ 14668500 w 16672410"/>
                <a:gd name="connsiteY7" fmla="*/ 4498392 h 7053958"/>
                <a:gd name="connsiteX8" fmla="*/ 16672323 w 16672410"/>
                <a:gd name="connsiteY8" fmla="*/ 7053871 h 7053958"/>
                <a:gd name="connsiteX9" fmla="*/ 16672410 w 16672410"/>
                <a:gd name="connsiteY9" fmla="*/ 7053958 h 7053958"/>
                <a:gd name="connsiteX0" fmla="*/ 16672410 w 16672410"/>
                <a:gd name="connsiteY0" fmla="*/ 7053958 h 7063791"/>
                <a:gd name="connsiteX1" fmla="*/ 14681200 w 16672410"/>
                <a:gd name="connsiteY1" fmla="*/ 7063791 h 7063791"/>
                <a:gd name="connsiteX2" fmla="*/ 0 w 16672410"/>
                <a:gd name="connsiteY2" fmla="*/ 7053958 h 7063791"/>
                <a:gd name="connsiteX3" fmla="*/ 0 w 16672410"/>
                <a:gd name="connsiteY3" fmla="*/ 4525569 h 7063791"/>
                <a:gd name="connsiteX4" fmla="*/ 2972812 w 16672410"/>
                <a:gd name="connsiteY4" fmla="*/ 152101 h 7063791"/>
                <a:gd name="connsiteX5" fmla="*/ 3314423 w 16672410"/>
                <a:gd name="connsiteY5" fmla="*/ 4307 h 7063791"/>
                <a:gd name="connsiteX6" fmla="*/ 12175027 w 16672410"/>
                <a:gd name="connsiteY6" fmla="*/ 1408957 h 7063791"/>
                <a:gd name="connsiteX7" fmla="*/ 12395069 w 16672410"/>
                <a:gd name="connsiteY7" fmla="*/ 1539124 h 7063791"/>
                <a:gd name="connsiteX8" fmla="*/ 14668500 w 16672410"/>
                <a:gd name="connsiteY8" fmla="*/ 4498392 h 7063791"/>
                <a:gd name="connsiteX9" fmla="*/ 16672323 w 16672410"/>
                <a:gd name="connsiteY9" fmla="*/ 7053871 h 7063791"/>
                <a:gd name="connsiteX10" fmla="*/ 16672410 w 16672410"/>
                <a:gd name="connsiteY10" fmla="*/ 7053958 h 7063791"/>
                <a:gd name="connsiteX0" fmla="*/ 16672323 w 16672323"/>
                <a:gd name="connsiteY0" fmla="*/ 7053871 h 7063791"/>
                <a:gd name="connsiteX1" fmla="*/ 14681200 w 16672323"/>
                <a:gd name="connsiteY1" fmla="*/ 7063791 h 7063791"/>
                <a:gd name="connsiteX2" fmla="*/ 0 w 16672323"/>
                <a:gd name="connsiteY2" fmla="*/ 7053958 h 7063791"/>
                <a:gd name="connsiteX3" fmla="*/ 0 w 16672323"/>
                <a:gd name="connsiteY3" fmla="*/ 4525569 h 7063791"/>
                <a:gd name="connsiteX4" fmla="*/ 2972812 w 16672323"/>
                <a:gd name="connsiteY4" fmla="*/ 152101 h 7063791"/>
                <a:gd name="connsiteX5" fmla="*/ 3314423 w 16672323"/>
                <a:gd name="connsiteY5" fmla="*/ 4307 h 7063791"/>
                <a:gd name="connsiteX6" fmla="*/ 12175027 w 16672323"/>
                <a:gd name="connsiteY6" fmla="*/ 1408957 h 7063791"/>
                <a:gd name="connsiteX7" fmla="*/ 12395069 w 16672323"/>
                <a:gd name="connsiteY7" fmla="*/ 1539124 h 7063791"/>
                <a:gd name="connsiteX8" fmla="*/ 14668500 w 16672323"/>
                <a:gd name="connsiteY8" fmla="*/ 4498392 h 7063791"/>
                <a:gd name="connsiteX9" fmla="*/ 16672323 w 16672323"/>
                <a:gd name="connsiteY9" fmla="*/ 7053871 h 7063791"/>
                <a:gd name="connsiteX0" fmla="*/ 14668500 w 14681200"/>
                <a:gd name="connsiteY0" fmla="*/ 4498392 h 7063791"/>
                <a:gd name="connsiteX1" fmla="*/ 14681200 w 14681200"/>
                <a:gd name="connsiteY1" fmla="*/ 7063791 h 7063791"/>
                <a:gd name="connsiteX2" fmla="*/ 0 w 14681200"/>
                <a:gd name="connsiteY2" fmla="*/ 7053958 h 7063791"/>
                <a:gd name="connsiteX3" fmla="*/ 0 w 14681200"/>
                <a:gd name="connsiteY3" fmla="*/ 4525569 h 7063791"/>
                <a:gd name="connsiteX4" fmla="*/ 2972812 w 14681200"/>
                <a:gd name="connsiteY4" fmla="*/ 152101 h 7063791"/>
                <a:gd name="connsiteX5" fmla="*/ 3314423 w 14681200"/>
                <a:gd name="connsiteY5" fmla="*/ 4307 h 7063791"/>
                <a:gd name="connsiteX6" fmla="*/ 12175027 w 14681200"/>
                <a:gd name="connsiteY6" fmla="*/ 1408957 h 7063791"/>
                <a:gd name="connsiteX7" fmla="*/ 12395069 w 14681200"/>
                <a:gd name="connsiteY7" fmla="*/ 1539124 h 7063791"/>
                <a:gd name="connsiteX8" fmla="*/ 14668500 w 14681200"/>
                <a:gd name="connsiteY8" fmla="*/ 4498392 h 70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81200" h="7063791">
                  <a:moveTo>
                    <a:pt x="14668500" y="4498392"/>
                  </a:moveTo>
                  <a:cubicBezTo>
                    <a:pt x="14672733" y="5353525"/>
                    <a:pt x="14676967" y="6208658"/>
                    <a:pt x="14681200" y="7063791"/>
                  </a:cubicBezTo>
                  <a:lnTo>
                    <a:pt x="0" y="7053958"/>
                  </a:lnTo>
                  <a:lnTo>
                    <a:pt x="0" y="4525569"/>
                  </a:lnTo>
                  <a:lnTo>
                    <a:pt x="2972812" y="152101"/>
                  </a:lnTo>
                  <a:cubicBezTo>
                    <a:pt x="3048446" y="40778"/>
                    <a:pt x="3181565" y="-16794"/>
                    <a:pt x="3314423" y="4307"/>
                  </a:cubicBezTo>
                  <a:lnTo>
                    <a:pt x="12175027" y="1408957"/>
                  </a:lnTo>
                  <a:cubicBezTo>
                    <a:pt x="12262297" y="1422764"/>
                    <a:pt x="12340969" y="1469308"/>
                    <a:pt x="12395069" y="1539124"/>
                  </a:cubicBezTo>
                  <a:lnTo>
                    <a:pt x="14668500" y="4498392"/>
                  </a:lnTo>
                  <a:close/>
                </a:path>
              </a:pathLst>
            </a:custGeom>
            <a:solidFill>
              <a:schemeClr val="accent2"/>
            </a:solidFill>
            <a:ln w="8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205"/>
            </a:p>
          </p:txBody>
        </p:sp>
        <p:sp>
          <p:nvSpPr>
            <p:cNvPr id="8" name="Gráfico 6">
              <a:extLst>
                <a:ext uri="{FF2B5EF4-FFF2-40B4-BE49-F238E27FC236}">
                  <a16:creationId xmlns:a16="http://schemas.microsoft.com/office/drawing/2014/main" id="{6CBE11C8-3C4B-E7CF-5D36-3ADF37000E0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69850" y="1130785"/>
              <a:ext cx="14770100" cy="7111514"/>
            </a:xfrm>
            <a:custGeom>
              <a:avLst/>
              <a:gdLst>
                <a:gd name="connsiteX0" fmla="*/ 16672410 w 16672410"/>
                <a:gd name="connsiteY0" fmla="*/ 7053958 h 7053957"/>
                <a:gd name="connsiteX1" fmla="*/ 0 w 16672410"/>
                <a:gd name="connsiteY1" fmla="*/ 7053958 h 7053957"/>
                <a:gd name="connsiteX2" fmla="*/ 0 w 16672410"/>
                <a:gd name="connsiteY2" fmla="*/ 4525569 h 7053957"/>
                <a:gd name="connsiteX3" fmla="*/ 2972812 w 16672410"/>
                <a:gd name="connsiteY3" fmla="*/ 152101 h 7053957"/>
                <a:gd name="connsiteX4" fmla="*/ 3314423 w 16672410"/>
                <a:gd name="connsiteY4" fmla="*/ 4307 h 7053957"/>
                <a:gd name="connsiteX5" fmla="*/ 12175027 w 16672410"/>
                <a:gd name="connsiteY5" fmla="*/ 1408957 h 7053957"/>
                <a:gd name="connsiteX6" fmla="*/ 12395069 w 16672410"/>
                <a:gd name="connsiteY6" fmla="*/ 1539124 h 7053957"/>
                <a:gd name="connsiteX7" fmla="*/ 16672323 w 16672410"/>
                <a:gd name="connsiteY7" fmla="*/ 7053871 h 7053957"/>
                <a:gd name="connsiteX0" fmla="*/ 16672410 w 16672410"/>
                <a:gd name="connsiteY0" fmla="*/ 7053958 h 7053958"/>
                <a:gd name="connsiteX1" fmla="*/ 0 w 16672410"/>
                <a:gd name="connsiteY1" fmla="*/ 7053958 h 7053958"/>
                <a:gd name="connsiteX2" fmla="*/ 0 w 16672410"/>
                <a:gd name="connsiteY2" fmla="*/ 4525569 h 7053958"/>
                <a:gd name="connsiteX3" fmla="*/ 2972812 w 16672410"/>
                <a:gd name="connsiteY3" fmla="*/ 152101 h 7053958"/>
                <a:gd name="connsiteX4" fmla="*/ 3314423 w 16672410"/>
                <a:gd name="connsiteY4" fmla="*/ 4307 h 7053958"/>
                <a:gd name="connsiteX5" fmla="*/ 12175027 w 16672410"/>
                <a:gd name="connsiteY5" fmla="*/ 1408957 h 7053958"/>
                <a:gd name="connsiteX6" fmla="*/ 12395069 w 16672410"/>
                <a:gd name="connsiteY6" fmla="*/ 1539124 h 7053958"/>
                <a:gd name="connsiteX7" fmla="*/ 14668500 w 16672410"/>
                <a:gd name="connsiteY7" fmla="*/ 4498392 h 7053958"/>
                <a:gd name="connsiteX8" fmla="*/ 16672323 w 16672410"/>
                <a:gd name="connsiteY8" fmla="*/ 7053871 h 7053958"/>
                <a:gd name="connsiteX9" fmla="*/ 16672410 w 16672410"/>
                <a:gd name="connsiteY9" fmla="*/ 7053958 h 7053958"/>
                <a:gd name="connsiteX0" fmla="*/ 16672410 w 16672410"/>
                <a:gd name="connsiteY0" fmla="*/ 7053958 h 7063791"/>
                <a:gd name="connsiteX1" fmla="*/ 14681200 w 16672410"/>
                <a:gd name="connsiteY1" fmla="*/ 7063791 h 7063791"/>
                <a:gd name="connsiteX2" fmla="*/ 0 w 16672410"/>
                <a:gd name="connsiteY2" fmla="*/ 7053958 h 7063791"/>
                <a:gd name="connsiteX3" fmla="*/ 0 w 16672410"/>
                <a:gd name="connsiteY3" fmla="*/ 4525569 h 7063791"/>
                <a:gd name="connsiteX4" fmla="*/ 2972812 w 16672410"/>
                <a:gd name="connsiteY4" fmla="*/ 152101 h 7063791"/>
                <a:gd name="connsiteX5" fmla="*/ 3314423 w 16672410"/>
                <a:gd name="connsiteY5" fmla="*/ 4307 h 7063791"/>
                <a:gd name="connsiteX6" fmla="*/ 12175027 w 16672410"/>
                <a:gd name="connsiteY6" fmla="*/ 1408957 h 7063791"/>
                <a:gd name="connsiteX7" fmla="*/ 12395069 w 16672410"/>
                <a:gd name="connsiteY7" fmla="*/ 1539124 h 7063791"/>
                <a:gd name="connsiteX8" fmla="*/ 14668500 w 16672410"/>
                <a:gd name="connsiteY8" fmla="*/ 4498392 h 7063791"/>
                <a:gd name="connsiteX9" fmla="*/ 16672323 w 16672410"/>
                <a:gd name="connsiteY9" fmla="*/ 7053871 h 7063791"/>
                <a:gd name="connsiteX10" fmla="*/ 16672410 w 16672410"/>
                <a:gd name="connsiteY10" fmla="*/ 7053958 h 7063791"/>
                <a:gd name="connsiteX0" fmla="*/ 16672323 w 16672323"/>
                <a:gd name="connsiteY0" fmla="*/ 7053871 h 7063791"/>
                <a:gd name="connsiteX1" fmla="*/ 14681200 w 16672323"/>
                <a:gd name="connsiteY1" fmla="*/ 7063791 h 7063791"/>
                <a:gd name="connsiteX2" fmla="*/ 0 w 16672323"/>
                <a:gd name="connsiteY2" fmla="*/ 7053958 h 7063791"/>
                <a:gd name="connsiteX3" fmla="*/ 0 w 16672323"/>
                <a:gd name="connsiteY3" fmla="*/ 4525569 h 7063791"/>
                <a:gd name="connsiteX4" fmla="*/ 2972812 w 16672323"/>
                <a:gd name="connsiteY4" fmla="*/ 152101 h 7063791"/>
                <a:gd name="connsiteX5" fmla="*/ 3314423 w 16672323"/>
                <a:gd name="connsiteY5" fmla="*/ 4307 h 7063791"/>
                <a:gd name="connsiteX6" fmla="*/ 12175027 w 16672323"/>
                <a:gd name="connsiteY6" fmla="*/ 1408957 h 7063791"/>
                <a:gd name="connsiteX7" fmla="*/ 12395069 w 16672323"/>
                <a:gd name="connsiteY7" fmla="*/ 1539124 h 7063791"/>
                <a:gd name="connsiteX8" fmla="*/ 14668500 w 16672323"/>
                <a:gd name="connsiteY8" fmla="*/ 4498392 h 7063791"/>
                <a:gd name="connsiteX9" fmla="*/ 16672323 w 16672323"/>
                <a:gd name="connsiteY9" fmla="*/ 7053871 h 7063791"/>
                <a:gd name="connsiteX0" fmla="*/ 14668500 w 14681200"/>
                <a:gd name="connsiteY0" fmla="*/ 4498392 h 7063791"/>
                <a:gd name="connsiteX1" fmla="*/ 14681200 w 14681200"/>
                <a:gd name="connsiteY1" fmla="*/ 7063791 h 7063791"/>
                <a:gd name="connsiteX2" fmla="*/ 0 w 14681200"/>
                <a:gd name="connsiteY2" fmla="*/ 7053958 h 7063791"/>
                <a:gd name="connsiteX3" fmla="*/ 0 w 14681200"/>
                <a:gd name="connsiteY3" fmla="*/ 4525569 h 7063791"/>
                <a:gd name="connsiteX4" fmla="*/ 2972812 w 14681200"/>
                <a:gd name="connsiteY4" fmla="*/ 152101 h 7063791"/>
                <a:gd name="connsiteX5" fmla="*/ 3314423 w 14681200"/>
                <a:gd name="connsiteY5" fmla="*/ 4307 h 7063791"/>
                <a:gd name="connsiteX6" fmla="*/ 12175027 w 14681200"/>
                <a:gd name="connsiteY6" fmla="*/ 1408957 h 7063791"/>
                <a:gd name="connsiteX7" fmla="*/ 12395069 w 14681200"/>
                <a:gd name="connsiteY7" fmla="*/ 1539124 h 7063791"/>
                <a:gd name="connsiteX8" fmla="*/ 14668500 w 14681200"/>
                <a:gd name="connsiteY8" fmla="*/ 4498392 h 70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81200" h="7063791">
                  <a:moveTo>
                    <a:pt x="14668500" y="4498392"/>
                  </a:moveTo>
                  <a:cubicBezTo>
                    <a:pt x="14672733" y="5353525"/>
                    <a:pt x="14676967" y="6208658"/>
                    <a:pt x="14681200" y="7063791"/>
                  </a:cubicBezTo>
                  <a:lnTo>
                    <a:pt x="0" y="7053958"/>
                  </a:lnTo>
                  <a:lnTo>
                    <a:pt x="0" y="4525569"/>
                  </a:lnTo>
                  <a:lnTo>
                    <a:pt x="2972812" y="152101"/>
                  </a:lnTo>
                  <a:cubicBezTo>
                    <a:pt x="3048446" y="40778"/>
                    <a:pt x="3181565" y="-16794"/>
                    <a:pt x="3314423" y="4307"/>
                  </a:cubicBezTo>
                  <a:lnTo>
                    <a:pt x="12175027" y="1408957"/>
                  </a:lnTo>
                  <a:cubicBezTo>
                    <a:pt x="12262297" y="1422764"/>
                    <a:pt x="12340969" y="1469308"/>
                    <a:pt x="12395069" y="1539124"/>
                  </a:cubicBezTo>
                  <a:lnTo>
                    <a:pt x="14668500" y="4498392"/>
                  </a:lnTo>
                  <a:close/>
                </a:path>
              </a:pathLst>
            </a:custGeom>
            <a:solidFill>
              <a:schemeClr val="bg1"/>
            </a:solidFill>
            <a:ln w="8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205"/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42E6C4F1-4184-D0B2-EDBA-C68444866C5A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809817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1CD44F0-9FF7-4DD3-A027-FBA74C181F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7037" y="101533"/>
            <a:ext cx="16806588" cy="987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599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_1(FPSO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Ponte sobre a água&#10;&#10;O conteúdo gerado por IA pode estar incorreto.">
            <a:extLst>
              <a:ext uri="{FF2B5EF4-FFF2-40B4-BE49-F238E27FC236}">
                <a16:creationId xmlns:a16="http://schemas.microsoft.com/office/drawing/2014/main" id="{C5D15D23-2FD5-E6FA-2C4B-CB28428E97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000663" cy="10080625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A2FC1FD6-35F0-040F-38F5-8E66BB69E6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83630" y="-31113"/>
            <a:ext cx="7832659" cy="10080625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37F6149B-4CE4-15E1-0164-7F3ADD23D8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7856" y="-17777"/>
            <a:ext cx="9784226" cy="8587199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41286BC3-9ACA-640E-1936-FE1BFEDBC55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8534" y="453085"/>
            <a:ext cx="1942692" cy="374980"/>
          </a:xfrm>
          <a:prstGeom prst="rect">
            <a:avLst/>
          </a:prstGeom>
        </p:spPr>
      </p:pic>
      <p:pic>
        <p:nvPicPr>
          <p:cNvPr id="27" name="Imagem 26" descr="Barco no meio da cidade&#10;&#10;O conteúdo gerado por IA pode estar incorreto.">
            <a:extLst>
              <a:ext uri="{FF2B5EF4-FFF2-40B4-BE49-F238E27FC236}">
                <a16:creationId xmlns:a16="http://schemas.microsoft.com/office/drawing/2014/main" id="{8D501CB0-5D5D-642F-4D69-C353097317E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000663" cy="1008062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7E1B4A8D-FCD4-D892-85A8-FF44B83AFF40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422458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_1(Refinaria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C5D15D23-2FD5-E6FA-2C4B-CB28428E97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8000663" cy="10080624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37F6149B-4CE4-15E1-0164-7F3ADD23D8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7856" y="-17777"/>
            <a:ext cx="9784226" cy="8587199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41286BC3-9ACA-640E-1936-FE1BFEDBC5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534" y="453085"/>
            <a:ext cx="1942692" cy="374980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CF6C5856-3DFA-63D3-9EA4-7BB75DB855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05003" y="0"/>
            <a:ext cx="12357598" cy="10080625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A2FC1FD6-35F0-040F-38F5-8E66BB69E65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68004" y="-31113"/>
            <a:ext cx="7832659" cy="1008062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A7A98DA3-795A-5390-22EC-A3EE5675CD88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836911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_1(Personagem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C5D15D23-2FD5-E6FA-2C4B-CB28428E97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8000662" cy="10080625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37F6149B-4CE4-15E1-0164-7F3ADD23D8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7856" y="-17777"/>
            <a:ext cx="9784226" cy="8587199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41286BC3-9ACA-640E-1936-FE1BFEDBC5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534" y="453085"/>
            <a:ext cx="1942692" cy="374980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8D501CB0-5D5D-642F-4D69-C353097317E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15" r="21615"/>
          <a:stretch>
            <a:fillRect/>
          </a:stretch>
        </p:blipFill>
        <p:spPr>
          <a:xfrm>
            <a:off x="6344541" y="0"/>
            <a:ext cx="10219129" cy="1008062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7E1B4A8D-FCD4-D892-85A8-FF44B83AFF40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A2FC1FD6-35F0-040F-38F5-8E66BB69E65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07186" y="-93339"/>
            <a:ext cx="7929357" cy="1020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990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5"/>
            <a:ext cx="1942692" cy="37498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04B717-5982-6DBE-5066-A8506CF7E3CB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3677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cerramen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622FCADA-27F1-FD6C-CD7D-C701DD0FA5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9708" y="4642570"/>
            <a:ext cx="4121247" cy="79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3790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cerramento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áfico 6">
            <a:extLst>
              <a:ext uri="{FF2B5EF4-FFF2-40B4-BE49-F238E27FC236}">
                <a16:creationId xmlns:a16="http://schemas.microsoft.com/office/drawing/2014/main" id="{CD3768B1-BDA1-FBA3-A804-528755E96E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flipH="1">
            <a:off x="-15010" y="324049"/>
            <a:ext cx="18030685" cy="8637042"/>
          </a:xfrm>
          <a:custGeom>
            <a:avLst/>
            <a:gdLst>
              <a:gd name="connsiteX0" fmla="*/ 16672410 w 16672410"/>
              <a:gd name="connsiteY0" fmla="*/ 7053958 h 7053957"/>
              <a:gd name="connsiteX1" fmla="*/ 0 w 16672410"/>
              <a:gd name="connsiteY1" fmla="*/ 7053958 h 7053957"/>
              <a:gd name="connsiteX2" fmla="*/ 0 w 16672410"/>
              <a:gd name="connsiteY2" fmla="*/ 4525569 h 7053957"/>
              <a:gd name="connsiteX3" fmla="*/ 2972812 w 16672410"/>
              <a:gd name="connsiteY3" fmla="*/ 152101 h 7053957"/>
              <a:gd name="connsiteX4" fmla="*/ 3314423 w 16672410"/>
              <a:gd name="connsiteY4" fmla="*/ 4307 h 7053957"/>
              <a:gd name="connsiteX5" fmla="*/ 12175027 w 16672410"/>
              <a:gd name="connsiteY5" fmla="*/ 1408957 h 7053957"/>
              <a:gd name="connsiteX6" fmla="*/ 12395069 w 16672410"/>
              <a:gd name="connsiteY6" fmla="*/ 1539124 h 7053957"/>
              <a:gd name="connsiteX7" fmla="*/ 16672323 w 16672410"/>
              <a:gd name="connsiteY7" fmla="*/ 7053871 h 7053957"/>
              <a:gd name="connsiteX0" fmla="*/ 16672410 w 16672410"/>
              <a:gd name="connsiteY0" fmla="*/ 7053958 h 7053958"/>
              <a:gd name="connsiteX1" fmla="*/ 0 w 16672410"/>
              <a:gd name="connsiteY1" fmla="*/ 7053958 h 7053958"/>
              <a:gd name="connsiteX2" fmla="*/ 0 w 16672410"/>
              <a:gd name="connsiteY2" fmla="*/ 4525569 h 7053958"/>
              <a:gd name="connsiteX3" fmla="*/ 2972812 w 16672410"/>
              <a:gd name="connsiteY3" fmla="*/ 152101 h 7053958"/>
              <a:gd name="connsiteX4" fmla="*/ 3314423 w 16672410"/>
              <a:gd name="connsiteY4" fmla="*/ 4307 h 7053958"/>
              <a:gd name="connsiteX5" fmla="*/ 12175027 w 16672410"/>
              <a:gd name="connsiteY5" fmla="*/ 1408957 h 7053958"/>
              <a:gd name="connsiteX6" fmla="*/ 12395069 w 16672410"/>
              <a:gd name="connsiteY6" fmla="*/ 1539124 h 7053958"/>
              <a:gd name="connsiteX7" fmla="*/ 14668500 w 16672410"/>
              <a:gd name="connsiteY7" fmla="*/ 4498392 h 7053958"/>
              <a:gd name="connsiteX8" fmla="*/ 16672323 w 16672410"/>
              <a:gd name="connsiteY8" fmla="*/ 7053871 h 7053958"/>
              <a:gd name="connsiteX9" fmla="*/ 16672410 w 16672410"/>
              <a:gd name="connsiteY9" fmla="*/ 7053958 h 7053958"/>
              <a:gd name="connsiteX0" fmla="*/ 16672410 w 16672410"/>
              <a:gd name="connsiteY0" fmla="*/ 7053958 h 7063791"/>
              <a:gd name="connsiteX1" fmla="*/ 14681200 w 16672410"/>
              <a:gd name="connsiteY1" fmla="*/ 7063791 h 7063791"/>
              <a:gd name="connsiteX2" fmla="*/ 0 w 16672410"/>
              <a:gd name="connsiteY2" fmla="*/ 7053958 h 7063791"/>
              <a:gd name="connsiteX3" fmla="*/ 0 w 16672410"/>
              <a:gd name="connsiteY3" fmla="*/ 4525569 h 7063791"/>
              <a:gd name="connsiteX4" fmla="*/ 2972812 w 16672410"/>
              <a:gd name="connsiteY4" fmla="*/ 152101 h 7063791"/>
              <a:gd name="connsiteX5" fmla="*/ 3314423 w 16672410"/>
              <a:gd name="connsiteY5" fmla="*/ 4307 h 7063791"/>
              <a:gd name="connsiteX6" fmla="*/ 12175027 w 16672410"/>
              <a:gd name="connsiteY6" fmla="*/ 1408957 h 7063791"/>
              <a:gd name="connsiteX7" fmla="*/ 12395069 w 16672410"/>
              <a:gd name="connsiteY7" fmla="*/ 1539124 h 7063791"/>
              <a:gd name="connsiteX8" fmla="*/ 14668500 w 16672410"/>
              <a:gd name="connsiteY8" fmla="*/ 4498392 h 7063791"/>
              <a:gd name="connsiteX9" fmla="*/ 16672323 w 16672410"/>
              <a:gd name="connsiteY9" fmla="*/ 7053871 h 7063791"/>
              <a:gd name="connsiteX10" fmla="*/ 16672410 w 16672410"/>
              <a:gd name="connsiteY10" fmla="*/ 7053958 h 7063791"/>
              <a:gd name="connsiteX0" fmla="*/ 16672323 w 16672323"/>
              <a:gd name="connsiteY0" fmla="*/ 7053871 h 7063791"/>
              <a:gd name="connsiteX1" fmla="*/ 14681200 w 16672323"/>
              <a:gd name="connsiteY1" fmla="*/ 7063791 h 7063791"/>
              <a:gd name="connsiteX2" fmla="*/ 0 w 16672323"/>
              <a:gd name="connsiteY2" fmla="*/ 7053958 h 7063791"/>
              <a:gd name="connsiteX3" fmla="*/ 0 w 16672323"/>
              <a:gd name="connsiteY3" fmla="*/ 4525569 h 7063791"/>
              <a:gd name="connsiteX4" fmla="*/ 2972812 w 16672323"/>
              <a:gd name="connsiteY4" fmla="*/ 152101 h 7063791"/>
              <a:gd name="connsiteX5" fmla="*/ 3314423 w 16672323"/>
              <a:gd name="connsiteY5" fmla="*/ 4307 h 7063791"/>
              <a:gd name="connsiteX6" fmla="*/ 12175027 w 16672323"/>
              <a:gd name="connsiteY6" fmla="*/ 1408957 h 7063791"/>
              <a:gd name="connsiteX7" fmla="*/ 12395069 w 16672323"/>
              <a:gd name="connsiteY7" fmla="*/ 1539124 h 7063791"/>
              <a:gd name="connsiteX8" fmla="*/ 14668500 w 16672323"/>
              <a:gd name="connsiteY8" fmla="*/ 4498392 h 7063791"/>
              <a:gd name="connsiteX9" fmla="*/ 16672323 w 16672323"/>
              <a:gd name="connsiteY9" fmla="*/ 7053871 h 7063791"/>
              <a:gd name="connsiteX0" fmla="*/ 14668500 w 14681200"/>
              <a:gd name="connsiteY0" fmla="*/ 4498392 h 7063791"/>
              <a:gd name="connsiteX1" fmla="*/ 14681200 w 14681200"/>
              <a:gd name="connsiteY1" fmla="*/ 7063791 h 7063791"/>
              <a:gd name="connsiteX2" fmla="*/ 0 w 14681200"/>
              <a:gd name="connsiteY2" fmla="*/ 7053958 h 7063791"/>
              <a:gd name="connsiteX3" fmla="*/ 0 w 14681200"/>
              <a:gd name="connsiteY3" fmla="*/ 4525569 h 7063791"/>
              <a:gd name="connsiteX4" fmla="*/ 2972812 w 14681200"/>
              <a:gd name="connsiteY4" fmla="*/ 152101 h 7063791"/>
              <a:gd name="connsiteX5" fmla="*/ 3314423 w 14681200"/>
              <a:gd name="connsiteY5" fmla="*/ 4307 h 7063791"/>
              <a:gd name="connsiteX6" fmla="*/ 12175027 w 14681200"/>
              <a:gd name="connsiteY6" fmla="*/ 1408957 h 7063791"/>
              <a:gd name="connsiteX7" fmla="*/ 12395069 w 14681200"/>
              <a:gd name="connsiteY7" fmla="*/ 1539124 h 7063791"/>
              <a:gd name="connsiteX8" fmla="*/ 14668500 w 14681200"/>
              <a:gd name="connsiteY8" fmla="*/ 4498392 h 7063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1200" h="7063791">
                <a:moveTo>
                  <a:pt x="14668500" y="4498392"/>
                </a:moveTo>
                <a:cubicBezTo>
                  <a:pt x="14672733" y="5353525"/>
                  <a:pt x="14676967" y="6208658"/>
                  <a:pt x="14681200" y="7063791"/>
                </a:cubicBezTo>
                <a:lnTo>
                  <a:pt x="0" y="7053958"/>
                </a:lnTo>
                <a:lnTo>
                  <a:pt x="0" y="4525569"/>
                </a:lnTo>
                <a:lnTo>
                  <a:pt x="2972812" y="152101"/>
                </a:lnTo>
                <a:cubicBezTo>
                  <a:pt x="3048446" y="40778"/>
                  <a:pt x="3181565" y="-16794"/>
                  <a:pt x="3314423" y="4307"/>
                </a:cubicBezTo>
                <a:lnTo>
                  <a:pt x="12175027" y="1408957"/>
                </a:lnTo>
                <a:cubicBezTo>
                  <a:pt x="12262297" y="1422764"/>
                  <a:pt x="12340969" y="1469308"/>
                  <a:pt x="12395069" y="1539124"/>
                </a:cubicBezTo>
                <a:lnTo>
                  <a:pt x="14668500" y="4498392"/>
                </a:lnTo>
                <a:close/>
              </a:path>
            </a:pathLst>
          </a:custGeom>
          <a:solidFill>
            <a:schemeClr val="accent2"/>
          </a:solidFill>
          <a:ln w="8682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sp>
        <p:nvSpPr>
          <p:cNvPr id="5" name="Gráfico 6">
            <a:extLst>
              <a:ext uri="{FF2B5EF4-FFF2-40B4-BE49-F238E27FC236}">
                <a16:creationId xmlns:a16="http://schemas.microsoft.com/office/drawing/2014/main" id="{6BF23B58-439C-054B-935B-FF8F7C5DCC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-85941" y="1385124"/>
            <a:ext cx="18172544" cy="8711056"/>
          </a:xfrm>
          <a:custGeom>
            <a:avLst/>
            <a:gdLst>
              <a:gd name="connsiteX0" fmla="*/ 16672410 w 16672410"/>
              <a:gd name="connsiteY0" fmla="*/ 7053958 h 7053957"/>
              <a:gd name="connsiteX1" fmla="*/ 0 w 16672410"/>
              <a:gd name="connsiteY1" fmla="*/ 7053958 h 7053957"/>
              <a:gd name="connsiteX2" fmla="*/ 0 w 16672410"/>
              <a:gd name="connsiteY2" fmla="*/ 4525569 h 7053957"/>
              <a:gd name="connsiteX3" fmla="*/ 2972812 w 16672410"/>
              <a:gd name="connsiteY3" fmla="*/ 152101 h 7053957"/>
              <a:gd name="connsiteX4" fmla="*/ 3314423 w 16672410"/>
              <a:gd name="connsiteY4" fmla="*/ 4307 h 7053957"/>
              <a:gd name="connsiteX5" fmla="*/ 12175027 w 16672410"/>
              <a:gd name="connsiteY5" fmla="*/ 1408957 h 7053957"/>
              <a:gd name="connsiteX6" fmla="*/ 12395069 w 16672410"/>
              <a:gd name="connsiteY6" fmla="*/ 1539124 h 7053957"/>
              <a:gd name="connsiteX7" fmla="*/ 16672323 w 16672410"/>
              <a:gd name="connsiteY7" fmla="*/ 7053871 h 7053957"/>
              <a:gd name="connsiteX0" fmla="*/ 16672410 w 16672410"/>
              <a:gd name="connsiteY0" fmla="*/ 7053958 h 7053958"/>
              <a:gd name="connsiteX1" fmla="*/ 0 w 16672410"/>
              <a:gd name="connsiteY1" fmla="*/ 7053958 h 7053958"/>
              <a:gd name="connsiteX2" fmla="*/ 0 w 16672410"/>
              <a:gd name="connsiteY2" fmla="*/ 4525569 h 7053958"/>
              <a:gd name="connsiteX3" fmla="*/ 2972812 w 16672410"/>
              <a:gd name="connsiteY3" fmla="*/ 152101 h 7053958"/>
              <a:gd name="connsiteX4" fmla="*/ 3314423 w 16672410"/>
              <a:gd name="connsiteY4" fmla="*/ 4307 h 7053958"/>
              <a:gd name="connsiteX5" fmla="*/ 12175027 w 16672410"/>
              <a:gd name="connsiteY5" fmla="*/ 1408957 h 7053958"/>
              <a:gd name="connsiteX6" fmla="*/ 12395069 w 16672410"/>
              <a:gd name="connsiteY6" fmla="*/ 1539124 h 7053958"/>
              <a:gd name="connsiteX7" fmla="*/ 14668500 w 16672410"/>
              <a:gd name="connsiteY7" fmla="*/ 4498392 h 7053958"/>
              <a:gd name="connsiteX8" fmla="*/ 16672323 w 16672410"/>
              <a:gd name="connsiteY8" fmla="*/ 7053871 h 7053958"/>
              <a:gd name="connsiteX9" fmla="*/ 16672410 w 16672410"/>
              <a:gd name="connsiteY9" fmla="*/ 7053958 h 7053958"/>
              <a:gd name="connsiteX0" fmla="*/ 16672410 w 16672410"/>
              <a:gd name="connsiteY0" fmla="*/ 7053958 h 7063791"/>
              <a:gd name="connsiteX1" fmla="*/ 14681200 w 16672410"/>
              <a:gd name="connsiteY1" fmla="*/ 7063791 h 7063791"/>
              <a:gd name="connsiteX2" fmla="*/ 0 w 16672410"/>
              <a:gd name="connsiteY2" fmla="*/ 7053958 h 7063791"/>
              <a:gd name="connsiteX3" fmla="*/ 0 w 16672410"/>
              <a:gd name="connsiteY3" fmla="*/ 4525569 h 7063791"/>
              <a:gd name="connsiteX4" fmla="*/ 2972812 w 16672410"/>
              <a:gd name="connsiteY4" fmla="*/ 152101 h 7063791"/>
              <a:gd name="connsiteX5" fmla="*/ 3314423 w 16672410"/>
              <a:gd name="connsiteY5" fmla="*/ 4307 h 7063791"/>
              <a:gd name="connsiteX6" fmla="*/ 12175027 w 16672410"/>
              <a:gd name="connsiteY6" fmla="*/ 1408957 h 7063791"/>
              <a:gd name="connsiteX7" fmla="*/ 12395069 w 16672410"/>
              <a:gd name="connsiteY7" fmla="*/ 1539124 h 7063791"/>
              <a:gd name="connsiteX8" fmla="*/ 14668500 w 16672410"/>
              <a:gd name="connsiteY8" fmla="*/ 4498392 h 7063791"/>
              <a:gd name="connsiteX9" fmla="*/ 16672323 w 16672410"/>
              <a:gd name="connsiteY9" fmla="*/ 7053871 h 7063791"/>
              <a:gd name="connsiteX10" fmla="*/ 16672410 w 16672410"/>
              <a:gd name="connsiteY10" fmla="*/ 7053958 h 7063791"/>
              <a:gd name="connsiteX0" fmla="*/ 16672323 w 16672323"/>
              <a:gd name="connsiteY0" fmla="*/ 7053871 h 7063791"/>
              <a:gd name="connsiteX1" fmla="*/ 14681200 w 16672323"/>
              <a:gd name="connsiteY1" fmla="*/ 7063791 h 7063791"/>
              <a:gd name="connsiteX2" fmla="*/ 0 w 16672323"/>
              <a:gd name="connsiteY2" fmla="*/ 7053958 h 7063791"/>
              <a:gd name="connsiteX3" fmla="*/ 0 w 16672323"/>
              <a:gd name="connsiteY3" fmla="*/ 4525569 h 7063791"/>
              <a:gd name="connsiteX4" fmla="*/ 2972812 w 16672323"/>
              <a:gd name="connsiteY4" fmla="*/ 152101 h 7063791"/>
              <a:gd name="connsiteX5" fmla="*/ 3314423 w 16672323"/>
              <a:gd name="connsiteY5" fmla="*/ 4307 h 7063791"/>
              <a:gd name="connsiteX6" fmla="*/ 12175027 w 16672323"/>
              <a:gd name="connsiteY6" fmla="*/ 1408957 h 7063791"/>
              <a:gd name="connsiteX7" fmla="*/ 12395069 w 16672323"/>
              <a:gd name="connsiteY7" fmla="*/ 1539124 h 7063791"/>
              <a:gd name="connsiteX8" fmla="*/ 14668500 w 16672323"/>
              <a:gd name="connsiteY8" fmla="*/ 4498392 h 7063791"/>
              <a:gd name="connsiteX9" fmla="*/ 16672323 w 16672323"/>
              <a:gd name="connsiteY9" fmla="*/ 7053871 h 7063791"/>
              <a:gd name="connsiteX0" fmla="*/ 14668500 w 14681200"/>
              <a:gd name="connsiteY0" fmla="*/ 4498392 h 7063791"/>
              <a:gd name="connsiteX1" fmla="*/ 14681200 w 14681200"/>
              <a:gd name="connsiteY1" fmla="*/ 7063791 h 7063791"/>
              <a:gd name="connsiteX2" fmla="*/ 0 w 14681200"/>
              <a:gd name="connsiteY2" fmla="*/ 7053958 h 7063791"/>
              <a:gd name="connsiteX3" fmla="*/ 0 w 14681200"/>
              <a:gd name="connsiteY3" fmla="*/ 4525569 h 7063791"/>
              <a:gd name="connsiteX4" fmla="*/ 2972812 w 14681200"/>
              <a:gd name="connsiteY4" fmla="*/ 152101 h 7063791"/>
              <a:gd name="connsiteX5" fmla="*/ 3314423 w 14681200"/>
              <a:gd name="connsiteY5" fmla="*/ 4307 h 7063791"/>
              <a:gd name="connsiteX6" fmla="*/ 12175027 w 14681200"/>
              <a:gd name="connsiteY6" fmla="*/ 1408957 h 7063791"/>
              <a:gd name="connsiteX7" fmla="*/ 12395069 w 14681200"/>
              <a:gd name="connsiteY7" fmla="*/ 1539124 h 7063791"/>
              <a:gd name="connsiteX8" fmla="*/ 14668500 w 14681200"/>
              <a:gd name="connsiteY8" fmla="*/ 4498392 h 7063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1200" h="7063791">
                <a:moveTo>
                  <a:pt x="14668500" y="4498392"/>
                </a:moveTo>
                <a:cubicBezTo>
                  <a:pt x="14672733" y="5353525"/>
                  <a:pt x="14676967" y="6208658"/>
                  <a:pt x="14681200" y="7063791"/>
                </a:cubicBezTo>
                <a:lnTo>
                  <a:pt x="0" y="7053958"/>
                </a:lnTo>
                <a:lnTo>
                  <a:pt x="0" y="4525569"/>
                </a:lnTo>
                <a:lnTo>
                  <a:pt x="2972812" y="152101"/>
                </a:lnTo>
                <a:cubicBezTo>
                  <a:pt x="3048446" y="40778"/>
                  <a:pt x="3181565" y="-16794"/>
                  <a:pt x="3314423" y="4307"/>
                </a:cubicBezTo>
                <a:lnTo>
                  <a:pt x="12175027" y="1408957"/>
                </a:lnTo>
                <a:cubicBezTo>
                  <a:pt x="12262297" y="1422764"/>
                  <a:pt x="12340969" y="1469308"/>
                  <a:pt x="12395069" y="1539124"/>
                </a:cubicBezTo>
                <a:lnTo>
                  <a:pt x="14668500" y="4498392"/>
                </a:lnTo>
                <a:close/>
              </a:path>
            </a:pathLst>
          </a:custGeom>
          <a:solidFill>
            <a:schemeClr val="bg1"/>
          </a:solidFill>
          <a:ln w="8682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205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22FCADA-27F1-FD6C-CD7D-C701DD0FA5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9708" y="4642570"/>
            <a:ext cx="4121247" cy="79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3129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_Dire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áfico 36">
            <a:extLst>
              <a:ext uri="{FF2B5EF4-FFF2-40B4-BE49-F238E27FC236}">
                <a16:creationId xmlns:a16="http://schemas.microsoft.com/office/drawing/2014/main" id="{30BFDD4C-8261-4982-60A1-AB3D3833A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63421" y="453085"/>
            <a:ext cx="1942692" cy="37498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131A950-EF6E-21CB-0E0A-5CECE9B4DCC0}"/>
              </a:ext>
            </a:extLst>
          </p:cNvPr>
          <p:cNvSpPr txBox="1"/>
          <p:nvPr userDrawn="1"/>
        </p:nvSpPr>
        <p:spPr>
          <a:xfrm>
            <a:off x="-4314750" y="245744"/>
            <a:ext cx="3679771" cy="9585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06126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8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75A95B8C-0767-9A22-C092-F3433C544CC2}"/>
              </a:ext>
            </a:extLst>
          </p:cNvPr>
          <p:cNvSpPr txBox="1"/>
          <p:nvPr userDrawn="1"/>
        </p:nvSpPr>
        <p:spPr>
          <a:xfrm>
            <a:off x="-4314750" y="245744"/>
            <a:ext cx="3679771" cy="360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DIRETRIZES, BOAS PRÁTICAS E DICAS: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  <a:p>
            <a:pPr marL="105005" marR="0" lvl="2" indent="-105005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marR="0" lvl="2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2258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096A5E-523D-5513-4B1B-2AF158B2EE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0083" y="1649770"/>
            <a:ext cx="13500497" cy="3509551"/>
          </a:xfrm>
        </p:spPr>
        <p:txBody>
          <a:bodyPr anchor="b"/>
          <a:lstStyle>
            <a:lvl1pPr algn="ctr"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A246D6D-5483-A58A-E2A0-533DD568D4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0083" y="5294662"/>
            <a:ext cx="13500497" cy="2433817"/>
          </a:xfrm>
        </p:spPr>
        <p:txBody>
          <a:bodyPr/>
          <a:lstStyle>
            <a:lvl1pPr marL="0" indent="0" algn="ctr">
              <a:buNone/>
              <a:defRPr sz="3528"/>
            </a:lvl1pPr>
            <a:lvl2pPr marL="672038" indent="0" algn="ctr">
              <a:buNone/>
              <a:defRPr sz="2940"/>
            </a:lvl2pPr>
            <a:lvl3pPr marL="1344077" indent="0" algn="ctr">
              <a:buNone/>
              <a:defRPr sz="2646"/>
            </a:lvl3pPr>
            <a:lvl4pPr marL="2016115" indent="0" algn="ctr">
              <a:buNone/>
              <a:defRPr sz="2352"/>
            </a:lvl4pPr>
            <a:lvl5pPr marL="2688153" indent="0" algn="ctr">
              <a:buNone/>
              <a:defRPr sz="2352"/>
            </a:lvl5pPr>
            <a:lvl6pPr marL="3360191" indent="0" algn="ctr">
              <a:buNone/>
              <a:defRPr sz="2352"/>
            </a:lvl6pPr>
            <a:lvl7pPr marL="4032230" indent="0" algn="ctr">
              <a:buNone/>
              <a:defRPr sz="2352"/>
            </a:lvl7pPr>
            <a:lvl8pPr marL="4704268" indent="0" algn="ctr">
              <a:buNone/>
              <a:defRPr sz="2352"/>
            </a:lvl8pPr>
            <a:lvl9pPr marL="5376306" indent="0" algn="ctr">
              <a:buNone/>
              <a:defRPr sz="2352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8C6782F-AE60-B174-E36F-AE8EEA19B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AACBAE7-C089-A109-37E7-6CC180B32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6F39F78-1FF5-5929-4424-6BB132ADC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50460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29781F-BF8D-EA5A-329D-B6C8F3011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88C322B-22DB-1FEB-DB62-07047506EA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885874A-B249-B952-75E6-AED7DEF31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D31A07-09AE-0C69-DF88-F1AFA449D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9391AA8-BCCA-160A-04C6-87364D62A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13978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245351C-6F50-4759-A5C6-0286279C69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7331"/>
            <a:ext cx="17934490" cy="1011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96945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2C8C02-DE8E-1E33-9E50-AD5ACD076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8170" y="2513157"/>
            <a:ext cx="15525572" cy="4193259"/>
          </a:xfrm>
        </p:spPr>
        <p:txBody>
          <a:bodyPr anchor="b"/>
          <a:lstStyle>
            <a:lvl1pPr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13124C5-E3DB-6BC1-4DA7-42CAA9FFA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28170" y="6746086"/>
            <a:ext cx="15525572" cy="2205136"/>
          </a:xfrm>
        </p:spPr>
        <p:txBody>
          <a:bodyPr/>
          <a:lstStyle>
            <a:lvl1pPr marL="0" indent="0">
              <a:buNone/>
              <a:defRPr sz="3528">
                <a:solidFill>
                  <a:schemeClr val="tx1">
                    <a:tint val="82000"/>
                  </a:schemeClr>
                </a:solidFill>
              </a:defRPr>
            </a:lvl1pPr>
            <a:lvl2pPr marL="672038" indent="0">
              <a:buNone/>
              <a:defRPr sz="2940">
                <a:solidFill>
                  <a:schemeClr val="tx1">
                    <a:tint val="82000"/>
                  </a:schemeClr>
                </a:solidFill>
              </a:defRPr>
            </a:lvl2pPr>
            <a:lvl3pPr marL="1344077" indent="0">
              <a:buNone/>
              <a:defRPr sz="2646">
                <a:solidFill>
                  <a:schemeClr val="tx1">
                    <a:tint val="82000"/>
                  </a:schemeClr>
                </a:solidFill>
              </a:defRPr>
            </a:lvl3pPr>
            <a:lvl4pPr marL="2016115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4pPr>
            <a:lvl5pPr marL="2688153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5pPr>
            <a:lvl6pPr marL="3360191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6pPr>
            <a:lvl7pPr marL="4032230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7pPr>
            <a:lvl8pPr marL="4704268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8pPr>
            <a:lvl9pPr marL="5376306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CC087D-81D8-1914-9B10-B7DDA39D9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C41CCD-4331-FAB4-373F-7D058F8BC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2E9AB26-9567-F2F9-9629-AB9744AAB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666355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50134C-5E98-94E7-E7A9-FF89C9D77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7308005-D1C6-09D7-E85B-63530ACDB6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7545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3544D4D-1623-19E7-3932-C8F7885A0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836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2287833-DDCC-D2FD-D291-EB0A03A36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B2E8096-DA36-B826-ED0E-D96BCF383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7A8F019-BE90-26D2-3AEF-0B4C73052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266899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8617D5-C859-C456-F143-53FFCDAA0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0" y="536701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C73F6EB-AD4F-ED6D-4586-2C240D3E5D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9891" y="2471154"/>
            <a:ext cx="7615123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6F1BA51-5D42-6EE0-ED15-8CBFD1EF5E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9891" y="3682228"/>
            <a:ext cx="7615123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5440730-7FE1-DE87-F65F-EBB5C81312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12836" y="2471154"/>
            <a:ext cx="7652626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7AA5185E-5AB7-36CE-699B-8B0D5ED73A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112836" y="3682228"/>
            <a:ext cx="7652626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3DE98990-D466-D52B-0C2D-A8E111A50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0C364AC-2EC8-CB14-14AA-DFA459C93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B70F32C-1940-74FC-ED2E-E35A9213B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78927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1B5A1B-16E1-B66E-9800-C075399C8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98901F2-B775-D554-62E4-4D3A289E3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949010C-1553-2D43-7911-F5F9DE473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F135615-8510-2418-DA1B-7E8AA2283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9767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49AFA064-8609-784A-FC3E-5D6E880C4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ECAC9FF-912C-E9E6-B530-2D5519823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599F5CC-62D7-7BBB-9799-AD928E22A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812498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6BF8F5-9D94-CFF2-86A6-4B9FE1E30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308CC2-0C88-A088-2035-9FE76A962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>
              <a:defRPr sz="4704"/>
            </a:lvl1pPr>
            <a:lvl2pPr>
              <a:defRPr sz="4116"/>
            </a:lvl2pPr>
            <a:lvl3pPr>
              <a:defRPr sz="3528"/>
            </a:lvl3pPr>
            <a:lvl4pPr>
              <a:defRPr sz="2940"/>
            </a:lvl4pPr>
            <a:lvl5pPr>
              <a:defRPr sz="2940"/>
            </a:lvl5pPr>
            <a:lvl6pPr>
              <a:defRPr sz="2940"/>
            </a:lvl6pPr>
            <a:lvl7pPr>
              <a:defRPr sz="2940"/>
            </a:lvl7pPr>
            <a:lvl8pPr>
              <a:defRPr sz="2940"/>
            </a:lvl8pPr>
            <a:lvl9pPr>
              <a:defRPr sz="294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2DBD6E2-7689-7018-17B0-70193D9C9B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3348DD6-D839-AF81-BA11-BBCD5FB6A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C46523F-4582-C038-9970-52B6F5189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4721996-9179-E5F5-044E-4C79E3938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625170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EDDDAA-6A6F-1A48-363F-D371F478D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5FFB0D4-CC17-4E43-0BF2-BC28646D48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 marL="0" indent="0">
              <a:buNone/>
              <a:defRPr sz="4704"/>
            </a:lvl1pPr>
            <a:lvl2pPr marL="672038" indent="0">
              <a:buNone/>
              <a:defRPr sz="4116"/>
            </a:lvl2pPr>
            <a:lvl3pPr marL="1344077" indent="0">
              <a:buNone/>
              <a:defRPr sz="3528"/>
            </a:lvl3pPr>
            <a:lvl4pPr marL="2016115" indent="0">
              <a:buNone/>
              <a:defRPr sz="2940"/>
            </a:lvl4pPr>
            <a:lvl5pPr marL="2688153" indent="0">
              <a:buNone/>
              <a:defRPr sz="2940"/>
            </a:lvl5pPr>
            <a:lvl6pPr marL="3360191" indent="0">
              <a:buNone/>
              <a:defRPr sz="2940"/>
            </a:lvl6pPr>
            <a:lvl7pPr marL="4032230" indent="0">
              <a:buNone/>
              <a:defRPr sz="2940"/>
            </a:lvl7pPr>
            <a:lvl8pPr marL="4704268" indent="0">
              <a:buNone/>
              <a:defRPr sz="2940"/>
            </a:lvl8pPr>
            <a:lvl9pPr marL="5376306" indent="0">
              <a:buNone/>
              <a:defRPr sz="294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58B6CC5-C6C1-AC49-D00C-0A158BE7E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4E903DA-B0D7-322B-082A-E1E7ECA0A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EE79BA7-039E-1CB8-954E-1D7293C0A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3CF873F-A1D0-508D-294A-D8BFA6E47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5673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BDE6DB-1035-DCAC-36CB-6BBFD945A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E4FE913-9710-B687-9006-85258D0E2B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6CF3729-9AF0-E692-B794-1438AA4E8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D0BE678-2FDE-0A14-0B88-64A8F82AB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6075BAB-C259-A0AD-5F7E-1FA652956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421394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937AA202-FD4C-93ED-B7B0-2B11555F4D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881724" y="536700"/>
            <a:ext cx="3881393" cy="854286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0FF8C18-6A9D-7B97-327C-D0AA253440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37545" y="536700"/>
            <a:ext cx="11419171" cy="8542864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B198275-8071-6E1C-47EF-537726E3F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097B751-1192-AAB3-10D1-D3A8C832B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8F107BD-E78D-E96D-89CE-8E4D14086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085721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9316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660A963-2C62-E7DC-096F-37E645254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F554A6E-54AC-23C1-D1CE-15430CA8EF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7811006-069E-641E-C387-2338848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 descr="Navio na água&#10;&#10;Descrição gerada automaticamente com confiança média">
            <a:extLst>
              <a:ext uri="{FF2B5EF4-FFF2-40B4-BE49-F238E27FC236}">
                <a16:creationId xmlns:a16="http://schemas.microsoft.com/office/drawing/2014/main" id="{594B01D9-DD0A-F099-4E16-29339C3623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" b="9173"/>
          <a:stretch/>
        </p:blipFill>
        <p:spPr>
          <a:xfrm flipH="1">
            <a:off x="37787" y="0"/>
            <a:ext cx="17962877" cy="10080626"/>
          </a:xfrm>
          <a:custGeom>
            <a:avLst/>
            <a:gdLst/>
            <a:ahLst/>
            <a:cxnLst/>
            <a:rect l="l" t="t" r="r" b="b"/>
            <a:pathLst>
              <a:path w="17962877" h="10080626">
                <a:moveTo>
                  <a:pt x="1086794" y="5954291"/>
                </a:moveTo>
                <a:cubicBezTo>
                  <a:pt x="1100516" y="5954291"/>
                  <a:pt x="1112176" y="5959093"/>
                  <a:pt x="1121780" y="5968697"/>
                </a:cubicBezTo>
                <a:cubicBezTo>
                  <a:pt x="1131384" y="5978301"/>
                  <a:pt x="1136188" y="5989964"/>
                  <a:pt x="1136188" y="6003684"/>
                </a:cubicBezTo>
                <a:cubicBezTo>
                  <a:pt x="1136188" y="6017404"/>
                  <a:pt x="1131384" y="6029111"/>
                  <a:pt x="1121780" y="6038807"/>
                </a:cubicBezTo>
                <a:cubicBezTo>
                  <a:pt x="1112176" y="6048503"/>
                  <a:pt x="1100516" y="6053350"/>
                  <a:pt x="1086794" y="6053350"/>
                </a:cubicBezTo>
                <a:cubicBezTo>
                  <a:pt x="1073074" y="6053350"/>
                  <a:pt x="1061412" y="6048503"/>
                  <a:pt x="1051808" y="6038807"/>
                </a:cubicBezTo>
                <a:cubicBezTo>
                  <a:pt x="1042204" y="6029111"/>
                  <a:pt x="1037402" y="6017404"/>
                  <a:pt x="1037402" y="6003684"/>
                </a:cubicBezTo>
                <a:cubicBezTo>
                  <a:pt x="1037402" y="5989964"/>
                  <a:pt x="1042204" y="5978301"/>
                  <a:pt x="1051808" y="5968697"/>
                </a:cubicBezTo>
                <a:cubicBezTo>
                  <a:pt x="1061412" y="5959093"/>
                  <a:pt x="1073074" y="5954291"/>
                  <a:pt x="1086794" y="5954291"/>
                </a:cubicBezTo>
                <a:close/>
                <a:moveTo>
                  <a:pt x="1292498" y="5897764"/>
                </a:moveTo>
                <a:cubicBezTo>
                  <a:pt x="1286644" y="5897764"/>
                  <a:pt x="1277864" y="5898954"/>
                  <a:pt x="1266156" y="5901332"/>
                </a:cubicBezTo>
                <a:lnTo>
                  <a:pt x="1266156" y="5928772"/>
                </a:lnTo>
                <a:cubicBezTo>
                  <a:pt x="1266156" y="5969932"/>
                  <a:pt x="1286736" y="5990512"/>
                  <a:pt x="1327896" y="5990512"/>
                </a:cubicBezTo>
                <a:cubicBezTo>
                  <a:pt x="1358446" y="5990512"/>
                  <a:pt x="1373722" y="5977341"/>
                  <a:pt x="1373722" y="5950998"/>
                </a:cubicBezTo>
                <a:cubicBezTo>
                  <a:pt x="1373722" y="5915509"/>
                  <a:pt x="1346647" y="5897764"/>
                  <a:pt x="1292498" y="5897764"/>
                </a:cubicBezTo>
                <a:close/>
                <a:moveTo>
                  <a:pt x="3273698" y="5897764"/>
                </a:moveTo>
                <a:cubicBezTo>
                  <a:pt x="3267844" y="5897764"/>
                  <a:pt x="3259064" y="5898954"/>
                  <a:pt x="3247356" y="5901332"/>
                </a:cubicBezTo>
                <a:lnTo>
                  <a:pt x="3247356" y="5928772"/>
                </a:lnTo>
                <a:cubicBezTo>
                  <a:pt x="3247356" y="5969932"/>
                  <a:pt x="3267936" y="5990512"/>
                  <a:pt x="3309096" y="5990512"/>
                </a:cubicBezTo>
                <a:cubicBezTo>
                  <a:pt x="3339646" y="5990512"/>
                  <a:pt x="3354921" y="5977341"/>
                  <a:pt x="3354921" y="5950998"/>
                </a:cubicBezTo>
                <a:cubicBezTo>
                  <a:pt x="3354921" y="5915509"/>
                  <a:pt x="3327847" y="5897764"/>
                  <a:pt x="3273698" y="5897764"/>
                </a:cubicBezTo>
                <a:close/>
                <a:moveTo>
                  <a:pt x="4728200" y="5798431"/>
                </a:moveTo>
                <a:cubicBezTo>
                  <a:pt x="4708444" y="5798431"/>
                  <a:pt x="4692437" y="5804102"/>
                  <a:pt x="4680180" y="5815444"/>
                </a:cubicBezTo>
                <a:lnTo>
                  <a:pt x="4680180" y="5972951"/>
                </a:lnTo>
                <a:cubicBezTo>
                  <a:pt x="4693351" y="5982463"/>
                  <a:pt x="4710090" y="5987219"/>
                  <a:pt x="4730396" y="5987219"/>
                </a:cubicBezTo>
                <a:cubicBezTo>
                  <a:pt x="4785825" y="5987219"/>
                  <a:pt x="4813539" y="5956669"/>
                  <a:pt x="4813539" y="5895569"/>
                </a:cubicBezTo>
                <a:cubicBezTo>
                  <a:pt x="4813539" y="5866117"/>
                  <a:pt x="4805993" y="5842564"/>
                  <a:pt x="4790901" y="5824911"/>
                </a:cubicBezTo>
                <a:cubicBezTo>
                  <a:pt x="4775809" y="5807258"/>
                  <a:pt x="4754909" y="5798431"/>
                  <a:pt x="4728200" y="5798431"/>
                </a:cubicBezTo>
                <a:close/>
                <a:moveTo>
                  <a:pt x="4124167" y="5797608"/>
                </a:moveTo>
                <a:cubicBezTo>
                  <a:pt x="4081361" y="5797608"/>
                  <a:pt x="4057579" y="5819103"/>
                  <a:pt x="4052823" y="5862092"/>
                </a:cubicBezTo>
                <a:lnTo>
                  <a:pt x="4197158" y="5862092"/>
                </a:lnTo>
                <a:cubicBezTo>
                  <a:pt x="4187646" y="5819103"/>
                  <a:pt x="4163316" y="5797608"/>
                  <a:pt x="4124167" y="5797608"/>
                </a:cubicBezTo>
                <a:close/>
                <a:moveTo>
                  <a:pt x="2282080" y="5796236"/>
                </a:moveTo>
                <a:cubicBezTo>
                  <a:pt x="2235614" y="5796236"/>
                  <a:pt x="2212382" y="5828158"/>
                  <a:pt x="2212382" y="5892002"/>
                </a:cubicBezTo>
                <a:cubicBezTo>
                  <a:pt x="2212382" y="5923101"/>
                  <a:pt x="2218648" y="5947065"/>
                  <a:pt x="2231178" y="5963895"/>
                </a:cubicBezTo>
                <a:cubicBezTo>
                  <a:pt x="2243709" y="5980725"/>
                  <a:pt x="2260676" y="5989140"/>
                  <a:pt x="2282080" y="5989140"/>
                </a:cubicBezTo>
                <a:cubicBezTo>
                  <a:pt x="2328728" y="5989140"/>
                  <a:pt x="2352052" y="5956761"/>
                  <a:pt x="2352052" y="5892002"/>
                </a:cubicBezTo>
                <a:cubicBezTo>
                  <a:pt x="2352052" y="5861818"/>
                  <a:pt x="2345741" y="5838311"/>
                  <a:pt x="2333118" y="5821481"/>
                </a:cubicBezTo>
                <a:cubicBezTo>
                  <a:pt x="2320496" y="5804651"/>
                  <a:pt x="2303483" y="5796236"/>
                  <a:pt x="2282080" y="5796236"/>
                </a:cubicBezTo>
                <a:close/>
                <a:moveTo>
                  <a:pt x="4566364" y="5745746"/>
                </a:moveTo>
                <a:lnTo>
                  <a:pt x="4566364" y="5936455"/>
                </a:lnTo>
                <a:cubicBezTo>
                  <a:pt x="4566364" y="6008897"/>
                  <a:pt x="4532246" y="6045118"/>
                  <a:pt x="4464012" y="6045118"/>
                </a:cubicBezTo>
                <a:cubicBezTo>
                  <a:pt x="4449743" y="6045118"/>
                  <a:pt x="4434102" y="6042191"/>
                  <a:pt x="4417089" y="6036337"/>
                </a:cubicBezTo>
                <a:cubicBezTo>
                  <a:pt x="4400076" y="6030483"/>
                  <a:pt x="4386722" y="6023441"/>
                  <a:pt x="4377026" y="6015208"/>
                </a:cubicBezTo>
                <a:lnTo>
                  <a:pt x="4377026" y="6039905"/>
                </a:lnTo>
                <a:lnTo>
                  <a:pt x="4308426" y="6039905"/>
                </a:lnTo>
                <a:lnTo>
                  <a:pt x="4308426" y="5745746"/>
                </a:lnTo>
                <a:lnTo>
                  <a:pt x="4377026" y="5745746"/>
                </a:lnTo>
                <a:lnTo>
                  <a:pt x="4377026" y="5947706"/>
                </a:lnTo>
                <a:cubicBezTo>
                  <a:pt x="4381417" y="5958316"/>
                  <a:pt x="4390289" y="5967645"/>
                  <a:pt x="4403643" y="5975695"/>
                </a:cubicBezTo>
                <a:cubicBezTo>
                  <a:pt x="4416998" y="5983744"/>
                  <a:pt x="4431450" y="5987768"/>
                  <a:pt x="4446999" y="5987768"/>
                </a:cubicBezTo>
                <a:cubicBezTo>
                  <a:pt x="4480842" y="5987768"/>
                  <a:pt x="4497763" y="5968926"/>
                  <a:pt x="4497763" y="5931242"/>
                </a:cubicBezTo>
                <a:lnTo>
                  <a:pt x="4497763" y="5745746"/>
                </a:lnTo>
                <a:close/>
                <a:moveTo>
                  <a:pt x="1327622" y="5740258"/>
                </a:moveTo>
                <a:cubicBezTo>
                  <a:pt x="1360184" y="5740258"/>
                  <a:pt x="1388264" y="5745929"/>
                  <a:pt x="1411864" y="5757271"/>
                </a:cubicBezTo>
                <a:lnTo>
                  <a:pt x="1397046" y="5810505"/>
                </a:lnTo>
                <a:cubicBezTo>
                  <a:pt x="1379666" y="5801907"/>
                  <a:pt x="1358080" y="5797608"/>
                  <a:pt x="1332286" y="5797608"/>
                </a:cubicBezTo>
                <a:cubicBezTo>
                  <a:pt x="1288565" y="5797608"/>
                  <a:pt x="1266704" y="5814895"/>
                  <a:pt x="1266704" y="5849470"/>
                </a:cubicBezTo>
                <a:cubicBezTo>
                  <a:pt x="1277680" y="5846726"/>
                  <a:pt x="1287193" y="5845354"/>
                  <a:pt x="1295242" y="5845354"/>
                </a:cubicBezTo>
                <a:cubicBezTo>
                  <a:pt x="1342256" y="5845354"/>
                  <a:pt x="1378524" y="5854958"/>
                  <a:pt x="1404043" y="5874166"/>
                </a:cubicBezTo>
                <a:cubicBezTo>
                  <a:pt x="1429562" y="5893374"/>
                  <a:pt x="1442322" y="5919991"/>
                  <a:pt x="1442322" y="5954017"/>
                </a:cubicBezTo>
                <a:cubicBezTo>
                  <a:pt x="1442322" y="5983103"/>
                  <a:pt x="1433267" y="6005559"/>
                  <a:pt x="1415156" y="6021383"/>
                </a:cubicBezTo>
                <a:cubicBezTo>
                  <a:pt x="1397046" y="6037206"/>
                  <a:pt x="1372166" y="6045118"/>
                  <a:pt x="1340518" y="6045118"/>
                </a:cubicBezTo>
                <a:cubicBezTo>
                  <a:pt x="1323688" y="6045118"/>
                  <a:pt x="1307545" y="6041871"/>
                  <a:pt x="1292087" y="6035377"/>
                </a:cubicBezTo>
                <a:cubicBezTo>
                  <a:pt x="1276628" y="6028883"/>
                  <a:pt x="1265790" y="6020514"/>
                  <a:pt x="1259570" y="6010269"/>
                </a:cubicBezTo>
                <a:cubicBezTo>
                  <a:pt x="1256826" y="6018867"/>
                  <a:pt x="1251521" y="6026825"/>
                  <a:pt x="1243655" y="6034142"/>
                </a:cubicBezTo>
                <a:cubicBezTo>
                  <a:pt x="1235789" y="6041460"/>
                  <a:pt x="1226916" y="6045118"/>
                  <a:pt x="1217038" y="6045118"/>
                </a:cubicBezTo>
                <a:cubicBezTo>
                  <a:pt x="1208074" y="6045118"/>
                  <a:pt x="1200116" y="6043975"/>
                  <a:pt x="1193164" y="6041688"/>
                </a:cubicBezTo>
                <a:cubicBezTo>
                  <a:pt x="1186214" y="6039402"/>
                  <a:pt x="1179902" y="6033319"/>
                  <a:pt x="1174232" y="6023441"/>
                </a:cubicBezTo>
                <a:cubicBezTo>
                  <a:pt x="1189964" y="6013379"/>
                  <a:pt x="1197830" y="5988774"/>
                  <a:pt x="1197830" y="5949626"/>
                </a:cubicBezTo>
                <a:lnTo>
                  <a:pt x="1197830" y="5886788"/>
                </a:lnTo>
                <a:cubicBezTo>
                  <a:pt x="1197830" y="5829896"/>
                  <a:pt x="1208256" y="5791251"/>
                  <a:pt x="1229112" y="5770854"/>
                </a:cubicBezTo>
                <a:cubicBezTo>
                  <a:pt x="1249966" y="5750456"/>
                  <a:pt x="1282803" y="5740258"/>
                  <a:pt x="1327622" y="5740258"/>
                </a:cubicBezTo>
                <a:close/>
                <a:moveTo>
                  <a:pt x="1754833" y="5740258"/>
                </a:moveTo>
                <a:cubicBezTo>
                  <a:pt x="1785017" y="5740258"/>
                  <a:pt x="1809622" y="5750685"/>
                  <a:pt x="1828647" y="5771540"/>
                </a:cubicBezTo>
                <a:lnTo>
                  <a:pt x="1842642" y="5745746"/>
                </a:lnTo>
                <a:lnTo>
                  <a:pt x="1889839" y="5745746"/>
                </a:lnTo>
                <a:lnTo>
                  <a:pt x="1889839" y="6039630"/>
                </a:lnTo>
                <a:lnTo>
                  <a:pt x="1821238" y="6039630"/>
                </a:lnTo>
                <a:lnTo>
                  <a:pt x="1821238" y="5828341"/>
                </a:lnTo>
                <a:cubicBezTo>
                  <a:pt x="1816665" y="5820658"/>
                  <a:pt x="1809302" y="5813615"/>
                  <a:pt x="1799149" y="5807212"/>
                </a:cubicBezTo>
                <a:cubicBezTo>
                  <a:pt x="1788996" y="5800809"/>
                  <a:pt x="1779621" y="5797608"/>
                  <a:pt x="1771023" y="5797608"/>
                </a:cubicBezTo>
                <a:cubicBezTo>
                  <a:pt x="1754742" y="5797608"/>
                  <a:pt x="1742119" y="5801861"/>
                  <a:pt x="1733155" y="5810367"/>
                </a:cubicBezTo>
                <a:cubicBezTo>
                  <a:pt x="1724192" y="5818874"/>
                  <a:pt x="1719710" y="5830353"/>
                  <a:pt x="1719710" y="5844805"/>
                </a:cubicBezTo>
                <a:lnTo>
                  <a:pt x="1719710" y="6039630"/>
                </a:lnTo>
                <a:lnTo>
                  <a:pt x="1651109" y="6039630"/>
                </a:lnTo>
                <a:lnTo>
                  <a:pt x="1651109" y="5827518"/>
                </a:lnTo>
                <a:cubicBezTo>
                  <a:pt x="1647268" y="5819651"/>
                  <a:pt x="1640590" y="5812700"/>
                  <a:pt x="1631078" y="5806663"/>
                </a:cubicBezTo>
                <a:cubicBezTo>
                  <a:pt x="1621565" y="5800626"/>
                  <a:pt x="1611687" y="5797608"/>
                  <a:pt x="1601442" y="5797608"/>
                </a:cubicBezTo>
                <a:cubicBezTo>
                  <a:pt x="1566868" y="5797608"/>
                  <a:pt x="1549580" y="5816907"/>
                  <a:pt x="1549580" y="5855507"/>
                </a:cubicBezTo>
                <a:lnTo>
                  <a:pt x="1549580" y="6039630"/>
                </a:lnTo>
                <a:lnTo>
                  <a:pt x="1480980" y="6039630"/>
                </a:lnTo>
                <a:lnTo>
                  <a:pt x="1480980" y="5845628"/>
                </a:lnTo>
                <a:cubicBezTo>
                  <a:pt x="1480980" y="5812883"/>
                  <a:pt x="1490081" y="5787135"/>
                  <a:pt x="1508283" y="5768384"/>
                </a:cubicBezTo>
                <a:cubicBezTo>
                  <a:pt x="1526485" y="5749633"/>
                  <a:pt x="1551958" y="5740258"/>
                  <a:pt x="1584704" y="5740258"/>
                </a:cubicBezTo>
                <a:cubicBezTo>
                  <a:pt x="1600070" y="5740258"/>
                  <a:pt x="1615437" y="5743139"/>
                  <a:pt x="1630804" y="5748901"/>
                </a:cubicBezTo>
                <a:cubicBezTo>
                  <a:pt x="1646170" y="5754664"/>
                  <a:pt x="1658152" y="5762393"/>
                  <a:pt x="1666750" y="5772088"/>
                </a:cubicBezTo>
                <a:cubicBezTo>
                  <a:pt x="1686507" y="5750868"/>
                  <a:pt x="1715868" y="5740258"/>
                  <a:pt x="1754833" y="5740258"/>
                </a:cubicBezTo>
                <a:close/>
                <a:moveTo>
                  <a:pt x="1963755" y="5740258"/>
                </a:moveTo>
                <a:cubicBezTo>
                  <a:pt x="1995586" y="5740258"/>
                  <a:pt x="2021105" y="5751051"/>
                  <a:pt x="2040313" y="5772637"/>
                </a:cubicBezTo>
                <a:lnTo>
                  <a:pt x="2040313" y="5745746"/>
                </a:lnTo>
                <a:lnTo>
                  <a:pt x="2108914" y="5745746"/>
                </a:lnTo>
                <a:lnTo>
                  <a:pt x="2108914" y="6039630"/>
                </a:lnTo>
                <a:lnTo>
                  <a:pt x="2040313" y="6039630"/>
                </a:lnTo>
                <a:lnTo>
                  <a:pt x="2040313" y="5872245"/>
                </a:lnTo>
                <a:cubicBezTo>
                  <a:pt x="2040313" y="5851391"/>
                  <a:pt x="2034139" y="5833737"/>
                  <a:pt x="2021791" y="5819286"/>
                </a:cubicBezTo>
                <a:cubicBezTo>
                  <a:pt x="2009443" y="5804834"/>
                  <a:pt x="1995311" y="5797608"/>
                  <a:pt x="1979396" y="5797608"/>
                </a:cubicBezTo>
                <a:cubicBezTo>
                  <a:pt x="1964761" y="5797608"/>
                  <a:pt x="1951316" y="5801632"/>
                  <a:pt x="1939059" y="5809681"/>
                </a:cubicBezTo>
                <a:lnTo>
                  <a:pt x="1909972" y="5750959"/>
                </a:lnTo>
                <a:cubicBezTo>
                  <a:pt x="1922412" y="5743825"/>
                  <a:pt x="1940340" y="5740258"/>
                  <a:pt x="1963755" y="5740258"/>
                </a:cubicBezTo>
                <a:close/>
                <a:moveTo>
                  <a:pt x="2282080" y="5740258"/>
                </a:moveTo>
                <a:cubicBezTo>
                  <a:pt x="2324520" y="5740258"/>
                  <a:pt x="2358684" y="5754344"/>
                  <a:pt x="2384569" y="5782516"/>
                </a:cubicBezTo>
                <a:cubicBezTo>
                  <a:pt x="2410454" y="5810688"/>
                  <a:pt x="2423397" y="5847183"/>
                  <a:pt x="2423397" y="5892002"/>
                </a:cubicBezTo>
                <a:cubicBezTo>
                  <a:pt x="2423397" y="5938284"/>
                  <a:pt x="2411003" y="5975374"/>
                  <a:pt x="2386215" y="6003272"/>
                </a:cubicBezTo>
                <a:cubicBezTo>
                  <a:pt x="2361428" y="6031169"/>
                  <a:pt x="2326716" y="6045118"/>
                  <a:pt x="2282080" y="6045118"/>
                </a:cubicBezTo>
                <a:cubicBezTo>
                  <a:pt x="2238358" y="6045118"/>
                  <a:pt x="2203921" y="6031307"/>
                  <a:pt x="2178768" y="6003684"/>
                </a:cubicBezTo>
                <a:cubicBezTo>
                  <a:pt x="2153614" y="5976060"/>
                  <a:pt x="2141037" y="5938833"/>
                  <a:pt x="2141037" y="5892002"/>
                </a:cubicBezTo>
                <a:cubicBezTo>
                  <a:pt x="2141037" y="5844988"/>
                  <a:pt x="2153386" y="5807944"/>
                  <a:pt x="2178082" y="5780869"/>
                </a:cubicBezTo>
                <a:cubicBezTo>
                  <a:pt x="2202778" y="5753795"/>
                  <a:pt x="2237444" y="5740258"/>
                  <a:pt x="2282080" y="5740258"/>
                </a:cubicBezTo>
                <a:close/>
                <a:moveTo>
                  <a:pt x="2729522" y="5740258"/>
                </a:moveTo>
                <a:cubicBezTo>
                  <a:pt x="2759706" y="5740258"/>
                  <a:pt x="2784494" y="5747346"/>
                  <a:pt x="2803885" y="5761524"/>
                </a:cubicBezTo>
                <a:cubicBezTo>
                  <a:pt x="2823276" y="5775701"/>
                  <a:pt x="2832972" y="5795504"/>
                  <a:pt x="2832972" y="5820932"/>
                </a:cubicBezTo>
                <a:cubicBezTo>
                  <a:pt x="2832972" y="5858799"/>
                  <a:pt x="2807636" y="5888252"/>
                  <a:pt x="2756962" y="5909289"/>
                </a:cubicBezTo>
                <a:cubicBezTo>
                  <a:pt x="2733730" y="5918985"/>
                  <a:pt x="2718089" y="5927400"/>
                  <a:pt x="2710040" y="5934534"/>
                </a:cubicBezTo>
                <a:cubicBezTo>
                  <a:pt x="2701990" y="5941669"/>
                  <a:pt x="2697966" y="5950815"/>
                  <a:pt x="2697966" y="5961975"/>
                </a:cubicBezTo>
                <a:cubicBezTo>
                  <a:pt x="2697966" y="5981000"/>
                  <a:pt x="2711320" y="5990512"/>
                  <a:pt x="2738029" y="5990512"/>
                </a:cubicBezTo>
                <a:cubicBezTo>
                  <a:pt x="2763822" y="5990512"/>
                  <a:pt x="2786964" y="5982372"/>
                  <a:pt x="2807452" y="5966091"/>
                </a:cubicBezTo>
                <a:lnTo>
                  <a:pt x="2831874" y="6020697"/>
                </a:lnTo>
                <a:cubicBezTo>
                  <a:pt x="2813398" y="6030575"/>
                  <a:pt x="2798260" y="6037115"/>
                  <a:pt x="2786461" y="6040316"/>
                </a:cubicBezTo>
                <a:cubicBezTo>
                  <a:pt x="2774662" y="6043518"/>
                  <a:pt x="2758974" y="6045118"/>
                  <a:pt x="2739401" y="6045118"/>
                </a:cubicBezTo>
                <a:cubicBezTo>
                  <a:pt x="2704643" y="6045118"/>
                  <a:pt x="2677157" y="6037298"/>
                  <a:pt x="2656943" y="6021657"/>
                </a:cubicBezTo>
                <a:cubicBezTo>
                  <a:pt x="2636728" y="6006016"/>
                  <a:pt x="2626622" y="5984567"/>
                  <a:pt x="2626622" y="5957310"/>
                </a:cubicBezTo>
                <a:cubicBezTo>
                  <a:pt x="2626622" y="5936821"/>
                  <a:pt x="2632292" y="5919351"/>
                  <a:pt x="2643634" y="5904899"/>
                </a:cubicBezTo>
                <a:cubicBezTo>
                  <a:pt x="2654976" y="5890447"/>
                  <a:pt x="2673544" y="5878145"/>
                  <a:pt x="2699338" y="5867992"/>
                </a:cubicBezTo>
                <a:cubicBezTo>
                  <a:pt x="2725132" y="5857839"/>
                  <a:pt x="2741962" y="5849744"/>
                  <a:pt x="2749828" y="5843707"/>
                </a:cubicBezTo>
                <a:cubicBezTo>
                  <a:pt x="2757694" y="5837670"/>
                  <a:pt x="2761627" y="5830902"/>
                  <a:pt x="2761627" y="5823402"/>
                </a:cubicBezTo>
                <a:cubicBezTo>
                  <a:pt x="2761627" y="5804376"/>
                  <a:pt x="2749645" y="5794864"/>
                  <a:pt x="2725681" y="5794864"/>
                </a:cubicBezTo>
                <a:cubicBezTo>
                  <a:pt x="2698972" y="5794864"/>
                  <a:pt x="2678118" y="5801266"/>
                  <a:pt x="2663117" y="5814072"/>
                </a:cubicBezTo>
                <a:lnTo>
                  <a:pt x="2643360" y="5760838"/>
                </a:lnTo>
                <a:cubicBezTo>
                  <a:pt x="2670252" y="5747118"/>
                  <a:pt x="2698972" y="5740258"/>
                  <a:pt x="2729522" y="5740258"/>
                </a:cubicBezTo>
                <a:close/>
                <a:moveTo>
                  <a:pt x="2983479" y="5740258"/>
                </a:moveTo>
                <a:cubicBezTo>
                  <a:pt x="3019883" y="5740258"/>
                  <a:pt x="3047414" y="5751234"/>
                  <a:pt x="3066074" y="5773186"/>
                </a:cubicBezTo>
                <a:lnTo>
                  <a:pt x="3078696" y="5745746"/>
                </a:lnTo>
                <a:lnTo>
                  <a:pt x="3128089" y="5745746"/>
                </a:lnTo>
                <a:lnTo>
                  <a:pt x="3128089" y="6039630"/>
                </a:lnTo>
                <a:lnTo>
                  <a:pt x="3059488" y="6039630"/>
                </a:lnTo>
                <a:lnTo>
                  <a:pt x="3059488" y="5827243"/>
                </a:lnTo>
                <a:cubicBezTo>
                  <a:pt x="3053086" y="5818828"/>
                  <a:pt x="3044167" y="5811785"/>
                  <a:pt x="3032734" y="5806114"/>
                </a:cubicBezTo>
                <a:cubicBezTo>
                  <a:pt x="3021301" y="5800443"/>
                  <a:pt x="3010553" y="5797608"/>
                  <a:pt x="3000492" y="5797608"/>
                </a:cubicBezTo>
                <a:cubicBezTo>
                  <a:pt x="2978722" y="5797608"/>
                  <a:pt x="2963036" y="5803370"/>
                  <a:pt x="2953432" y="5814895"/>
                </a:cubicBezTo>
                <a:cubicBezTo>
                  <a:pt x="2943828" y="5826420"/>
                  <a:pt x="2939026" y="5844713"/>
                  <a:pt x="2939026" y="5869775"/>
                </a:cubicBezTo>
                <a:lnTo>
                  <a:pt x="2939026" y="6039630"/>
                </a:lnTo>
                <a:lnTo>
                  <a:pt x="2870425" y="6039630"/>
                </a:lnTo>
                <a:lnTo>
                  <a:pt x="2870425" y="5859348"/>
                </a:lnTo>
                <a:cubicBezTo>
                  <a:pt x="2870425" y="5821847"/>
                  <a:pt x="2880532" y="5792623"/>
                  <a:pt x="2900747" y="5771677"/>
                </a:cubicBezTo>
                <a:cubicBezTo>
                  <a:pt x="2920961" y="5750731"/>
                  <a:pt x="2948538" y="5740258"/>
                  <a:pt x="2983479" y="5740258"/>
                </a:cubicBezTo>
                <a:close/>
                <a:moveTo>
                  <a:pt x="3308822" y="5740258"/>
                </a:moveTo>
                <a:cubicBezTo>
                  <a:pt x="3341384" y="5740258"/>
                  <a:pt x="3369465" y="5745929"/>
                  <a:pt x="3393063" y="5757271"/>
                </a:cubicBezTo>
                <a:lnTo>
                  <a:pt x="3378246" y="5810505"/>
                </a:lnTo>
                <a:cubicBezTo>
                  <a:pt x="3360867" y="5801907"/>
                  <a:pt x="3339280" y="5797608"/>
                  <a:pt x="3313487" y="5797608"/>
                </a:cubicBezTo>
                <a:cubicBezTo>
                  <a:pt x="3269765" y="5797608"/>
                  <a:pt x="3247905" y="5814895"/>
                  <a:pt x="3247905" y="5849470"/>
                </a:cubicBezTo>
                <a:cubicBezTo>
                  <a:pt x="3258881" y="5846726"/>
                  <a:pt x="3268393" y="5845354"/>
                  <a:pt x="3276442" y="5845354"/>
                </a:cubicBezTo>
                <a:cubicBezTo>
                  <a:pt x="3323457" y="5845354"/>
                  <a:pt x="3359724" y="5854958"/>
                  <a:pt x="3385243" y="5874166"/>
                </a:cubicBezTo>
                <a:cubicBezTo>
                  <a:pt x="3410762" y="5893374"/>
                  <a:pt x="3423522" y="5919991"/>
                  <a:pt x="3423522" y="5954017"/>
                </a:cubicBezTo>
                <a:cubicBezTo>
                  <a:pt x="3423522" y="5983103"/>
                  <a:pt x="3414466" y="6005559"/>
                  <a:pt x="3396356" y="6021383"/>
                </a:cubicBezTo>
                <a:cubicBezTo>
                  <a:pt x="3378246" y="6037206"/>
                  <a:pt x="3353366" y="6045118"/>
                  <a:pt x="3321719" y="6045118"/>
                </a:cubicBezTo>
                <a:cubicBezTo>
                  <a:pt x="3304889" y="6045118"/>
                  <a:pt x="3288745" y="6041871"/>
                  <a:pt x="3273287" y="6035377"/>
                </a:cubicBezTo>
                <a:cubicBezTo>
                  <a:pt x="3257829" y="6028883"/>
                  <a:pt x="3246990" y="6020514"/>
                  <a:pt x="3240770" y="6010269"/>
                </a:cubicBezTo>
                <a:cubicBezTo>
                  <a:pt x="3238026" y="6018867"/>
                  <a:pt x="3232721" y="6026825"/>
                  <a:pt x="3224855" y="6034142"/>
                </a:cubicBezTo>
                <a:cubicBezTo>
                  <a:pt x="3216989" y="6041460"/>
                  <a:pt x="3208116" y="6045118"/>
                  <a:pt x="3198238" y="6045118"/>
                </a:cubicBezTo>
                <a:cubicBezTo>
                  <a:pt x="3189274" y="6045118"/>
                  <a:pt x="3181316" y="6043975"/>
                  <a:pt x="3174365" y="6041688"/>
                </a:cubicBezTo>
                <a:cubicBezTo>
                  <a:pt x="3167413" y="6039402"/>
                  <a:pt x="3161102" y="6033319"/>
                  <a:pt x="3155431" y="6023441"/>
                </a:cubicBezTo>
                <a:cubicBezTo>
                  <a:pt x="3171164" y="6013379"/>
                  <a:pt x="3179030" y="5988774"/>
                  <a:pt x="3179030" y="5949626"/>
                </a:cubicBezTo>
                <a:lnTo>
                  <a:pt x="3179030" y="5886788"/>
                </a:lnTo>
                <a:cubicBezTo>
                  <a:pt x="3179030" y="5829896"/>
                  <a:pt x="3189457" y="5791251"/>
                  <a:pt x="3210312" y="5770854"/>
                </a:cubicBezTo>
                <a:cubicBezTo>
                  <a:pt x="3231166" y="5750456"/>
                  <a:pt x="3264003" y="5740258"/>
                  <a:pt x="3308822" y="5740258"/>
                </a:cubicBezTo>
                <a:close/>
                <a:moveTo>
                  <a:pt x="3459180" y="5740258"/>
                </a:moveTo>
                <a:cubicBezTo>
                  <a:pt x="3491011" y="5740258"/>
                  <a:pt x="3516530" y="5751051"/>
                  <a:pt x="3535738" y="5772637"/>
                </a:cubicBezTo>
                <a:lnTo>
                  <a:pt x="3535738" y="5745746"/>
                </a:lnTo>
                <a:lnTo>
                  <a:pt x="3604339" y="5745746"/>
                </a:lnTo>
                <a:lnTo>
                  <a:pt x="3604339" y="6039630"/>
                </a:lnTo>
                <a:lnTo>
                  <a:pt x="3535738" y="6039630"/>
                </a:lnTo>
                <a:lnTo>
                  <a:pt x="3535738" y="5872245"/>
                </a:lnTo>
                <a:cubicBezTo>
                  <a:pt x="3535738" y="5851391"/>
                  <a:pt x="3529564" y="5833737"/>
                  <a:pt x="3517216" y="5819286"/>
                </a:cubicBezTo>
                <a:cubicBezTo>
                  <a:pt x="3504868" y="5804834"/>
                  <a:pt x="3490736" y="5797608"/>
                  <a:pt x="3474821" y="5797608"/>
                </a:cubicBezTo>
                <a:cubicBezTo>
                  <a:pt x="3460186" y="5797608"/>
                  <a:pt x="3446740" y="5801632"/>
                  <a:pt x="3434484" y="5809681"/>
                </a:cubicBezTo>
                <a:lnTo>
                  <a:pt x="3405397" y="5750959"/>
                </a:lnTo>
                <a:cubicBezTo>
                  <a:pt x="3417837" y="5743825"/>
                  <a:pt x="3435764" y="5740258"/>
                  <a:pt x="3459180" y="5740258"/>
                </a:cubicBezTo>
                <a:close/>
                <a:moveTo>
                  <a:pt x="4125265" y="5740258"/>
                </a:moveTo>
                <a:cubicBezTo>
                  <a:pt x="4165328" y="5740258"/>
                  <a:pt x="4199674" y="5754618"/>
                  <a:pt x="4228303" y="5783339"/>
                </a:cubicBezTo>
                <a:cubicBezTo>
                  <a:pt x="4256932" y="5812060"/>
                  <a:pt x="4271247" y="5849561"/>
                  <a:pt x="4271247" y="5895844"/>
                </a:cubicBezTo>
                <a:cubicBezTo>
                  <a:pt x="4271247" y="5942858"/>
                  <a:pt x="4258213" y="5979490"/>
                  <a:pt x="4232144" y="6005742"/>
                </a:cubicBezTo>
                <a:cubicBezTo>
                  <a:pt x="4206076" y="6031993"/>
                  <a:pt x="4170633" y="6045118"/>
                  <a:pt x="4125814" y="6045118"/>
                </a:cubicBezTo>
                <a:cubicBezTo>
                  <a:pt x="4077885" y="6045118"/>
                  <a:pt x="4041847" y="6035331"/>
                  <a:pt x="4017700" y="6015757"/>
                </a:cubicBezTo>
                <a:lnTo>
                  <a:pt x="4044316" y="5963347"/>
                </a:lnTo>
                <a:cubicBezTo>
                  <a:pt x="4060598" y="5979628"/>
                  <a:pt x="4084379" y="5987768"/>
                  <a:pt x="4115661" y="5987768"/>
                </a:cubicBezTo>
                <a:cubicBezTo>
                  <a:pt x="4140723" y="5987768"/>
                  <a:pt x="4160663" y="5981274"/>
                  <a:pt x="4175481" y="5968286"/>
                </a:cubicBezTo>
                <a:cubicBezTo>
                  <a:pt x="4190298" y="5955297"/>
                  <a:pt x="4198347" y="5937095"/>
                  <a:pt x="4199628" y="5913680"/>
                </a:cubicBezTo>
                <a:lnTo>
                  <a:pt x="3989710" y="5913680"/>
                </a:lnTo>
                <a:cubicBezTo>
                  <a:pt x="3985869" y="5896667"/>
                  <a:pt x="3983948" y="5883953"/>
                  <a:pt x="3983948" y="5875538"/>
                </a:cubicBezTo>
                <a:cubicBezTo>
                  <a:pt x="3983948" y="5836207"/>
                  <a:pt x="3996845" y="5803828"/>
                  <a:pt x="4022639" y="5778400"/>
                </a:cubicBezTo>
                <a:cubicBezTo>
                  <a:pt x="4048432" y="5752972"/>
                  <a:pt x="4082641" y="5740258"/>
                  <a:pt x="4125265" y="5740258"/>
                </a:cubicBezTo>
                <a:close/>
                <a:moveTo>
                  <a:pt x="4736981" y="5740258"/>
                </a:moveTo>
                <a:cubicBezTo>
                  <a:pt x="4780154" y="5740258"/>
                  <a:pt x="4815597" y="5754298"/>
                  <a:pt x="4843312" y="5782379"/>
                </a:cubicBezTo>
                <a:cubicBezTo>
                  <a:pt x="4871027" y="5810459"/>
                  <a:pt x="4884884" y="5848189"/>
                  <a:pt x="4884884" y="5895569"/>
                </a:cubicBezTo>
                <a:cubicBezTo>
                  <a:pt x="4884884" y="5943132"/>
                  <a:pt x="4872810" y="5979948"/>
                  <a:pt x="4848663" y="6006016"/>
                </a:cubicBezTo>
                <a:cubicBezTo>
                  <a:pt x="4824516" y="6032084"/>
                  <a:pt x="4791038" y="6045118"/>
                  <a:pt x="4748232" y="6045118"/>
                </a:cubicBezTo>
                <a:cubicBezTo>
                  <a:pt x="4719328" y="6045118"/>
                  <a:pt x="4696644" y="6040545"/>
                  <a:pt x="4680180" y="6031398"/>
                </a:cubicBezTo>
                <a:lnTo>
                  <a:pt x="4680180" y="6154879"/>
                </a:lnTo>
                <a:lnTo>
                  <a:pt x="4611580" y="6154879"/>
                </a:lnTo>
                <a:lnTo>
                  <a:pt x="4611580" y="5745746"/>
                </a:lnTo>
                <a:lnTo>
                  <a:pt x="4656033" y="5745746"/>
                </a:lnTo>
                <a:lnTo>
                  <a:pt x="4667283" y="5763308"/>
                </a:lnTo>
                <a:cubicBezTo>
                  <a:pt x="4688138" y="5747941"/>
                  <a:pt x="4711370" y="5740258"/>
                  <a:pt x="4736981" y="5740258"/>
                </a:cubicBezTo>
                <a:close/>
                <a:moveTo>
                  <a:pt x="3725336" y="5660681"/>
                </a:moveTo>
                <a:lnTo>
                  <a:pt x="3793936" y="5685926"/>
                </a:lnTo>
                <a:lnTo>
                  <a:pt x="3793936" y="5745746"/>
                </a:lnTo>
                <a:lnTo>
                  <a:pt x="3827962" y="5745746"/>
                </a:lnTo>
                <a:lnTo>
                  <a:pt x="3827962" y="5800901"/>
                </a:lnTo>
                <a:lnTo>
                  <a:pt x="3793936" y="5800901"/>
                </a:lnTo>
                <a:lnTo>
                  <a:pt x="3793936" y="5949626"/>
                </a:lnTo>
                <a:cubicBezTo>
                  <a:pt x="3793936" y="5980176"/>
                  <a:pt x="3786070" y="6003729"/>
                  <a:pt x="3770338" y="6020285"/>
                </a:cubicBezTo>
                <a:cubicBezTo>
                  <a:pt x="3754606" y="6036840"/>
                  <a:pt x="3732104" y="6045118"/>
                  <a:pt x="3702835" y="6045118"/>
                </a:cubicBezTo>
                <a:cubicBezTo>
                  <a:pt x="3673382" y="6045118"/>
                  <a:pt x="3650699" y="6042374"/>
                  <a:pt x="3634783" y="6036886"/>
                </a:cubicBezTo>
                <a:lnTo>
                  <a:pt x="3634783" y="5973774"/>
                </a:lnTo>
                <a:cubicBezTo>
                  <a:pt x="3649052" y="5982738"/>
                  <a:pt x="3664419" y="5987219"/>
                  <a:pt x="3680883" y="5987219"/>
                </a:cubicBezTo>
                <a:cubicBezTo>
                  <a:pt x="3697347" y="5987219"/>
                  <a:pt x="3708872" y="5982875"/>
                  <a:pt x="3715458" y="5974185"/>
                </a:cubicBezTo>
                <a:cubicBezTo>
                  <a:pt x="3722043" y="5965496"/>
                  <a:pt x="3725336" y="5950633"/>
                  <a:pt x="3725336" y="5929595"/>
                </a:cubicBezTo>
                <a:lnTo>
                  <a:pt x="3725336" y="5800901"/>
                </a:lnTo>
                <a:lnTo>
                  <a:pt x="3644662" y="5800901"/>
                </a:lnTo>
                <a:lnTo>
                  <a:pt x="3644662" y="5745746"/>
                </a:lnTo>
                <a:lnTo>
                  <a:pt x="3725336" y="5745746"/>
                </a:lnTo>
                <a:close/>
                <a:moveTo>
                  <a:pt x="2470110" y="5625283"/>
                </a:moveTo>
                <a:cubicBezTo>
                  <a:pt x="2501575" y="5625283"/>
                  <a:pt x="2527232" y="5636351"/>
                  <a:pt x="2547080" y="5658486"/>
                </a:cubicBezTo>
                <a:cubicBezTo>
                  <a:pt x="2566928" y="5680621"/>
                  <a:pt x="2577584" y="5709708"/>
                  <a:pt x="2579048" y="5745746"/>
                </a:cubicBezTo>
                <a:lnTo>
                  <a:pt x="2622129" y="5745746"/>
                </a:lnTo>
                <a:lnTo>
                  <a:pt x="2622129" y="5802273"/>
                </a:lnTo>
                <a:lnTo>
                  <a:pt x="2579322" y="5802273"/>
                </a:lnTo>
                <a:lnTo>
                  <a:pt x="2579322" y="6039630"/>
                </a:lnTo>
                <a:lnTo>
                  <a:pt x="2510722" y="6039630"/>
                </a:lnTo>
                <a:lnTo>
                  <a:pt x="2510722" y="5802273"/>
                </a:lnTo>
                <a:lnTo>
                  <a:pt x="2450902" y="5802273"/>
                </a:lnTo>
                <a:lnTo>
                  <a:pt x="2450902" y="5745746"/>
                </a:lnTo>
                <a:lnTo>
                  <a:pt x="2511819" y="5745746"/>
                </a:lnTo>
                <a:cubicBezTo>
                  <a:pt x="2512002" y="5743368"/>
                  <a:pt x="2512094" y="5740990"/>
                  <a:pt x="2512094" y="5738611"/>
                </a:cubicBezTo>
                <a:cubicBezTo>
                  <a:pt x="2512094" y="5722330"/>
                  <a:pt x="2507566" y="5708610"/>
                  <a:pt x="2498511" y="5697451"/>
                </a:cubicBezTo>
                <a:cubicBezTo>
                  <a:pt x="2489456" y="5686292"/>
                  <a:pt x="2478434" y="5680713"/>
                  <a:pt x="2465446" y="5680713"/>
                </a:cubicBezTo>
                <a:cubicBezTo>
                  <a:pt x="2457396" y="5680713"/>
                  <a:pt x="2445871" y="5683182"/>
                  <a:pt x="2430871" y="5688121"/>
                </a:cubicBezTo>
                <a:lnTo>
                  <a:pt x="2410565" y="5635985"/>
                </a:lnTo>
                <a:cubicBezTo>
                  <a:pt x="2433981" y="5628851"/>
                  <a:pt x="2453829" y="5625283"/>
                  <a:pt x="2470110" y="5625283"/>
                </a:cubicBezTo>
                <a:close/>
                <a:moveTo>
                  <a:pt x="1101998" y="5364364"/>
                </a:moveTo>
                <a:cubicBezTo>
                  <a:pt x="1096144" y="5364364"/>
                  <a:pt x="1087364" y="5365554"/>
                  <a:pt x="1075656" y="5367932"/>
                </a:cubicBezTo>
                <a:lnTo>
                  <a:pt x="1075656" y="5395372"/>
                </a:lnTo>
                <a:cubicBezTo>
                  <a:pt x="1075656" y="5436532"/>
                  <a:pt x="1096236" y="5457112"/>
                  <a:pt x="1137396" y="5457112"/>
                </a:cubicBezTo>
                <a:cubicBezTo>
                  <a:pt x="1167946" y="5457112"/>
                  <a:pt x="1183222" y="5443941"/>
                  <a:pt x="1183222" y="5417598"/>
                </a:cubicBezTo>
                <a:cubicBezTo>
                  <a:pt x="1183222" y="5382109"/>
                  <a:pt x="1156148" y="5364364"/>
                  <a:pt x="1101998" y="5364364"/>
                </a:cubicBezTo>
                <a:close/>
                <a:moveTo>
                  <a:pt x="2047718" y="5264208"/>
                </a:moveTo>
                <a:cubicBezTo>
                  <a:pt x="2004911" y="5264208"/>
                  <a:pt x="1981129" y="5285703"/>
                  <a:pt x="1976373" y="5328692"/>
                </a:cubicBezTo>
                <a:lnTo>
                  <a:pt x="2120708" y="5328692"/>
                </a:lnTo>
                <a:cubicBezTo>
                  <a:pt x="2111196" y="5285703"/>
                  <a:pt x="2086865" y="5264208"/>
                  <a:pt x="2047718" y="5264208"/>
                </a:cubicBezTo>
                <a:close/>
                <a:moveTo>
                  <a:pt x="2666842" y="5264208"/>
                </a:moveTo>
                <a:cubicBezTo>
                  <a:pt x="2624036" y="5264208"/>
                  <a:pt x="2600254" y="5285703"/>
                  <a:pt x="2595498" y="5328692"/>
                </a:cubicBezTo>
                <a:lnTo>
                  <a:pt x="2739833" y="5328692"/>
                </a:lnTo>
                <a:cubicBezTo>
                  <a:pt x="2730321" y="5285703"/>
                  <a:pt x="2705990" y="5264208"/>
                  <a:pt x="2666842" y="5264208"/>
                </a:cubicBezTo>
                <a:close/>
                <a:moveTo>
                  <a:pt x="3339355" y="5262836"/>
                </a:moveTo>
                <a:cubicBezTo>
                  <a:pt x="3292890" y="5262836"/>
                  <a:pt x="3269657" y="5294758"/>
                  <a:pt x="3269657" y="5358602"/>
                </a:cubicBezTo>
                <a:cubicBezTo>
                  <a:pt x="3269657" y="5389701"/>
                  <a:pt x="3275922" y="5413665"/>
                  <a:pt x="3288453" y="5430495"/>
                </a:cubicBezTo>
                <a:cubicBezTo>
                  <a:pt x="3300984" y="5447325"/>
                  <a:pt x="3317952" y="5455740"/>
                  <a:pt x="3339355" y="5455740"/>
                </a:cubicBezTo>
                <a:cubicBezTo>
                  <a:pt x="3386003" y="5455740"/>
                  <a:pt x="3409327" y="5423361"/>
                  <a:pt x="3409327" y="5358602"/>
                </a:cubicBezTo>
                <a:cubicBezTo>
                  <a:pt x="3409327" y="5328418"/>
                  <a:pt x="3403016" y="5304911"/>
                  <a:pt x="3390394" y="5288081"/>
                </a:cubicBezTo>
                <a:cubicBezTo>
                  <a:pt x="3377771" y="5271251"/>
                  <a:pt x="3360758" y="5262836"/>
                  <a:pt x="3339355" y="5262836"/>
                </a:cubicBezTo>
                <a:close/>
                <a:moveTo>
                  <a:pt x="4101355" y="5262836"/>
                </a:moveTo>
                <a:cubicBezTo>
                  <a:pt x="4054890" y="5262836"/>
                  <a:pt x="4031657" y="5294758"/>
                  <a:pt x="4031657" y="5358602"/>
                </a:cubicBezTo>
                <a:cubicBezTo>
                  <a:pt x="4031657" y="5389701"/>
                  <a:pt x="4037922" y="5413665"/>
                  <a:pt x="4050453" y="5430495"/>
                </a:cubicBezTo>
                <a:cubicBezTo>
                  <a:pt x="4062984" y="5447325"/>
                  <a:pt x="4079952" y="5455740"/>
                  <a:pt x="4101355" y="5455740"/>
                </a:cubicBezTo>
                <a:cubicBezTo>
                  <a:pt x="4148003" y="5455740"/>
                  <a:pt x="4171327" y="5423361"/>
                  <a:pt x="4171327" y="5358602"/>
                </a:cubicBezTo>
                <a:cubicBezTo>
                  <a:pt x="4171327" y="5328418"/>
                  <a:pt x="4165016" y="5304911"/>
                  <a:pt x="4152394" y="5288081"/>
                </a:cubicBezTo>
                <a:cubicBezTo>
                  <a:pt x="4139771" y="5271251"/>
                  <a:pt x="4122758" y="5262836"/>
                  <a:pt x="4101355" y="5262836"/>
                </a:cubicBezTo>
                <a:close/>
                <a:moveTo>
                  <a:pt x="4987180" y="5262836"/>
                </a:moveTo>
                <a:cubicBezTo>
                  <a:pt x="4940714" y="5262836"/>
                  <a:pt x="4917482" y="5294758"/>
                  <a:pt x="4917482" y="5358602"/>
                </a:cubicBezTo>
                <a:cubicBezTo>
                  <a:pt x="4917482" y="5389701"/>
                  <a:pt x="4923747" y="5413665"/>
                  <a:pt x="4936278" y="5430495"/>
                </a:cubicBezTo>
                <a:cubicBezTo>
                  <a:pt x="4948809" y="5447325"/>
                  <a:pt x="4965776" y="5455740"/>
                  <a:pt x="4987180" y="5455740"/>
                </a:cubicBezTo>
                <a:cubicBezTo>
                  <a:pt x="5033828" y="5455740"/>
                  <a:pt x="5057152" y="5423361"/>
                  <a:pt x="5057152" y="5358602"/>
                </a:cubicBezTo>
                <a:cubicBezTo>
                  <a:pt x="5057152" y="5328418"/>
                  <a:pt x="5050841" y="5304911"/>
                  <a:pt x="5038219" y="5288081"/>
                </a:cubicBezTo>
                <a:cubicBezTo>
                  <a:pt x="5025596" y="5271251"/>
                  <a:pt x="5008583" y="5262836"/>
                  <a:pt x="4987180" y="5262836"/>
                </a:cubicBezTo>
                <a:close/>
                <a:moveTo>
                  <a:pt x="1551832" y="5262561"/>
                </a:moveTo>
                <a:cubicBezTo>
                  <a:pt x="1536831" y="5262561"/>
                  <a:pt x="1524620" y="5267684"/>
                  <a:pt x="1515199" y="5277928"/>
                </a:cubicBezTo>
                <a:cubicBezTo>
                  <a:pt x="1505778" y="5288172"/>
                  <a:pt x="1501067" y="5300703"/>
                  <a:pt x="1501067" y="5315521"/>
                </a:cubicBezTo>
                <a:cubicBezTo>
                  <a:pt x="1501067" y="5333449"/>
                  <a:pt x="1505458" y="5347534"/>
                  <a:pt x="1514238" y="5357779"/>
                </a:cubicBezTo>
                <a:cubicBezTo>
                  <a:pt x="1523019" y="5368023"/>
                  <a:pt x="1535550" y="5373145"/>
                  <a:pt x="1551832" y="5373145"/>
                </a:cubicBezTo>
                <a:cubicBezTo>
                  <a:pt x="1568112" y="5373145"/>
                  <a:pt x="1581055" y="5367886"/>
                  <a:pt x="1590660" y="5357367"/>
                </a:cubicBezTo>
                <a:cubicBezTo>
                  <a:pt x="1600264" y="5346848"/>
                  <a:pt x="1605066" y="5332900"/>
                  <a:pt x="1605066" y="5315521"/>
                </a:cubicBezTo>
                <a:cubicBezTo>
                  <a:pt x="1605066" y="5299972"/>
                  <a:pt x="1600126" y="5287258"/>
                  <a:pt x="1590248" y="5277379"/>
                </a:cubicBezTo>
                <a:cubicBezTo>
                  <a:pt x="1580369" y="5267501"/>
                  <a:pt x="1567564" y="5262561"/>
                  <a:pt x="1551832" y="5262561"/>
                </a:cubicBezTo>
                <a:close/>
                <a:moveTo>
                  <a:pt x="1404222" y="5212346"/>
                </a:moveTo>
                <a:lnTo>
                  <a:pt x="1404222" y="5268598"/>
                </a:lnTo>
                <a:lnTo>
                  <a:pt x="1366629" y="5268598"/>
                </a:lnTo>
                <a:lnTo>
                  <a:pt x="1366629" y="5506230"/>
                </a:lnTo>
                <a:lnTo>
                  <a:pt x="1297205" y="5506230"/>
                </a:lnTo>
                <a:lnTo>
                  <a:pt x="1297205" y="5212346"/>
                </a:lnTo>
                <a:close/>
                <a:moveTo>
                  <a:pt x="1137122" y="5206858"/>
                </a:moveTo>
                <a:cubicBezTo>
                  <a:pt x="1169684" y="5206858"/>
                  <a:pt x="1197764" y="5212529"/>
                  <a:pt x="1221364" y="5223871"/>
                </a:cubicBezTo>
                <a:lnTo>
                  <a:pt x="1206546" y="5277105"/>
                </a:lnTo>
                <a:cubicBezTo>
                  <a:pt x="1189168" y="5268507"/>
                  <a:pt x="1167580" y="5264208"/>
                  <a:pt x="1141786" y="5264208"/>
                </a:cubicBezTo>
                <a:cubicBezTo>
                  <a:pt x="1098066" y="5264208"/>
                  <a:pt x="1076204" y="5281495"/>
                  <a:pt x="1076204" y="5316070"/>
                </a:cubicBezTo>
                <a:cubicBezTo>
                  <a:pt x="1087180" y="5313326"/>
                  <a:pt x="1096694" y="5311954"/>
                  <a:pt x="1104742" y="5311954"/>
                </a:cubicBezTo>
                <a:cubicBezTo>
                  <a:pt x="1151756" y="5311954"/>
                  <a:pt x="1188024" y="5321558"/>
                  <a:pt x="1213544" y="5340766"/>
                </a:cubicBezTo>
                <a:cubicBezTo>
                  <a:pt x="1239062" y="5359974"/>
                  <a:pt x="1251822" y="5386591"/>
                  <a:pt x="1251822" y="5420617"/>
                </a:cubicBezTo>
                <a:cubicBezTo>
                  <a:pt x="1251822" y="5449703"/>
                  <a:pt x="1242766" y="5472159"/>
                  <a:pt x="1224656" y="5487983"/>
                </a:cubicBezTo>
                <a:cubicBezTo>
                  <a:pt x="1206546" y="5503806"/>
                  <a:pt x="1181666" y="5511718"/>
                  <a:pt x="1150018" y="5511718"/>
                </a:cubicBezTo>
                <a:cubicBezTo>
                  <a:pt x="1133188" y="5511718"/>
                  <a:pt x="1117044" y="5508471"/>
                  <a:pt x="1101588" y="5501977"/>
                </a:cubicBezTo>
                <a:cubicBezTo>
                  <a:pt x="1086128" y="5495483"/>
                  <a:pt x="1075290" y="5487114"/>
                  <a:pt x="1069070" y="5476869"/>
                </a:cubicBezTo>
                <a:cubicBezTo>
                  <a:pt x="1066326" y="5485467"/>
                  <a:pt x="1061022" y="5493425"/>
                  <a:pt x="1053156" y="5500742"/>
                </a:cubicBezTo>
                <a:cubicBezTo>
                  <a:pt x="1045288" y="5508060"/>
                  <a:pt x="1036416" y="5511718"/>
                  <a:pt x="1026538" y="5511718"/>
                </a:cubicBezTo>
                <a:cubicBezTo>
                  <a:pt x="1017574" y="5511718"/>
                  <a:pt x="1009616" y="5510575"/>
                  <a:pt x="1002664" y="5508288"/>
                </a:cubicBezTo>
                <a:cubicBezTo>
                  <a:pt x="995714" y="5506002"/>
                  <a:pt x="989402" y="5499919"/>
                  <a:pt x="983732" y="5490041"/>
                </a:cubicBezTo>
                <a:cubicBezTo>
                  <a:pt x="999464" y="5479979"/>
                  <a:pt x="1007330" y="5455374"/>
                  <a:pt x="1007330" y="5416226"/>
                </a:cubicBezTo>
                <a:lnTo>
                  <a:pt x="1007330" y="5353388"/>
                </a:lnTo>
                <a:cubicBezTo>
                  <a:pt x="1007330" y="5296496"/>
                  <a:pt x="1017758" y="5257851"/>
                  <a:pt x="1038612" y="5237454"/>
                </a:cubicBezTo>
                <a:cubicBezTo>
                  <a:pt x="1059466" y="5217056"/>
                  <a:pt x="1092304" y="5206858"/>
                  <a:pt x="1137122" y="5206858"/>
                </a:cubicBezTo>
                <a:close/>
                <a:moveTo>
                  <a:pt x="1725630" y="5206858"/>
                </a:moveTo>
                <a:cubicBezTo>
                  <a:pt x="1757461" y="5206858"/>
                  <a:pt x="1782980" y="5217651"/>
                  <a:pt x="1802188" y="5239237"/>
                </a:cubicBezTo>
                <a:lnTo>
                  <a:pt x="1802188" y="5212346"/>
                </a:lnTo>
                <a:lnTo>
                  <a:pt x="1870789" y="5212346"/>
                </a:lnTo>
                <a:lnTo>
                  <a:pt x="1870789" y="5506230"/>
                </a:lnTo>
                <a:lnTo>
                  <a:pt x="1802188" y="5506230"/>
                </a:lnTo>
                <a:lnTo>
                  <a:pt x="1802188" y="5338845"/>
                </a:lnTo>
                <a:cubicBezTo>
                  <a:pt x="1802188" y="5317991"/>
                  <a:pt x="1796014" y="5300337"/>
                  <a:pt x="1783666" y="5285886"/>
                </a:cubicBezTo>
                <a:cubicBezTo>
                  <a:pt x="1771318" y="5271434"/>
                  <a:pt x="1757186" y="5264208"/>
                  <a:pt x="1741271" y="5264208"/>
                </a:cubicBezTo>
                <a:cubicBezTo>
                  <a:pt x="1726636" y="5264208"/>
                  <a:pt x="1713190" y="5268232"/>
                  <a:pt x="1700934" y="5276281"/>
                </a:cubicBezTo>
                <a:lnTo>
                  <a:pt x="1671848" y="5217560"/>
                </a:lnTo>
                <a:cubicBezTo>
                  <a:pt x="1684287" y="5210425"/>
                  <a:pt x="1702214" y="5206858"/>
                  <a:pt x="1725630" y="5206858"/>
                </a:cubicBezTo>
                <a:close/>
                <a:moveTo>
                  <a:pt x="2048815" y="5206858"/>
                </a:moveTo>
                <a:cubicBezTo>
                  <a:pt x="2088878" y="5206858"/>
                  <a:pt x="2123224" y="5221218"/>
                  <a:pt x="2151853" y="5249939"/>
                </a:cubicBezTo>
                <a:cubicBezTo>
                  <a:pt x="2180482" y="5278660"/>
                  <a:pt x="2194797" y="5316161"/>
                  <a:pt x="2194797" y="5362444"/>
                </a:cubicBezTo>
                <a:cubicBezTo>
                  <a:pt x="2194797" y="5409458"/>
                  <a:pt x="2181763" y="5446090"/>
                  <a:pt x="2155694" y="5472342"/>
                </a:cubicBezTo>
                <a:cubicBezTo>
                  <a:pt x="2129626" y="5498593"/>
                  <a:pt x="2094183" y="5511718"/>
                  <a:pt x="2049364" y="5511718"/>
                </a:cubicBezTo>
                <a:cubicBezTo>
                  <a:pt x="2001435" y="5511718"/>
                  <a:pt x="1965397" y="5501931"/>
                  <a:pt x="1941250" y="5482357"/>
                </a:cubicBezTo>
                <a:lnTo>
                  <a:pt x="1967866" y="5429947"/>
                </a:lnTo>
                <a:cubicBezTo>
                  <a:pt x="1984148" y="5446228"/>
                  <a:pt x="2007929" y="5454368"/>
                  <a:pt x="2039211" y="5454368"/>
                </a:cubicBezTo>
                <a:cubicBezTo>
                  <a:pt x="2064273" y="5454368"/>
                  <a:pt x="2084213" y="5447874"/>
                  <a:pt x="2099030" y="5434886"/>
                </a:cubicBezTo>
                <a:cubicBezTo>
                  <a:pt x="2113848" y="5421897"/>
                  <a:pt x="2121898" y="5403695"/>
                  <a:pt x="2123178" y="5380280"/>
                </a:cubicBezTo>
                <a:lnTo>
                  <a:pt x="1913260" y="5380280"/>
                </a:lnTo>
                <a:cubicBezTo>
                  <a:pt x="1909419" y="5363267"/>
                  <a:pt x="1907498" y="5350553"/>
                  <a:pt x="1907498" y="5342138"/>
                </a:cubicBezTo>
                <a:cubicBezTo>
                  <a:pt x="1907498" y="5302807"/>
                  <a:pt x="1920395" y="5270428"/>
                  <a:pt x="1946189" y="5245000"/>
                </a:cubicBezTo>
                <a:cubicBezTo>
                  <a:pt x="1971982" y="5219572"/>
                  <a:pt x="2006191" y="5206858"/>
                  <a:pt x="2048815" y="5206858"/>
                </a:cubicBezTo>
                <a:close/>
                <a:moveTo>
                  <a:pt x="2345304" y="5206858"/>
                </a:moveTo>
                <a:cubicBezTo>
                  <a:pt x="2381708" y="5206858"/>
                  <a:pt x="2409240" y="5217834"/>
                  <a:pt x="2427899" y="5239786"/>
                </a:cubicBezTo>
                <a:lnTo>
                  <a:pt x="2440521" y="5212346"/>
                </a:lnTo>
                <a:lnTo>
                  <a:pt x="2489914" y="5212346"/>
                </a:lnTo>
                <a:lnTo>
                  <a:pt x="2489914" y="5506230"/>
                </a:lnTo>
                <a:lnTo>
                  <a:pt x="2421313" y="5506230"/>
                </a:lnTo>
                <a:lnTo>
                  <a:pt x="2421313" y="5293843"/>
                </a:lnTo>
                <a:cubicBezTo>
                  <a:pt x="2414910" y="5285428"/>
                  <a:pt x="2405992" y="5278385"/>
                  <a:pt x="2394559" y="5272714"/>
                </a:cubicBezTo>
                <a:cubicBezTo>
                  <a:pt x="2383126" y="5267043"/>
                  <a:pt x="2372378" y="5264208"/>
                  <a:pt x="2362317" y="5264208"/>
                </a:cubicBezTo>
                <a:cubicBezTo>
                  <a:pt x="2340548" y="5264208"/>
                  <a:pt x="2324861" y="5269970"/>
                  <a:pt x="2315257" y="5281495"/>
                </a:cubicBezTo>
                <a:cubicBezTo>
                  <a:pt x="2305653" y="5293020"/>
                  <a:pt x="2300851" y="5311313"/>
                  <a:pt x="2300851" y="5336375"/>
                </a:cubicBezTo>
                <a:lnTo>
                  <a:pt x="2300851" y="5506230"/>
                </a:lnTo>
                <a:lnTo>
                  <a:pt x="2232250" y="5506230"/>
                </a:lnTo>
                <a:lnTo>
                  <a:pt x="2232250" y="5325948"/>
                </a:lnTo>
                <a:cubicBezTo>
                  <a:pt x="2232250" y="5288447"/>
                  <a:pt x="2242358" y="5259223"/>
                  <a:pt x="2262572" y="5238277"/>
                </a:cubicBezTo>
                <a:cubicBezTo>
                  <a:pt x="2282786" y="5217331"/>
                  <a:pt x="2310363" y="5206858"/>
                  <a:pt x="2345304" y="5206858"/>
                </a:cubicBezTo>
                <a:close/>
                <a:moveTo>
                  <a:pt x="2667940" y="5206858"/>
                </a:moveTo>
                <a:cubicBezTo>
                  <a:pt x="2708003" y="5206858"/>
                  <a:pt x="2742348" y="5221218"/>
                  <a:pt x="2770978" y="5249939"/>
                </a:cubicBezTo>
                <a:cubicBezTo>
                  <a:pt x="2799607" y="5278660"/>
                  <a:pt x="2813922" y="5316161"/>
                  <a:pt x="2813922" y="5362444"/>
                </a:cubicBezTo>
                <a:cubicBezTo>
                  <a:pt x="2813922" y="5409458"/>
                  <a:pt x="2800888" y="5446090"/>
                  <a:pt x="2774820" y="5472342"/>
                </a:cubicBezTo>
                <a:cubicBezTo>
                  <a:pt x="2748752" y="5498593"/>
                  <a:pt x="2713308" y="5511718"/>
                  <a:pt x="2668489" y="5511718"/>
                </a:cubicBezTo>
                <a:cubicBezTo>
                  <a:pt x="2620560" y="5511718"/>
                  <a:pt x="2584522" y="5501931"/>
                  <a:pt x="2560374" y="5482357"/>
                </a:cubicBezTo>
                <a:lnTo>
                  <a:pt x="2586992" y="5429947"/>
                </a:lnTo>
                <a:cubicBezTo>
                  <a:pt x="2603273" y="5446228"/>
                  <a:pt x="2627054" y="5454368"/>
                  <a:pt x="2658336" y="5454368"/>
                </a:cubicBezTo>
                <a:cubicBezTo>
                  <a:pt x="2683398" y="5454368"/>
                  <a:pt x="2703338" y="5447874"/>
                  <a:pt x="2718156" y="5434886"/>
                </a:cubicBezTo>
                <a:cubicBezTo>
                  <a:pt x="2732973" y="5421897"/>
                  <a:pt x="2741022" y="5403695"/>
                  <a:pt x="2742303" y="5380280"/>
                </a:cubicBezTo>
                <a:lnTo>
                  <a:pt x="2532386" y="5380280"/>
                </a:lnTo>
                <a:cubicBezTo>
                  <a:pt x="2528544" y="5363267"/>
                  <a:pt x="2526623" y="5350553"/>
                  <a:pt x="2526623" y="5342138"/>
                </a:cubicBezTo>
                <a:cubicBezTo>
                  <a:pt x="2526623" y="5302807"/>
                  <a:pt x="2539520" y="5270428"/>
                  <a:pt x="2565314" y="5245000"/>
                </a:cubicBezTo>
                <a:cubicBezTo>
                  <a:pt x="2591108" y="5219572"/>
                  <a:pt x="2625316" y="5206858"/>
                  <a:pt x="2667940" y="5206858"/>
                </a:cubicBezTo>
                <a:close/>
                <a:moveTo>
                  <a:pt x="3081947" y="5206858"/>
                </a:moveTo>
                <a:cubicBezTo>
                  <a:pt x="3112132" y="5206858"/>
                  <a:pt x="3136919" y="5213947"/>
                  <a:pt x="3156310" y="5228124"/>
                </a:cubicBezTo>
                <a:cubicBezTo>
                  <a:pt x="3175702" y="5242301"/>
                  <a:pt x="3185397" y="5262104"/>
                  <a:pt x="3185397" y="5287532"/>
                </a:cubicBezTo>
                <a:cubicBezTo>
                  <a:pt x="3185397" y="5325399"/>
                  <a:pt x="3160060" y="5354852"/>
                  <a:pt x="3109388" y="5375889"/>
                </a:cubicBezTo>
                <a:cubicBezTo>
                  <a:pt x="3086155" y="5385585"/>
                  <a:pt x="3070514" y="5394000"/>
                  <a:pt x="3062465" y="5401134"/>
                </a:cubicBezTo>
                <a:cubicBezTo>
                  <a:pt x="3054416" y="5408269"/>
                  <a:pt x="3050391" y="5417416"/>
                  <a:pt x="3050391" y="5428575"/>
                </a:cubicBezTo>
                <a:cubicBezTo>
                  <a:pt x="3050391" y="5447600"/>
                  <a:pt x="3063746" y="5457112"/>
                  <a:pt x="3090454" y="5457112"/>
                </a:cubicBezTo>
                <a:cubicBezTo>
                  <a:pt x="3116248" y="5457112"/>
                  <a:pt x="3139389" y="5448972"/>
                  <a:pt x="3159878" y="5432691"/>
                </a:cubicBezTo>
                <a:lnTo>
                  <a:pt x="3184299" y="5487296"/>
                </a:lnTo>
                <a:cubicBezTo>
                  <a:pt x="3165823" y="5497175"/>
                  <a:pt x="3150685" y="5503715"/>
                  <a:pt x="3138886" y="5506916"/>
                </a:cubicBezTo>
                <a:cubicBezTo>
                  <a:pt x="3127086" y="5510118"/>
                  <a:pt x="3111400" y="5511718"/>
                  <a:pt x="3091826" y="5511718"/>
                </a:cubicBezTo>
                <a:cubicBezTo>
                  <a:pt x="3057068" y="5511718"/>
                  <a:pt x="3029582" y="5503898"/>
                  <a:pt x="3009368" y="5488257"/>
                </a:cubicBezTo>
                <a:cubicBezTo>
                  <a:pt x="2989154" y="5472616"/>
                  <a:pt x="2979047" y="5451167"/>
                  <a:pt x="2979047" y="5423910"/>
                </a:cubicBezTo>
                <a:cubicBezTo>
                  <a:pt x="2979047" y="5403421"/>
                  <a:pt x="2984718" y="5385951"/>
                  <a:pt x="2996060" y="5371499"/>
                </a:cubicBezTo>
                <a:cubicBezTo>
                  <a:pt x="3007402" y="5357047"/>
                  <a:pt x="3025969" y="5344745"/>
                  <a:pt x="3051763" y="5334592"/>
                </a:cubicBezTo>
                <a:cubicBezTo>
                  <a:pt x="3077557" y="5324439"/>
                  <a:pt x="3094387" y="5316344"/>
                  <a:pt x="3102253" y="5310307"/>
                </a:cubicBezTo>
                <a:cubicBezTo>
                  <a:pt x="3110120" y="5304270"/>
                  <a:pt x="3114052" y="5297502"/>
                  <a:pt x="3114052" y="5290002"/>
                </a:cubicBezTo>
                <a:cubicBezTo>
                  <a:pt x="3114052" y="5270976"/>
                  <a:pt x="3102070" y="5261464"/>
                  <a:pt x="3078106" y="5261464"/>
                </a:cubicBezTo>
                <a:cubicBezTo>
                  <a:pt x="3051397" y="5261464"/>
                  <a:pt x="3030542" y="5267866"/>
                  <a:pt x="3015542" y="5280672"/>
                </a:cubicBezTo>
                <a:lnTo>
                  <a:pt x="2995785" y="5227438"/>
                </a:lnTo>
                <a:cubicBezTo>
                  <a:pt x="3022676" y="5213718"/>
                  <a:pt x="3051397" y="5206858"/>
                  <a:pt x="3081947" y="5206858"/>
                </a:cubicBezTo>
                <a:close/>
                <a:moveTo>
                  <a:pt x="3339355" y="5206858"/>
                </a:moveTo>
                <a:cubicBezTo>
                  <a:pt x="3381796" y="5206858"/>
                  <a:pt x="3415959" y="5220944"/>
                  <a:pt x="3441844" y="5249116"/>
                </a:cubicBezTo>
                <a:cubicBezTo>
                  <a:pt x="3467729" y="5277288"/>
                  <a:pt x="3480672" y="5313783"/>
                  <a:pt x="3480672" y="5358602"/>
                </a:cubicBezTo>
                <a:cubicBezTo>
                  <a:pt x="3480672" y="5404884"/>
                  <a:pt x="3468278" y="5441974"/>
                  <a:pt x="3443490" y="5469872"/>
                </a:cubicBezTo>
                <a:cubicBezTo>
                  <a:pt x="3418703" y="5497770"/>
                  <a:pt x="3383991" y="5511718"/>
                  <a:pt x="3339355" y="5511718"/>
                </a:cubicBezTo>
                <a:cubicBezTo>
                  <a:pt x="3295634" y="5511718"/>
                  <a:pt x="3261196" y="5497907"/>
                  <a:pt x="3236043" y="5470284"/>
                </a:cubicBezTo>
                <a:cubicBezTo>
                  <a:pt x="3210889" y="5442660"/>
                  <a:pt x="3198312" y="5405433"/>
                  <a:pt x="3198312" y="5358602"/>
                </a:cubicBezTo>
                <a:cubicBezTo>
                  <a:pt x="3198312" y="5311588"/>
                  <a:pt x="3210661" y="5274544"/>
                  <a:pt x="3235357" y="5247469"/>
                </a:cubicBezTo>
                <a:cubicBezTo>
                  <a:pt x="3260053" y="5220395"/>
                  <a:pt x="3294719" y="5206858"/>
                  <a:pt x="3339355" y="5206858"/>
                </a:cubicBezTo>
                <a:close/>
                <a:moveTo>
                  <a:pt x="3793183" y="5206858"/>
                </a:moveTo>
                <a:cubicBezTo>
                  <a:pt x="3823367" y="5206858"/>
                  <a:pt x="3847972" y="5217285"/>
                  <a:pt x="3866997" y="5238140"/>
                </a:cubicBezTo>
                <a:lnTo>
                  <a:pt x="3880992" y="5212346"/>
                </a:lnTo>
                <a:lnTo>
                  <a:pt x="3928189" y="5212346"/>
                </a:lnTo>
                <a:lnTo>
                  <a:pt x="3928189" y="5506230"/>
                </a:lnTo>
                <a:lnTo>
                  <a:pt x="3859588" y="5506230"/>
                </a:lnTo>
                <a:lnTo>
                  <a:pt x="3859588" y="5294941"/>
                </a:lnTo>
                <a:cubicBezTo>
                  <a:pt x="3855015" y="5287258"/>
                  <a:pt x="3847652" y="5280215"/>
                  <a:pt x="3837499" y="5273812"/>
                </a:cubicBezTo>
                <a:cubicBezTo>
                  <a:pt x="3827346" y="5267409"/>
                  <a:pt x="3817971" y="5264208"/>
                  <a:pt x="3809373" y="5264208"/>
                </a:cubicBezTo>
                <a:cubicBezTo>
                  <a:pt x="3793092" y="5264208"/>
                  <a:pt x="3780469" y="5268461"/>
                  <a:pt x="3771505" y="5276967"/>
                </a:cubicBezTo>
                <a:cubicBezTo>
                  <a:pt x="3762542" y="5285474"/>
                  <a:pt x="3758060" y="5296953"/>
                  <a:pt x="3758060" y="5311405"/>
                </a:cubicBezTo>
                <a:lnTo>
                  <a:pt x="3758060" y="5506230"/>
                </a:lnTo>
                <a:lnTo>
                  <a:pt x="3689459" y="5506230"/>
                </a:lnTo>
                <a:lnTo>
                  <a:pt x="3689459" y="5294118"/>
                </a:lnTo>
                <a:cubicBezTo>
                  <a:pt x="3685618" y="5286251"/>
                  <a:pt x="3678940" y="5279300"/>
                  <a:pt x="3669428" y="5273263"/>
                </a:cubicBezTo>
                <a:cubicBezTo>
                  <a:pt x="3659915" y="5267226"/>
                  <a:pt x="3650037" y="5264208"/>
                  <a:pt x="3639792" y="5264208"/>
                </a:cubicBezTo>
                <a:cubicBezTo>
                  <a:pt x="3605218" y="5264208"/>
                  <a:pt x="3587930" y="5283507"/>
                  <a:pt x="3587930" y="5322107"/>
                </a:cubicBezTo>
                <a:lnTo>
                  <a:pt x="3587930" y="5506230"/>
                </a:lnTo>
                <a:lnTo>
                  <a:pt x="3519330" y="5506230"/>
                </a:lnTo>
                <a:lnTo>
                  <a:pt x="3519330" y="5312228"/>
                </a:lnTo>
                <a:cubicBezTo>
                  <a:pt x="3519330" y="5279483"/>
                  <a:pt x="3528431" y="5253735"/>
                  <a:pt x="3546633" y="5234984"/>
                </a:cubicBezTo>
                <a:cubicBezTo>
                  <a:pt x="3564835" y="5216233"/>
                  <a:pt x="3590308" y="5206858"/>
                  <a:pt x="3623054" y="5206858"/>
                </a:cubicBezTo>
                <a:cubicBezTo>
                  <a:pt x="3638420" y="5206858"/>
                  <a:pt x="3653787" y="5209739"/>
                  <a:pt x="3669153" y="5215501"/>
                </a:cubicBezTo>
                <a:cubicBezTo>
                  <a:pt x="3684520" y="5221264"/>
                  <a:pt x="3696502" y="5228993"/>
                  <a:pt x="3705100" y="5238688"/>
                </a:cubicBezTo>
                <a:cubicBezTo>
                  <a:pt x="3724857" y="5217468"/>
                  <a:pt x="3754218" y="5206858"/>
                  <a:pt x="3793183" y="5206858"/>
                </a:cubicBezTo>
                <a:close/>
                <a:moveTo>
                  <a:pt x="4101355" y="5206858"/>
                </a:moveTo>
                <a:cubicBezTo>
                  <a:pt x="4143796" y="5206858"/>
                  <a:pt x="4177959" y="5220944"/>
                  <a:pt x="4203844" y="5249116"/>
                </a:cubicBezTo>
                <a:cubicBezTo>
                  <a:pt x="4229729" y="5277288"/>
                  <a:pt x="4242672" y="5313783"/>
                  <a:pt x="4242672" y="5358602"/>
                </a:cubicBezTo>
                <a:cubicBezTo>
                  <a:pt x="4242672" y="5404884"/>
                  <a:pt x="4230278" y="5441974"/>
                  <a:pt x="4205490" y="5469872"/>
                </a:cubicBezTo>
                <a:cubicBezTo>
                  <a:pt x="4180703" y="5497770"/>
                  <a:pt x="4145991" y="5511718"/>
                  <a:pt x="4101355" y="5511718"/>
                </a:cubicBezTo>
                <a:cubicBezTo>
                  <a:pt x="4057634" y="5511718"/>
                  <a:pt x="4023196" y="5497907"/>
                  <a:pt x="3998043" y="5470284"/>
                </a:cubicBezTo>
                <a:cubicBezTo>
                  <a:pt x="3972889" y="5442660"/>
                  <a:pt x="3960312" y="5405433"/>
                  <a:pt x="3960312" y="5358602"/>
                </a:cubicBezTo>
                <a:cubicBezTo>
                  <a:pt x="3960312" y="5311588"/>
                  <a:pt x="3972660" y="5274544"/>
                  <a:pt x="3997356" y="5247469"/>
                </a:cubicBezTo>
                <a:cubicBezTo>
                  <a:pt x="4022053" y="5220395"/>
                  <a:pt x="4056719" y="5206858"/>
                  <a:pt x="4101355" y="5206858"/>
                </a:cubicBezTo>
                <a:close/>
                <a:moveTo>
                  <a:pt x="4358297" y="5206858"/>
                </a:moveTo>
                <a:cubicBezTo>
                  <a:pt x="4388482" y="5206858"/>
                  <a:pt x="4413269" y="5213947"/>
                  <a:pt x="4432660" y="5228124"/>
                </a:cubicBezTo>
                <a:cubicBezTo>
                  <a:pt x="4452051" y="5242301"/>
                  <a:pt x="4461747" y="5262104"/>
                  <a:pt x="4461747" y="5287532"/>
                </a:cubicBezTo>
                <a:cubicBezTo>
                  <a:pt x="4461747" y="5325399"/>
                  <a:pt x="4436410" y="5354852"/>
                  <a:pt x="4385738" y="5375889"/>
                </a:cubicBezTo>
                <a:cubicBezTo>
                  <a:pt x="4362505" y="5385585"/>
                  <a:pt x="4346864" y="5394000"/>
                  <a:pt x="4338815" y="5401134"/>
                </a:cubicBezTo>
                <a:cubicBezTo>
                  <a:pt x="4330766" y="5408269"/>
                  <a:pt x="4326741" y="5417416"/>
                  <a:pt x="4326741" y="5428575"/>
                </a:cubicBezTo>
                <a:cubicBezTo>
                  <a:pt x="4326741" y="5447600"/>
                  <a:pt x="4340095" y="5457112"/>
                  <a:pt x="4366804" y="5457112"/>
                </a:cubicBezTo>
                <a:cubicBezTo>
                  <a:pt x="4392598" y="5457112"/>
                  <a:pt x="4415739" y="5448972"/>
                  <a:pt x="4436228" y="5432691"/>
                </a:cubicBezTo>
                <a:lnTo>
                  <a:pt x="4460649" y="5487296"/>
                </a:lnTo>
                <a:cubicBezTo>
                  <a:pt x="4442173" y="5497175"/>
                  <a:pt x="4427035" y="5503715"/>
                  <a:pt x="4415236" y="5506916"/>
                </a:cubicBezTo>
                <a:cubicBezTo>
                  <a:pt x="4403436" y="5510118"/>
                  <a:pt x="4387750" y="5511718"/>
                  <a:pt x="4368176" y="5511718"/>
                </a:cubicBezTo>
                <a:cubicBezTo>
                  <a:pt x="4333418" y="5511718"/>
                  <a:pt x="4305932" y="5503898"/>
                  <a:pt x="4285718" y="5488257"/>
                </a:cubicBezTo>
                <a:cubicBezTo>
                  <a:pt x="4265504" y="5472616"/>
                  <a:pt x="4255397" y="5451167"/>
                  <a:pt x="4255397" y="5423910"/>
                </a:cubicBezTo>
                <a:cubicBezTo>
                  <a:pt x="4255397" y="5403421"/>
                  <a:pt x="4261068" y="5385951"/>
                  <a:pt x="4272410" y="5371499"/>
                </a:cubicBezTo>
                <a:cubicBezTo>
                  <a:pt x="4283752" y="5357047"/>
                  <a:pt x="4302319" y="5344745"/>
                  <a:pt x="4328113" y="5334592"/>
                </a:cubicBezTo>
                <a:cubicBezTo>
                  <a:pt x="4353907" y="5324439"/>
                  <a:pt x="4370737" y="5316344"/>
                  <a:pt x="4378603" y="5310307"/>
                </a:cubicBezTo>
                <a:cubicBezTo>
                  <a:pt x="4386469" y="5304270"/>
                  <a:pt x="4390402" y="5297502"/>
                  <a:pt x="4390402" y="5290002"/>
                </a:cubicBezTo>
                <a:cubicBezTo>
                  <a:pt x="4390402" y="5270976"/>
                  <a:pt x="4378420" y="5261464"/>
                  <a:pt x="4354456" y="5261464"/>
                </a:cubicBezTo>
                <a:cubicBezTo>
                  <a:pt x="4327747" y="5261464"/>
                  <a:pt x="4306893" y="5267866"/>
                  <a:pt x="4291892" y="5280672"/>
                </a:cubicBezTo>
                <a:lnTo>
                  <a:pt x="4272135" y="5227438"/>
                </a:lnTo>
                <a:cubicBezTo>
                  <a:pt x="4299026" y="5213718"/>
                  <a:pt x="4327747" y="5206858"/>
                  <a:pt x="4358297" y="5206858"/>
                </a:cubicBezTo>
                <a:close/>
                <a:moveTo>
                  <a:pt x="4729772" y="5206858"/>
                </a:moveTo>
                <a:cubicBezTo>
                  <a:pt x="4759956" y="5206858"/>
                  <a:pt x="4784744" y="5213947"/>
                  <a:pt x="4804135" y="5228124"/>
                </a:cubicBezTo>
                <a:cubicBezTo>
                  <a:pt x="4823526" y="5242301"/>
                  <a:pt x="4833222" y="5262104"/>
                  <a:pt x="4833222" y="5287532"/>
                </a:cubicBezTo>
                <a:cubicBezTo>
                  <a:pt x="4833222" y="5325399"/>
                  <a:pt x="4807886" y="5354852"/>
                  <a:pt x="4757213" y="5375889"/>
                </a:cubicBezTo>
                <a:cubicBezTo>
                  <a:pt x="4733980" y="5385585"/>
                  <a:pt x="4718339" y="5394000"/>
                  <a:pt x="4710290" y="5401134"/>
                </a:cubicBezTo>
                <a:cubicBezTo>
                  <a:pt x="4702241" y="5408269"/>
                  <a:pt x="4698216" y="5417416"/>
                  <a:pt x="4698216" y="5428575"/>
                </a:cubicBezTo>
                <a:cubicBezTo>
                  <a:pt x="4698216" y="5447600"/>
                  <a:pt x="4711570" y="5457112"/>
                  <a:pt x="4738279" y="5457112"/>
                </a:cubicBezTo>
                <a:cubicBezTo>
                  <a:pt x="4764072" y="5457112"/>
                  <a:pt x="4787214" y="5448972"/>
                  <a:pt x="4807702" y="5432691"/>
                </a:cubicBezTo>
                <a:lnTo>
                  <a:pt x="4832124" y="5487296"/>
                </a:lnTo>
                <a:cubicBezTo>
                  <a:pt x="4813648" y="5497175"/>
                  <a:pt x="4798510" y="5503715"/>
                  <a:pt x="4786711" y="5506916"/>
                </a:cubicBezTo>
                <a:cubicBezTo>
                  <a:pt x="4774912" y="5510118"/>
                  <a:pt x="4759225" y="5511718"/>
                  <a:pt x="4739651" y="5511718"/>
                </a:cubicBezTo>
                <a:cubicBezTo>
                  <a:pt x="4704893" y="5511718"/>
                  <a:pt x="4677407" y="5503898"/>
                  <a:pt x="4657193" y="5488257"/>
                </a:cubicBezTo>
                <a:cubicBezTo>
                  <a:pt x="4636979" y="5472616"/>
                  <a:pt x="4626872" y="5451167"/>
                  <a:pt x="4626872" y="5423910"/>
                </a:cubicBezTo>
                <a:cubicBezTo>
                  <a:pt x="4626872" y="5403421"/>
                  <a:pt x="4632543" y="5385951"/>
                  <a:pt x="4643884" y="5371499"/>
                </a:cubicBezTo>
                <a:cubicBezTo>
                  <a:pt x="4655227" y="5357047"/>
                  <a:pt x="4673794" y="5344745"/>
                  <a:pt x="4699588" y="5334592"/>
                </a:cubicBezTo>
                <a:cubicBezTo>
                  <a:pt x="4725382" y="5324439"/>
                  <a:pt x="4742212" y="5316344"/>
                  <a:pt x="4750078" y="5310307"/>
                </a:cubicBezTo>
                <a:cubicBezTo>
                  <a:pt x="4757944" y="5304270"/>
                  <a:pt x="4761877" y="5297502"/>
                  <a:pt x="4761877" y="5290002"/>
                </a:cubicBezTo>
                <a:cubicBezTo>
                  <a:pt x="4761877" y="5270976"/>
                  <a:pt x="4749895" y="5261464"/>
                  <a:pt x="4725931" y="5261464"/>
                </a:cubicBezTo>
                <a:cubicBezTo>
                  <a:pt x="4699222" y="5261464"/>
                  <a:pt x="4678368" y="5267866"/>
                  <a:pt x="4663367" y="5280672"/>
                </a:cubicBezTo>
                <a:lnTo>
                  <a:pt x="4643610" y="5227438"/>
                </a:lnTo>
                <a:cubicBezTo>
                  <a:pt x="4670502" y="5213718"/>
                  <a:pt x="4699222" y="5206858"/>
                  <a:pt x="4729772" y="5206858"/>
                </a:cubicBezTo>
                <a:close/>
                <a:moveTo>
                  <a:pt x="4987180" y="5206858"/>
                </a:moveTo>
                <a:cubicBezTo>
                  <a:pt x="5029621" y="5206858"/>
                  <a:pt x="5063784" y="5220944"/>
                  <a:pt x="5089669" y="5249116"/>
                </a:cubicBezTo>
                <a:cubicBezTo>
                  <a:pt x="5115554" y="5277288"/>
                  <a:pt x="5128497" y="5313783"/>
                  <a:pt x="5128497" y="5358602"/>
                </a:cubicBezTo>
                <a:cubicBezTo>
                  <a:pt x="5128497" y="5404884"/>
                  <a:pt x="5116103" y="5441974"/>
                  <a:pt x="5091315" y="5469872"/>
                </a:cubicBezTo>
                <a:cubicBezTo>
                  <a:pt x="5066528" y="5497770"/>
                  <a:pt x="5031816" y="5511718"/>
                  <a:pt x="4987180" y="5511718"/>
                </a:cubicBezTo>
                <a:cubicBezTo>
                  <a:pt x="4943458" y="5511718"/>
                  <a:pt x="4909021" y="5497907"/>
                  <a:pt x="4883868" y="5470284"/>
                </a:cubicBezTo>
                <a:cubicBezTo>
                  <a:pt x="4858714" y="5442660"/>
                  <a:pt x="4846137" y="5405433"/>
                  <a:pt x="4846137" y="5358602"/>
                </a:cubicBezTo>
                <a:cubicBezTo>
                  <a:pt x="4846137" y="5311588"/>
                  <a:pt x="4858486" y="5274544"/>
                  <a:pt x="4883182" y="5247469"/>
                </a:cubicBezTo>
                <a:cubicBezTo>
                  <a:pt x="4907878" y="5220395"/>
                  <a:pt x="4942544" y="5206858"/>
                  <a:pt x="4987180" y="5206858"/>
                </a:cubicBezTo>
                <a:close/>
                <a:moveTo>
                  <a:pt x="1462376" y="5189845"/>
                </a:moveTo>
                <a:lnTo>
                  <a:pt x="1489268" y="5221127"/>
                </a:lnTo>
                <a:cubicBezTo>
                  <a:pt x="1507012" y="5211248"/>
                  <a:pt x="1529056" y="5206309"/>
                  <a:pt x="1555398" y="5206309"/>
                </a:cubicBezTo>
                <a:cubicBezTo>
                  <a:pt x="1589059" y="5206309"/>
                  <a:pt x="1617414" y="5216599"/>
                  <a:pt x="1640463" y="5237179"/>
                </a:cubicBezTo>
                <a:cubicBezTo>
                  <a:pt x="1663513" y="5257759"/>
                  <a:pt x="1675038" y="5283782"/>
                  <a:pt x="1675038" y="5315247"/>
                </a:cubicBezTo>
                <a:cubicBezTo>
                  <a:pt x="1675038" y="5355126"/>
                  <a:pt x="1658300" y="5385951"/>
                  <a:pt x="1624822" y="5407720"/>
                </a:cubicBezTo>
                <a:cubicBezTo>
                  <a:pt x="1635250" y="5412110"/>
                  <a:pt x="1644396" y="5418970"/>
                  <a:pt x="1652262" y="5428300"/>
                </a:cubicBezTo>
                <a:cubicBezTo>
                  <a:pt x="1660129" y="5437630"/>
                  <a:pt x="1664062" y="5447142"/>
                  <a:pt x="1664062" y="5456838"/>
                </a:cubicBezTo>
                <a:cubicBezTo>
                  <a:pt x="1664062" y="5490681"/>
                  <a:pt x="1640463" y="5507602"/>
                  <a:pt x="1593266" y="5507602"/>
                </a:cubicBezTo>
                <a:cubicBezTo>
                  <a:pt x="1585583" y="5507602"/>
                  <a:pt x="1574150" y="5506688"/>
                  <a:pt x="1558966" y="5504858"/>
                </a:cubicBezTo>
                <a:cubicBezTo>
                  <a:pt x="1543782" y="5503029"/>
                  <a:pt x="1532349" y="5502114"/>
                  <a:pt x="1524666" y="5502114"/>
                </a:cubicBezTo>
                <a:cubicBezTo>
                  <a:pt x="1496311" y="5502114"/>
                  <a:pt x="1482134" y="5510804"/>
                  <a:pt x="1482134" y="5528182"/>
                </a:cubicBezTo>
                <a:cubicBezTo>
                  <a:pt x="1482134" y="5538427"/>
                  <a:pt x="1488536" y="5546476"/>
                  <a:pt x="1501342" y="5552330"/>
                </a:cubicBezTo>
                <a:cubicBezTo>
                  <a:pt x="1514147" y="5558184"/>
                  <a:pt x="1530428" y="5561111"/>
                  <a:pt x="1550185" y="5561111"/>
                </a:cubicBezTo>
                <a:cubicBezTo>
                  <a:pt x="1579638" y="5561111"/>
                  <a:pt x="1606346" y="5550135"/>
                  <a:pt x="1630310" y="5528182"/>
                </a:cubicBezTo>
                <a:lnTo>
                  <a:pt x="1673666" y="5581691"/>
                </a:lnTo>
                <a:cubicBezTo>
                  <a:pt x="1637262" y="5608216"/>
                  <a:pt x="1596559" y="5621479"/>
                  <a:pt x="1551557" y="5621479"/>
                </a:cubicBezTo>
                <a:cubicBezTo>
                  <a:pt x="1513872" y="5621479"/>
                  <a:pt x="1481676" y="5613018"/>
                  <a:pt x="1454968" y="5596097"/>
                </a:cubicBezTo>
                <a:cubicBezTo>
                  <a:pt x="1428260" y="5579175"/>
                  <a:pt x="1414905" y="5555897"/>
                  <a:pt x="1414905" y="5526262"/>
                </a:cubicBezTo>
                <a:cubicBezTo>
                  <a:pt x="1414905" y="5472662"/>
                  <a:pt x="1448290" y="5445862"/>
                  <a:pt x="1515062" y="5445862"/>
                </a:cubicBezTo>
                <a:cubicBezTo>
                  <a:pt x="1524574" y="5445862"/>
                  <a:pt x="1536008" y="5447234"/>
                  <a:pt x="1549362" y="5449978"/>
                </a:cubicBezTo>
                <a:cubicBezTo>
                  <a:pt x="1562716" y="5452722"/>
                  <a:pt x="1572228" y="5454094"/>
                  <a:pt x="1577900" y="5454094"/>
                </a:cubicBezTo>
                <a:cubicBezTo>
                  <a:pt x="1590522" y="5454094"/>
                  <a:pt x="1596834" y="5450435"/>
                  <a:pt x="1596834" y="5443118"/>
                </a:cubicBezTo>
                <a:cubicBezTo>
                  <a:pt x="1596834" y="5438910"/>
                  <a:pt x="1592580" y="5434840"/>
                  <a:pt x="1584074" y="5430907"/>
                </a:cubicBezTo>
                <a:cubicBezTo>
                  <a:pt x="1575567" y="5426974"/>
                  <a:pt x="1570674" y="5425007"/>
                  <a:pt x="1569393" y="5425007"/>
                </a:cubicBezTo>
                <a:lnTo>
                  <a:pt x="1558142" y="5426654"/>
                </a:lnTo>
                <a:cubicBezTo>
                  <a:pt x="1549910" y="5427568"/>
                  <a:pt x="1543325" y="5428026"/>
                  <a:pt x="1538386" y="5428026"/>
                </a:cubicBezTo>
                <a:cubicBezTo>
                  <a:pt x="1507287" y="5428026"/>
                  <a:pt x="1481539" y="5418010"/>
                  <a:pt x="1461142" y="5397979"/>
                </a:cubicBezTo>
                <a:cubicBezTo>
                  <a:pt x="1440744" y="5377947"/>
                  <a:pt x="1430546" y="5351193"/>
                  <a:pt x="1430546" y="5317716"/>
                </a:cubicBezTo>
                <a:cubicBezTo>
                  <a:pt x="1430546" y="5294301"/>
                  <a:pt x="1436216" y="5273995"/>
                  <a:pt x="1447558" y="5256799"/>
                </a:cubicBezTo>
                <a:lnTo>
                  <a:pt x="1414905" y="5232926"/>
                </a:lnTo>
                <a:close/>
                <a:moveTo>
                  <a:pt x="5457598" y="5104232"/>
                </a:moveTo>
                <a:lnTo>
                  <a:pt x="5457598" y="5506505"/>
                </a:lnTo>
                <a:lnTo>
                  <a:pt x="5388997" y="5506505"/>
                </a:lnTo>
                <a:lnTo>
                  <a:pt x="5388997" y="5257348"/>
                </a:lnTo>
                <a:lnTo>
                  <a:pt x="5193898" y="5511718"/>
                </a:lnTo>
                <a:lnTo>
                  <a:pt x="5164811" y="5511718"/>
                </a:lnTo>
                <a:lnTo>
                  <a:pt x="5164811" y="5104232"/>
                </a:lnTo>
                <a:lnTo>
                  <a:pt x="5233411" y="5104232"/>
                </a:lnTo>
                <a:lnTo>
                  <a:pt x="5233411" y="5346803"/>
                </a:lnTo>
                <a:lnTo>
                  <a:pt x="5423297" y="5104232"/>
                </a:lnTo>
                <a:close/>
                <a:moveTo>
                  <a:pt x="1331231" y="5098469"/>
                </a:moveTo>
                <a:cubicBezTo>
                  <a:pt x="1342207" y="5098469"/>
                  <a:pt x="1351582" y="5102356"/>
                  <a:pt x="1359357" y="5110131"/>
                </a:cubicBezTo>
                <a:cubicBezTo>
                  <a:pt x="1367132" y="5117906"/>
                  <a:pt x="1371019" y="5127281"/>
                  <a:pt x="1371019" y="5138257"/>
                </a:cubicBezTo>
                <a:cubicBezTo>
                  <a:pt x="1371019" y="5149233"/>
                  <a:pt x="1367132" y="5158609"/>
                  <a:pt x="1359357" y="5166384"/>
                </a:cubicBezTo>
                <a:cubicBezTo>
                  <a:pt x="1351582" y="5174158"/>
                  <a:pt x="1342207" y="5178046"/>
                  <a:pt x="1331231" y="5178046"/>
                </a:cubicBezTo>
                <a:cubicBezTo>
                  <a:pt x="1320255" y="5178046"/>
                  <a:pt x="1310880" y="5174158"/>
                  <a:pt x="1303104" y="5166384"/>
                </a:cubicBezTo>
                <a:cubicBezTo>
                  <a:pt x="1295330" y="5158609"/>
                  <a:pt x="1291442" y="5149233"/>
                  <a:pt x="1291442" y="5138257"/>
                </a:cubicBezTo>
                <a:cubicBezTo>
                  <a:pt x="1291442" y="5127281"/>
                  <a:pt x="1295330" y="5117906"/>
                  <a:pt x="1303104" y="5110131"/>
                </a:cubicBezTo>
                <a:cubicBezTo>
                  <a:pt x="1310880" y="5102356"/>
                  <a:pt x="1320255" y="5098469"/>
                  <a:pt x="1331231" y="5098469"/>
                </a:cubicBezTo>
                <a:close/>
                <a:moveTo>
                  <a:pt x="4989924" y="5092432"/>
                </a:moveTo>
                <a:lnTo>
                  <a:pt x="5036298" y="5172832"/>
                </a:lnTo>
                <a:lnTo>
                  <a:pt x="4984161" y="5172832"/>
                </a:lnTo>
                <a:lnTo>
                  <a:pt x="4922147" y="5092432"/>
                </a:lnTo>
                <a:close/>
                <a:moveTo>
                  <a:pt x="1232362" y="3745175"/>
                </a:moveTo>
                <a:lnTo>
                  <a:pt x="1108488" y="4196946"/>
                </a:lnTo>
                <a:lnTo>
                  <a:pt x="1353319" y="4196946"/>
                </a:lnTo>
                <a:close/>
                <a:moveTo>
                  <a:pt x="3311565" y="3723315"/>
                </a:moveTo>
                <a:lnTo>
                  <a:pt x="3183321" y="3723315"/>
                </a:lnTo>
                <a:cubicBezTo>
                  <a:pt x="3123084" y="3723315"/>
                  <a:pt x="3079364" y="3734488"/>
                  <a:pt x="3052161" y="3756834"/>
                </a:cubicBezTo>
                <a:cubicBezTo>
                  <a:pt x="3024957" y="3779180"/>
                  <a:pt x="3011355" y="3820470"/>
                  <a:pt x="3011355" y="3880706"/>
                </a:cubicBezTo>
                <a:cubicBezTo>
                  <a:pt x="3011355" y="3911796"/>
                  <a:pt x="3014756" y="3937542"/>
                  <a:pt x="3021557" y="3957944"/>
                </a:cubicBezTo>
                <a:cubicBezTo>
                  <a:pt x="3028358" y="3978347"/>
                  <a:pt x="3039044" y="3994621"/>
                  <a:pt x="3053618" y="4006765"/>
                </a:cubicBezTo>
                <a:cubicBezTo>
                  <a:pt x="3068192" y="4018910"/>
                  <a:pt x="3086165" y="4027411"/>
                  <a:pt x="3107539" y="4032268"/>
                </a:cubicBezTo>
                <a:cubicBezTo>
                  <a:pt x="3128913" y="4037126"/>
                  <a:pt x="3154173" y="4039555"/>
                  <a:pt x="3183321" y="4039555"/>
                </a:cubicBezTo>
                <a:lnTo>
                  <a:pt x="3311565" y="4039555"/>
                </a:lnTo>
                <a:close/>
                <a:moveTo>
                  <a:pt x="1354776" y="3552808"/>
                </a:moveTo>
                <a:lnTo>
                  <a:pt x="1681218" y="4616655"/>
                </a:lnTo>
                <a:lnTo>
                  <a:pt x="1466990" y="4616655"/>
                </a:lnTo>
                <a:lnTo>
                  <a:pt x="1399954" y="4370367"/>
                </a:lnTo>
                <a:lnTo>
                  <a:pt x="1069140" y="4370367"/>
                </a:lnTo>
                <a:lnTo>
                  <a:pt x="1000648" y="4616655"/>
                </a:lnTo>
                <a:lnTo>
                  <a:pt x="771848" y="4616655"/>
                </a:lnTo>
                <a:lnTo>
                  <a:pt x="1099744" y="3552808"/>
                </a:lnTo>
                <a:close/>
                <a:moveTo>
                  <a:pt x="2612173" y="3552808"/>
                </a:moveTo>
                <a:lnTo>
                  <a:pt x="2612173" y="4616655"/>
                </a:lnTo>
                <a:lnTo>
                  <a:pt x="2411062" y="4616655"/>
                </a:lnTo>
                <a:lnTo>
                  <a:pt x="2411062" y="3918597"/>
                </a:lnTo>
                <a:lnTo>
                  <a:pt x="2005925" y="4616655"/>
                </a:lnTo>
                <a:lnTo>
                  <a:pt x="1810644" y="4616655"/>
                </a:lnTo>
                <a:lnTo>
                  <a:pt x="1810644" y="3552808"/>
                </a:lnTo>
                <a:lnTo>
                  <a:pt x="2011755" y="3552808"/>
                </a:lnTo>
                <a:lnTo>
                  <a:pt x="2011755" y="4253781"/>
                </a:lnTo>
                <a:lnTo>
                  <a:pt x="2418349" y="3552808"/>
                </a:lnTo>
                <a:close/>
                <a:moveTo>
                  <a:pt x="3517048" y="3552808"/>
                </a:moveTo>
                <a:lnTo>
                  <a:pt x="3517048" y="4616655"/>
                </a:lnTo>
                <a:lnTo>
                  <a:pt x="3311565" y="4616655"/>
                </a:lnTo>
                <a:lnTo>
                  <a:pt x="3311565" y="4205690"/>
                </a:lnTo>
                <a:lnTo>
                  <a:pt x="3167289" y="4205690"/>
                </a:lnTo>
                <a:lnTo>
                  <a:pt x="3068192" y="4478209"/>
                </a:lnTo>
                <a:cubicBezTo>
                  <a:pt x="3059448" y="4501526"/>
                  <a:pt x="3049732" y="4522172"/>
                  <a:pt x="3039044" y="4540146"/>
                </a:cubicBezTo>
                <a:cubicBezTo>
                  <a:pt x="3028358" y="4558119"/>
                  <a:pt x="3014999" y="4573421"/>
                  <a:pt x="2998968" y="4586051"/>
                </a:cubicBezTo>
                <a:cubicBezTo>
                  <a:pt x="2982937" y="4598681"/>
                  <a:pt x="2963506" y="4608397"/>
                  <a:pt x="2940675" y="4615198"/>
                </a:cubicBezTo>
                <a:cubicBezTo>
                  <a:pt x="2917844" y="4621999"/>
                  <a:pt x="2890398" y="4625399"/>
                  <a:pt x="2858337" y="4625399"/>
                </a:cubicBezTo>
                <a:cubicBezTo>
                  <a:pt x="2843763" y="4625399"/>
                  <a:pt x="2828218" y="4624671"/>
                  <a:pt x="2811703" y="4623213"/>
                </a:cubicBezTo>
                <a:cubicBezTo>
                  <a:pt x="2795186" y="4621756"/>
                  <a:pt x="2778670" y="4619570"/>
                  <a:pt x="2762153" y="4616655"/>
                </a:cubicBezTo>
                <a:lnTo>
                  <a:pt x="2762153" y="4478209"/>
                </a:lnTo>
                <a:lnTo>
                  <a:pt x="2789842" y="4478209"/>
                </a:lnTo>
                <a:cubicBezTo>
                  <a:pt x="2821903" y="4478209"/>
                  <a:pt x="2844249" y="4471165"/>
                  <a:pt x="2856879" y="4457078"/>
                </a:cubicBezTo>
                <a:cubicBezTo>
                  <a:pt x="2869509" y="4442991"/>
                  <a:pt x="2880196" y="4424288"/>
                  <a:pt x="2888941" y="4400971"/>
                </a:cubicBezTo>
                <a:lnTo>
                  <a:pt x="2976380" y="4167799"/>
                </a:lnTo>
                <a:cubicBezTo>
                  <a:pt x="2912258" y="4139624"/>
                  <a:pt x="2866838" y="4099791"/>
                  <a:pt x="2840121" y="4048299"/>
                </a:cubicBezTo>
                <a:cubicBezTo>
                  <a:pt x="2813402" y="3996807"/>
                  <a:pt x="2800044" y="3938514"/>
                  <a:pt x="2800044" y="3873420"/>
                </a:cubicBezTo>
                <a:cubicBezTo>
                  <a:pt x="2800044" y="3770436"/>
                  <a:pt x="2831133" y="3691254"/>
                  <a:pt x="2893313" y="3635876"/>
                </a:cubicBezTo>
                <a:cubicBezTo>
                  <a:pt x="2955491" y="3580497"/>
                  <a:pt x="3052161" y="3552808"/>
                  <a:pt x="3183321" y="3552808"/>
                </a:cubicBezTo>
                <a:close/>
                <a:moveTo>
                  <a:pt x="4326672" y="3552808"/>
                </a:moveTo>
                <a:lnTo>
                  <a:pt x="4326672" y="4616655"/>
                </a:lnTo>
                <a:lnTo>
                  <a:pt x="3679620" y="4616655"/>
                </a:lnTo>
                <a:lnTo>
                  <a:pt x="3679620" y="4438862"/>
                </a:lnTo>
                <a:lnTo>
                  <a:pt x="4121189" y="4438862"/>
                </a:lnTo>
                <a:lnTo>
                  <a:pt x="4121189" y="4160513"/>
                </a:lnTo>
                <a:lnTo>
                  <a:pt x="3742285" y="4160513"/>
                </a:lnTo>
                <a:lnTo>
                  <a:pt x="3742285" y="3982719"/>
                </a:lnTo>
                <a:lnTo>
                  <a:pt x="4121189" y="3982719"/>
                </a:lnTo>
                <a:lnTo>
                  <a:pt x="4121189" y="3730602"/>
                </a:lnTo>
                <a:lnTo>
                  <a:pt x="3698565" y="3730602"/>
                </a:lnTo>
                <a:lnTo>
                  <a:pt x="3698565" y="3552808"/>
                </a:lnTo>
                <a:close/>
                <a:moveTo>
                  <a:pt x="5270790" y="3552808"/>
                </a:moveTo>
                <a:lnTo>
                  <a:pt x="5270790" y="3734974"/>
                </a:lnTo>
                <a:lnTo>
                  <a:pt x="4979325" y="3734974"/>
                </a:lnTo>
                <a:lnTo>
                  <a:pt x="4979325" y="4616655"/>
                </a:lnTo>
                <a:lnTo>
                  <a:pt x="4766555" y="4616655"/>
                </a:lnTo>
                <a:lnTo>
                  <a:pt x="4766555" y="3734974"/>
                </a:lnTo>
                <a:lnTo>
                  <a:pt x="4473634" y="3734974"/>
                </a:lnTo>
                <a:lnTo>
                  <a:pt x="4473634" y="3552808"/>
                </a:lnTo>
                <a:close/>
                <a:moveTo>
                  <a:pt x="6222147" y="3552808"/>
                </a:moveTo>
                <a:lnTo>
                  <a:pt x="6222147" y="4616655"/>
                </a:lnTo>
                <a:lnTo>
                  <a:pt x="6021036" y="4616655"/>
                </a:lnTo>
                <a:lnTo>
                  <a:pt x="6021036" y="3918597"/>
                </a:lnTo>
                <a:lnTo>
                  <a:pt x="5615900" y="4616655"/>
                </a:lnTo>
                <a:lnTo>
                  <a:pt x="5420619" y="4616655"/>
                </a:lnTo>
                <a:lnTo>
                  <a:pt x="5420619" y="3552808"/>
                </a:lnTo>
                <a:lnTo>
                  <a:pt x="5621729" y="3552808"/>
                </a:lnTo>
                <a:lnTo>
                  <a:pt x="5621729" y="4253781"/>
                </a:lnTo>
                <a:lnTo>
                  <a:pt x="6028323" y="3552808"/>
                </a:lnTo>
                <a:close/>
                <a:moveTo>
                  <a:pt x="6641247" y="3552808"/>
                </a:moveTo>
                <a:lnTo>
                  <a:pt x="6641247" y="4616655"/>
                </a:lnTo>
                <a:lnTo>
                  <a:pt x="6428478" y="4616655"/>
                </a:lnTo>
                <a:lnTo>
                  <a:pt x="6428478" y="3552808"/>
                </a:lnTo>
                <a:close/>
                <a:moveTo>
                  <a:pt x="1232362" y="2335475"/>
                </a:moveTo>
                <a:lnTo>
                  <a:pt x="1108488" y="2787246"/>
                </a:lnTo>
                <a:lnTo>
                  <a:pt x="1353319" y="2787246"/>
                </a:lnTo>
                <a:close/>
                <a:moveTo>
                  <a:pt x="7823662" y="2335475"/>
                </a:moveTo>
                <a:lnTo>
                  <a:pt x="7699789" y="2787246"/>
                </a:lnTo>
                <a:lnTo>
                  <a:pt x="7944620" y="2787246"/>
                </a:lnTo>
                <a:close/>
                <a:moveTo>
                  <a:pt x="6037172" y="2326731"/>
                </a:moveTo>
                <a:lnTo>
                  <a:pt x="5900183" y="2326731"/>
                </a:lnTo>
                <a:cubicBezTo>
                  <a:pt x="5857435" y="2326731"/>
                  <a:pt x="5820274" y="2331589"/>
                  <a:pt x="5788698" y="2341305"/>
                </a:cubicBezTo>
                <a:cubicBezTo>
                  <a:pt x="5757123" y="2351020"/>
                  <a:pt x="5730891" y="2368508"/>
                  <a:pt x="5710002" y="2393768"/>
                </a:cubicBezTo>
                <a:cubicBezTo>
                  <a:pt x="5689114" y="2419029"/>
                  <a:pt x="5673569" y="2454247"/>
                  <a:pt x="5663368" y="2499424"/>
                </a:cubicBezTo>
                <a:cubicBezTo>
                  <a:pt x="5653167" y="2544601"/>
                  <a:pt x="5648066" y="2602651"/>
                  <a:pt x="5648066" y="2673575"/>
                </a:cubicBezTo>
                <a:cubicBezTo>
                  <a:pt x="5648066" y="2745469"/>
                  <a:pt x="5653409" y="2804005"/>
                  <a:pt x="5664096" y="2849182"/>
                </a:cubicBezTo>
                <a:cubicBezTo>
                  <a:pt x="5674784" y="2894359"/>
                  <a:pt x="5690572" y="2929821"/>
                  <a:pt x="5711460" y="2955567"/>
                </a:cubicBezTo>
                <a:cubicBezTo>
                  <a:pt x="5732348" y="2981313"/>
                  <a:pt x="5758823" y="2999044"/>
                  <a:pt x="5790884" y="3008759"/>
                </a:cubicBezTo>
                <a:cubicBezTo>
                  <a:pt x="5822945" y="3018475"/>
                  <a:pt x="5860350" y="3023333"/>
                  <a:pt x="5903098" y="3023333"/>
                </a:cubicBezTo>
                <a:lnTo>
                  <a:pt x="6037172" y="3023333"/>
                </a:lnTo>
                <a:close/>
                <a:moveTo>
                  <a:pt x="2721014" y="2313615"/>
                </a:moveTo>
                <a:lnTo>
                  <a:pt x="2592769" y="2313615"/>
                </a:lnTo>
                <a:cubicBezTo>
                  <a:pt x="2532534" y="2313615"/>
                  <a:pt x="2488814" y="2324788"/>
                  <a:pt x="2461610" y="2347134"/>
                </a:cubicBezTo>
                <a:cubicBezTo>
                  <a:pt x="2434407" y="2369479"/>
                  <a:pt x="2420805" y="2410770"/>
                  <a:pt x="2420805" y="2471007"/>
                </a:cubicBezTo>
                <a:cubicBezTo>
                  <a:pt x="2420805" y="2502096"/>
                  <a:pt x="2424206" y="2527842"/>
                  <a:pt x="2431007" y="2548244"/>
                </a:cubicBezTo>
                <a:cubicBezTo>
                  <a:pt x="2437808" y="2568647"/>
                  <a:pt x="2448494" y="2584920"/>
                  <a:pt x="2463068" y="2597065"/>
                </a:cubicBezTo>
                <a:cubicBezTo>
                  <a:pt x="2477642" y="2609209"/>
                  <a:pt x="2495615" y="2617710"/>
                  <a:pt x="2516989" y="2622568"/>
                </a:cubicBezTo>
                <a:cubicBezTo>
                  <a:pt x="2538363" y="2627426"/>
                  <a:pt x="2563623" y="2629854"/>
                  <a:pt x="2592769" y="2629854"/>
                </a:cubicBezTo>
                <a:lnTo>
                  <a:pt x="2721014" y="2629854"/>
                </a:lnTo>
                <a:close/>
                <a:moveTo>
                  <a:pt x="3544231" y="2304871"/>
                </a:moveTo>
                <a:cubicBezTo>
                  <a:pt x="3506342" y="2304871"/>
                  <a:pt x="3473309" y="2310943"/>
                  <a:pt x="3445134" y="2323087"/>
                </a:cubicBezTo>
                <a:cubicBezTo>
                  <a:pt x="3416959" y="2335232"/>
                  <a:pt x="3393884" y="2355635"/>
                  <a:pt x="3375910" y="2384295"/>
                </a:cubicBezTo>
                <a:cubicBezTo>
                  <a:pt x="3357937" y="2412956"/>
                  <a:pt x="3344578" y="2450847"/>
                  <a:pt x="3335834" y="2497967"/>
                </a:cubicBezTo>
                <a:cubicBezTo>
                  <a:pt x="3327090" y="2545087"/>
                  <a:pt x="3322718" y="2604109"/>
                  <a:pt x="3322718" y="2675032"/>
                </a:cubicBezTo>
                <a:cubicBezTo>
                  <a:pt x="3322718" y="2745955"/>
                  <a:pt x="3327090" y="2804977"/>
                  <a:pt x="3335834" y="2852097"/>
                </a:cubicBezTo>
                <a:cubicBezTo>
                  <a:pt x="3344578" y="2899217"/>
                  <a:pt x="3358180" y="2937108"/>
                  <a:pt x="3376639" y="2965768"/>
                </a:cubicBezTo>
                <a:cubicBezTo>
                  <a:pt x="3395098" y="2994429"/>
                  <a:pt x="3418416" y="3014832"/>
                  <a:pt x="3446591" y="3026976"/>
                </a:cubicBezTo>
                <a:cubicBezTo>
                  <a:pt x="3474766" y="3039120"/>
                  <a:pt x="3507798" y="3045193"/>
                  <a:pt x="3545689" y="3045193"/>
                </a:cubicBezTo>
                <a:cubicBezTo>
                  <a:pt x="3583580" y="3045193"/>
                  <a:pt x="3616613" y="3039120"/>
                  <a:pt x="3644787" y="3026976"/>
                </a:cubicBezTo>
                <a:cubicBezTo>
                  <a:pt x="3672962" y="3014832"/>
                  <a:pt x="3696280" y="2994672"/>
                  <a:pt x="3714738" y="2966497"/>
                </a:cubicBezTo>
                <a:cubicBezTo>
                  <a:pt x="3732227" y="2937351"/>
                  <a:pt x="3745342" y="2899217"/>
                  <a:pt x="3754087" y="2852097"/>
                </a:cubicBezTo>
                <a:cubicBezTo>
                  <a:pt x="3762831" y="2804977"/>
                  <a:pt x="3767202" y="2745955"/>
                  <a:pt x="3767202" y="2675032"/>
                </a:cubicBezTo>
                <a:cubicBezTo>
                  <a:pt x="3767202" y="2604109"/>
                  <a:pt x="3762831" y="2545087"/>
                  <a:pt x="3754087" y="2497967"/>
                </a:cubicBezTo>
                <a:cubicBezTo>
                  <a:pt x="3745342" y="2450847"/>
                  <a:pt x="3731741" y="2412956"/>
                  <a:pt x="3713281" y="2384295"/>
                </a:cubicBezTo>
                <a:cubicBezTo>
                  <a:pt x="3694822" y="2355635"/>
                  <a:pt x="3671505" y="2335232"/>
                  <a:pt x="3643330" y="2323087"/>
                </a:cubicBezTo>
                <a:cubicBezTo>
                  <a:pt x="3615155" y="2310943"/>
                  <a:pt x="3582122" y="2304871"/>
                  <a:pt x="3544231" y="2304871"/>
                </a:cubicBezTo>
                <a:close/>
                <a:moveTo>
                  <a:pt x="1354776" y="2143108"/>
                </a:moveTo>
                <a:lnTo>
                  <a:pt x="1681218" y="3206955"/>
                </a:lnTo>
                <a:lnTo>
                  <a:pt x="1466990" y="3206955"/>
                </a:lnTo>
                <a:lnTo>
                  <a:pt x="1399954" y="2960668"/>
                </a:lnTo>
                <a:lnTo>
                  <a:pt x="1069140" y="2960668"/>
                </a:lnTo>
                <a:lnTo>
                  <a:pt x="1000648" y="3206955"/>
                </a:lnTo>
                <a:lnTo>
                  <a:pt x="771848" y="3206955"/>
                </a:lnTo>
                <a:lnTo>
                  <a:pt x="1099744" y="2143108"/>
                </a:lnTo>
                <a:close/>
                <a:moveTo>
                  <a:pt x="2021623" y="2143108"/>
                </a:moveTo>
                <a:lnTo>
                  <a:pt x="2021623" y="3206955"/>
                </a:lnTo>
                <a:lnTo>
                  <a:pt x="1808853" y="3206955"/>
                </a:lnTo>
                <a:lnTo>
                  <a:pt x="1808853" y="2143108"/>
                </a:lnTo>
                <a:close/>
                <a:moveTo>
                  <a:pt x="2926497" y="2143108"/>
                </a:moveTo>
                <a:lnTo>
                  <a:pt x="2926497" y="3206955"/>
                </a:lnTo>
                <a:lnTo>
                  <a:pt x="2721014" y="3206955"/>
                </a:lnTo>
                <a:lnTo>
                  <a:pt x="2721014" y="2795990"/>
                </a:lnTo>
                <a:lnTo>
                  <a:pt x="2576739" y="2795990"/>
                </a:lnTo>
                <a:lnTo>
                  <a:pt x="2477642" y="3068510"/>
                </a:lnTo>
                <a:cubicBezTo>
                  <a:pt x="2468897" y="3091827"/>
                  <a:pt x="2459182" y="3112472"/>
                  <a:pt x="2448494" y="3130446"/>
                </a:cubicBezTo>
                <a:cubicBezTo>
                  <a:pt x="2437808" y="3148420"/>
                  <a:pt x="2424448" y="3163721"/>
                  <a:pt x="2408418" y="3176352"/>
                </a:cubicBezTo>
                <a:cubicBezTo>
                  <a:pt x="2392387" y="3188982"/>
                  <a:pt x="2372956" y="3198697"/>
                  <a:pt x="2350125" y="3205498"/>
                </a:cubicBezTo>
                <a:cubicBezTo>
                  <a:pt x="2327294" y="3212299"/>
                  <a:pt x="2299848" y="3215700"/>
                  <a:pt x="2267787" y="3215700"/>
                </a:cubicBezTo>
                <a:cubicBezTo>
                  <a:pt x="2253213" y="3215700"/>
                  <a:pt x="2237668" y="3214971"/>
                  <a:pt x="2221153" y="3213513"/>
                </a:cubicBezTo>
                <a:cubicBezTo>
                  <a:pt x="2204636" y="3212056"/>
                  <a:pt x="2188119" y="3209870"/>
                  <a:pt x="2171603" y="3206955"/>
                </a:cubicBezTo>
                <a:lnTo>
                  <a:pt x="2171603" y="3068510"/>
                </a:lnTo>
                <a:lnTo>
                  <a:pt x="2199292" y="3068510"/>
                </a:lnTo>
                <a:cubicBezTo>
                  <a:pt x="2231353" y="3068510"/>
                  <a:pt x="2253698" y="3061466"/>
                  <a:pt x="2266329" y="3047378"/>
                </a:cubicBezTo>
                <a:cubicBezTo>
                  <a:pt x="2278959" y="3033291"/>
                  <a:pt x="2289646" y="3014588"/>
                  <a:pt x="2298391" y="2991272"/>
                </a:cubicBezTo>
                <a:lnTo>
                  <a:pt x="2385830" y="2758100"/>
                </a:lnTo>
                <a:cubicBezTo>
                  <a:pt x="2321708" y="2729925"/>
                  <a:pt x="2276288" y="2690091"/>
                  <a:pt x="2249571" y="2638599"/>
                </a:cubicBezTo>
                <a:cubicBezTo>
                  <a:pt x="2222852" y="2587107"/>
                  <a:pt x="2209494" y="2528814"/>
                  <a:pt x="2209494" y="2463720"/>
                </a:cubicBezTo>
                <a:cubicBezTo>
                  <a:pt x="2209494" y="2360735"/>
                  <a:pt x="2240583" y="2281554"/>
                  <a:pt x="2302763" y="2226176"/>
                </a:cubicBezTo>
                <a:cubicBezTo>
                  <a:pt x="2364941" y="2170798"/>
                  <a:pt x="2461610" y="2143108"/>
                  <a:pt x="2592769" y="2143108"/>
                </a:cubicBezTo>
                <a:close/>
                <a:moveTo>
                  <a:pt x="4899316" y="2143108"/>
                </a:moveTo>
                <a:lnTo>
                  <a:pt x="4899316" y="2325274"/>
                </a:lnTo>
                <a:lnTo>
                  <a:pt x="4607850" y="2325274"/>
                </a:lnTo>
                <a:lnTo>
                  <a:pt x="4607850" y="3206955"/>
                </a:lnTo>
                <a:lnTo>
                  <a:pt x="4395081" y="3206955"/>
                </a:lnTo>
                <a:lnTo>
                  <a:pt x="4395081" y="2325274"/>
                </a:lnTo>
                <a:lnTo>
                  <a:pt x="4102159" y="2325274"/>
                </a:lnTo>
                <a:lnTo>
                  <a:pt x="4102159" y="2143108"/>
                </a:lnTo>
                <a:close/>
                <a:moveTo>
                  <a:pt x="5260123" y="2143108"/>
                </a:moveTo>
                <a:lnTo>
                  <a:pt x="5260123" y="3206955"/>
                </a:lnTo>
                <a:lnTo>
                  <a:pt x="5047353" y="3206955"/>
                </a:lnTo>
                <a:lnTo>
                  <a:pt x="5047353" y="2143108"/>
                </a:lnTo>
                <a:close/>
                <a:moveTo>
                  <a:pt x="6241197" y="2143108"/>
                </a:moveTo>
                <a:lnTo>
                  <a:pt x="6241197" y="3206955"/>
                </a:lnTo>
                <a:lnTo>
                  <a:pt x="5889982" y="3206955"/>
                </a:lnTo>
                <a:cubicBezTo>
                  <a:pt x="5727733" y="3206955"/>
                  <a:pt x="5610661" y="3162993"/>
                  <a:pt x="5538767" y="3075068"/>
                </a:cubicBezTo>
                <a:cubicBezTo>
                  <a:pt x="5466872" y="2987142"/>
                  <a:pt x="5430925" y="2851368"/>
                  <a:pt x="5430925" y="2667745"/>
                </a:cubicBezTo>
                <a:cubicBezTo>
                  <a:pt x="5430925" y="2577391"/>
                  <a:pt x="5439426" y="2499424"/>
                  <a:pt x="5456428" y="2433844"/>
                </a:cubicBezTo>
                <a:cubicBezTo>
                  <a:pt x="5473430" y="2368265"/>
                  <a:pt x="5500147" y="2313858"/>
                  <a:pt x="5536581" y="2270624"/>
                </a:cubicBezTo>
                <a:cubicBezTo>
                  <a:pt x="5573014" y="2227390"/>
                  <a:pt x="5619891" y="2195329"/>
                  <a:pt x="5677213" y="2174441"/>
                </a:cubicBezTo>
                <a:cubicBezTo>
                  <a:pt x="5734534" y="2153553"/>
                  <a:pt x="5803514" y="2143108"/>
                  <a:pt x="5884153" y="2143108"/>
                </a:cubicBezTo>
                <a:close/>
                <a:moveTo>
                  <a:pt x="7241322" y="2143108"/>
                </a:moveTo>
                <a:lnTo>
                  <a:pt x="7241322" y="2711465"/>
                </a:lnTo>
                <a:cubicBezTo>
                  <a:pt x="7241322" y="2799876"/>
                  <a:pt x="7235978" y="2876386"/>
                  <a:pt x="7225292" y="2940994"/>
                </a:cubicBezTo>
                <a:cubicBezTo>
                  <a:pt x="7214604" y="3005602"/>
                  <a:pt x="7195174" y="3058794"/>
                  <a:pt x="7166998" y="3100571"/>
                </a:cubicBezTo>
                <a:cubicBezTo>
                  <a:pt x="7138824" y="3142348"/>
                  <a:pt x="7099476" y="3173194"/>
                  <a:pt x="7048955" y="3193111"/>
                </a:cubicBezTo>
                <a:cubicBezTo>
                  <a:pt x="6998435" y="3213028"/>
                  <a:pt x="6933826" y="3222986"/>
                  <a:pt x="6855130" y="3222986"/>
                </a:cubicBezTo>
                <a:cubicBezTo>
                  <a:pt x="6776436" y="3222986"/>
                  <a:pt x="6710856" y="3212785"/>
                  <a:pt x="6658392" y="3192382"/>
                </a:cubicBezTo>
                <a:cubicBezTo>
                  <a:pt x="6605928" y="3171980"/>
                  <a:pt x="6563909" y="3140647"/>
                  <a:pt x="6532334" y="3098385"/>
                </a:cubicBezTo>
                <a:cubicBezTo>
                  <a:pt x="6500758" y="3056123"/>
                  <a:pt x="6478412" y="3002444"/>
                  <a:pt x="6465297" y="2937351"/>
                </a:cubicBezTo>
                <a:cubicBezTo>
                  <a:pt x="6452181" y="2872257"/>
                  <a:pt x="6445623" y="2794533"/>
                  <a:pt x="6445623" y="2704179"/>
                </a:cubicBezTo>
                <a:lnTo>
                  <a:pt x="6445623" y="2143108"/>
                </a:lnTo>
                <a:lnTo>
                  <a:pt x="6658392" y="2143108"/>
                </a:lnTo>
                <a:lnTo>
                  <a:pt x="6658392" y="2708550"/>
                </a:lnTo>
                <a:cubicBezTo>
                  <a:pt x="6658392" y="2779474"/>
                  <a:pt x="6661550" y="2837038"/>
                  <a:pt x="6667865" y="2881243"/>
                </a:cubicBezTo>
                <a:cubicBezTo>
                  <a:pt x="6674180" y="2925449"/>
                  <a:pt x="6684867" y="2959696"/>
                  <a:pt x="6699926" y="2983985"/>
                </a:cubicBezTo>
                <a:cubicBezTo>
                  <a:pt x="6714985" y="3008274"/>
                  <a:pt x="6734416" y="3024547"/>
                  <a:pt x="6758219" y="3032805"/>
                </a:cubicBezTo>
                <a:cubicBezTo>
                  <a:pt x="6782022" y="3041063"/>
                  <a:pt x="6811411" y="3045193"/>
                  <a:pt x="6846387" y="3045193"/>
                </a:cubicBezTo>
                <a:cubicBezTo>
                  <a:pt x="6881363" y="3045193"/>
                  <a:pt x="6910510" y="3041063"/>
                  <a:pt x="6933826" y="3032805"/>
                </a:cubicBezTo>
                <a:cubicBezTo>
                  <a:pt x="6957144" y="3024547"/>
                  <a:pt x="6975846" y="3008030"/>
                  <a:pt x="6989934" y="2983256"/>
                </a:cubicBezTo>
                <a:cubicBezTo>
                  <a:pt x="7004021" y="2958482"/>
                  <a:pt x="7013979" y="2924235"/>
                  <a:pt x="7019808" y="2880515"/>
                </a:cubicBezTo>
                <a:cubicBezTo>
                  <a:pt x="7025638" y="2836795"/>
                  <a:pt x="7028552" y="2778988"/>
                  <a:pt x="7028552" y="2707093"/>
                </a:cubicBezTo>
                <a:lnTo>
                  <a:pt x="7028552" y="2143108"/>
                </a:lnTo>
                <a:close/>
                <a:moveTo>
                  <a:pt x="7946077" y="2143108"/>
                </a:moveTo>
                <a:lnTo>
                  <a:pt x="8272518" y="3206955"/>
                </a:lnTo>
                <a:lnTo>
                  <a:pt x="8058291" y="3206955"/>
                </a:lnTo>
                <a:lnTo>
                  <a:pt x="7991254" y="2960668"/>
                </a:lnTo>
                <a:lnTo>
                  <a:pt x="7660441" y="2960668"/>
                </a:lnTo>
                <a:lnTo>
                  <a:pt x="7591947" y="3206955"/>
                </a:lnTo>
                <a:lnTo>
                  <a:pt x="7363147" y="3206955"/>
                </a:lnTo>
                <a:lnTo>
                  <a:pt x="7691045" y="2143108"/>
                </a:lnTo>
                <a:close/>
                <a:moveTo>
                  <a:pt x="3542774" y="2127078"/>
                </a:moveTo>
                <a:cubicBezTo>
                  <a:pt x="3622441" y="2127078"/>
                  <a:pt x="3690207" y="2138736"/>
                  <a:pt x="3746071" y="2162054"/>
                </a:cubicBezTo>
                <a:cubicBezTo>
                  <a:pt x="3801935" y="2185371"/>
                  <a:pt x="3847599" y="2220347"/>
                  <a:pt x="3883059" y="2266981"/>
                </a:cubicBezTo>
                <a:cubicBezTo>
                  <a:pt x="3918521" y="2313615"/>
                  <a:pt x="3944267" y="2371423"/>
                  <a:pt x="3960298" y="2440402"/>
                </a:cubicBezTo>
                <a:cubicBezTo>
                  <a:pt x="3976328" y="2509383"/>
                  <a:pt x="3984344" y="2589050"/>
                  <a:pt x="3984344" y="2679404"/>
                </a:cubicBezTo>
                <a:cubicBezTo>
                  <a:pt x="3984344" y="2768786"/>
                  <a:pt x="3976571" y="2847239"/>
                  <a:pt x="3961027" y="2914762"/>
                </a:cubicBezTo>
                <a:cubicBezTo>
                  <a:pt x="3945482" y="2982285"/>
                  <a:pt x="3920464" y="3038877"/>
                  <a:pt x="3885974" y="3084540"/>
                </a:cubicBezTo>
                <a:cubicBezTo>
                  <a:pt x="3851484" y="3130203"/>
                  <a:pt x="3806550" y="3164693"/>
                  <a:pt x="3751172" y="3188010"/>
                </a:cubicBezTo>
                <a:cubicBezTo>
                  <a:pt x="3695794" y="3211328"/>
                  <a:pt x="3627785" y="3222986"/>
                  <a:pt x="3547146" y="3222986"/>
                </a:cubicBezTo>
                <a:cubicBezTo>
                  <a:pt x="3467479" y="3222986"/>
                  <a:pt x="3399713" y="3211328"/>
                  <a:pt x="3343849" y="3188010"/>
                </a:cubicBezTo>
                <a:cubicBezTo>
                  <a:pt x="3287985" y="3164693"/>
                  <a:pt x="3242323" y="3129717"/>
                  <a:pt x="3206861" y="3083083"/>
                </a:cubicBezTo>
                <a:cubicBezTo>
                  <a:pt x="3171399" y="3036449"/>
                  <a:pt x="3145653" y="2978641"/>
                  <a:pt x="3129623" y="2909661"/>
                </a:cubicBezTo>
                <a:cubicBezTo>
                  <a:pt x="3113592" y="2840681"/>
                  <a:pt x="3105576" y="2761014"/>
                  <a:pt x="3105576" y="2670660"/>
                </a:cubicBezTo>
                <a:cubicBezTo>
                  <a:pt x="3105576" y="2581277"/>
                  <a:pt x="3113349" y="2502825"/>
                  <a:pt x="3128894" y="2435302"/>
                </a:cubicBezTo>
                <a:cubicBezTo>
                  <a:pt x="3144439" y="2367779"/>
                  <a:pt x="3169456" y="2311186"/>
                  <a:pt x="3203946" y="2265524"/>
                </a:cubicBezTo>
                <a:cubicBezTo>
                  <a:pt x="3238436" y="2219860"/>
                  <a:pt x="3283370" y="2185371"/>
                  <a:pt x="3338748" y="2162054"/>
                </a:cubicBezTo>
                <a:cubicBezTo>
                  <a:pt x="3394127" y="2138736"/>
                  <a:pt x="3462136" y="2127078"/>
                  <a:pt x="3542774" y="2127078"/>
                </a:cubicBezTo>
                <a:close/>
                <a:moveTo>
                  <a:pt x="17962877" y="0"/>
                </a:moveTo>
                <a:lnTo>
                  <a:pt x="0" y="0"/>
                </a:lnTo>
                <a:lnTo>
                  <a:pt x="0" y="10080626"/>
                </a:lnTo>
                <a:lnTo>
                  <a:pt x="17962877" y="10080626"/>
                </a:lnTo>
                <a:close/>
              </a:path>
            </a:pathLst>
          </a:cu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B5CA92B2-6B6D-6B5E-9D53-D1C9657C25F5}"/>
              </a:ext>
            </a:extLst>
          </p:cNvPr>
          <p:cNvSpPr/>
          <p:nvPr userDrawn="1"/>
        </p:nvSpPr>
        <p:spPr>
          <a:xfrm>
            <a:off x="16362469" y="4780815"/>
            <a:ext cx="648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Imagem 7" descr="Uma imagem contendo relógio, medidor&#10;&#10;Descrição gerada automaticamente">
            <a:extLst>
              <a:ext uri="{FF2B5EF4-FFF2-40B4-BE49-F238E27FC236}">
                <a16:creationId xmlns:a16="http://schemas.microsoft.com/office/drawing/2014/main" id="{90B9679D-8317-E65C-A66A-CB3B191E3C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4086" y="499417"/>
            <a:ext cx="2251426" cy="446768"/>
          </a:xfrm>
          <a:prstGeom prst="rect">
            <a:avLst/>
          </a:prstGeom>
        </p:spPr>
      </p:pic>
      <p:sp>
        <p:nvSpPr>
          <p:cNvPr id="9" name="Retângulo 2">
            <a:extLst>
              <a:ext uri="{FF2B5EF4-FFF2-40B4-BE49-F238E27FC236}">
                <a16:creationId xmlns:a16="http://schemas.microsoft.com/office/drawing/2014/main" id="{A0A483C2-3766-4B6A-6C90-1DDD590D79A8}"/>
              </a:ext>
            </a:extLst>
          </p:cNvPr>
          <p:cNvSpPr/>
          <p:nvPr userDrawn="1"/>
        </p:nvSpPr>
        <p:spPr>
          <a:xfrm>
            <a:off x="-609600" y="-2171700"/>
            <a:ext cx="11277602" cy="12763499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8727" t="16441" r="-23685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8">
            <a:extLst>
              <a:ext uri="{FF2B5EF4-FFF2-40B4-BE49-F238E27FC236}">
                <a16:creationId xmlns:a16="http://schemas.microsoft.com/office/drawing/2014/main" id="{48A878DD-839F-FFE8-25D0-1C97BE14A3B6}"/>
              </a:ext>
            </a:extLst>
          </p:cNvPr>
          <p:cNvSpPr/>
          <p:nvPr userDrawn="1"/>
        </p:nvSpPr>
        <p:spPr>
          <a:xfrm rot="17508301">
            <a:off x="848469" y="963699"/>
            <a:ext cx="13362507" cy="7325660"/>
          </a:xfrm>
          <a:custGeom>
            <a:avLst/>
            <a:gdLst>
              <a:gd name="connsiteX0" fmla="*/ 0 w 6859588"/>
              <a:gd name="connsiteY0" fmla="*/ 0 h 3409054"/>
              <a:gd name="connsiteX1" fmla="*/ 6859588 w 6859588"/>
              <a:gd name="connsiteY1" fmla="*/ 0 h 3409054"/>
              <a:gd name="connsiteX2" fmla="*/ 6859588 w 6859588"/>
              <a:gd name="connsiteY2" fmla="*/ 3409054 h 3409054"/>
              <a:gd name="connsiteX3" fmla="*/ 0 w 6859588"/>
              <a:gd name="connsiteY3" fmla="*/ 3409054 h 3409054"/>
              <a:gd name="connsiteX4" fmla="*/ 0 w 6859588"/>
              <a:gd name="connsiteY4" fmla="*/ 0 h 3409054"/>
              <a:gd name="connsiteX0" fmla="*/ 0 w 6859588"/>
              <a:gd name="connsiteY0" fmla="*/ 0 h 3412901"/>
              <a:gd name="connsiteX1" fmla="*/ 6859588 w 6859588"/>
              <a:gd name="connsiteY1" fmla="*/ 0 h 3412901"/>
              <a:gd name="connsiteX2" fmla="*/ 6859588 w 6859588"/>
              <a:gd name="connsiteY2" fmla="*/ 3409054 h 3412901"/>
              <a:gd name="connsiteX3" fmla="*/ 4114800 w 6859588"/>
              <a:gd name="connsiteY3" fmla="*/ 3412901 h 3412901"/>
              <a:gd name="connsiteX4" fmla="*/ 0 w 6859588"/>
              <a:gd name="connsiteY4" fmla="*/ 3409054 h 3412901"/>
              <a:gd name="connsiteX5" fmla="*/ 0 w 6859588"/>
              <a:gd name="connsiteY5" fmla="*/ 0 h 3412901"/>
              <a:gd name="connsiteX0" fmla="*/ 0 w 6859588"/>
              <a:gd name="connsiteY0" fmla="*/ 0 h 3947374"/>
              <a:gd name="connsiteX1" fmla="*/ 6859588 w 6859588"/>
              <a:gd name="connsiteY1" fmla="*/ 0 h 3947374"/>
              <a:gd name="connsiteX2" fmla="*/ 6859588 w 6859588"/>
              <a:gd name="connsiteY2" fmla="*/ 3409054 h 3947374"/>
              <a:gd name="connsiteX3" fmla="*/ 4211391 w 6859588"/>
              <a:gd name="connsiteY3" fmla="*/ 3947374 h 3947374"/>
              <a:gd name="connsiteX4" fmla="*/ 0 w 6859588"/>
              <a:gd name="connsiteY4" fmla="*/ 3409054 h 3947374"/>
              <a:gd name="connsiteX5" fmla="*/ 0 w 6859588"/>
              <a:gd name="connsiteY5" fmla="*/ 0 h 3947374"/>
              <a:gd name="connsiteX0" fmla="*/ 0 w 6859588"/>
              <a:gd name="connsiteY0" fmla="*/ 0 h 3947374"/>
              <a:gd name="connsiteX1" fmla="*/ 6859588 w 6859588"/>
              <a:gd name="connsiteY1" fmla="*/ 0 h 3947374"/>
              <a:gd name="connsiteX2" fmla="*/ 6859588 w 6859588"/>
              <a:gd name="connsiteY2" fmla="*/ 3409054 h 3947374"/>
              <a:gd name="connsiteX3" fmla="*/ 4565561 w 6859588"/>
              <a:gd name="connsiteY3" fmla="*/ 3882979 h 3947374"/>
              <a:gd name="connsiteX4" fmla="*/ 4211391 w 6859588"/>
              <a:gd name="connsiteY4" fmla="*/ 3947374 h 3947374"/>
              <a:gd name="connsiteX5" fmla="*/ 0 w 6859588"/>
              <a:gd name="connsiteY5" fmla="*/ 3409054 h 3947374"/>
              <a:gd name="connsiteX6" fmla="*/ 0 w 6859588"/>
              <a:gd name="connsiteY6" fmla="*/ 0 h 3947374"/>
              <a:gd name="connsiteX0" fmla="*/ 0 w 6859588"/>
              <a:gd name="connsiteY0" fmla="*/ 0 h 3947374"/>
              <a:gd name="connsiteX1" fmla="*/ 6859588 w 6859588"/>
              <a:gd name="connsiteY1" fmla="*/ 0 h 3947374"/>
              <a:gd name="connsiteX2" fmla="*/ 6859588 w 6859588"/>
              <a:gd name="connsiteY2" fmla="*/ 3409054 h 3947374"/>
              <a:gd name="connsiteX3" fmla="*/ 4475409 w 6859588"/>
              <a:gd name="connsiteY3" fmla="*/ 3721993 h 3947374"/>
              <a:gd name="connsiteX4" fmla="*/ 4211391 w 6859588"/>
              <a:gd name="connsiteY4" fmla="*/ 3947374 h 3947374"/>
              <a:gd name="connsiteX5" fmla="*/ 0 w 6859588"/>
              <a:gd name="connsiteY5" fmla="*/ 3409054 h 3947374"/>
              <a:gd name="connsiteX6" fmla="*/ 0 w 6859588"/>
              <a:gd name="connsiteY6" fmla="*/ 0 h 3947374"/>
              <a:gd name="connsiteX0" fmla="*/ 0 w 6859588"/>
              <a:gd name="connsiteY0" fmla="*/ 0 h 3947374"/>
              <a:gd name="connsiteX1" fmla="*/ 6859588 w 6859588"/>
              <a:gd name="connsiteY1" fmla="*/ 0 h 3947374"/>
              <a:gd name="connsiteX2" fmla="*/ 6859588 w 6859588"/>
              <a:gd name="connsiteY2" fmla="*/ 3409054 h 3947374"/>
              <a:gd name="connsiteX3" fmla="*/ 4449651 w 6859588"/>
              <a:gd name="connsiteY3" fmla="*/ 3895858 h 3947374"/>
              <a:gd name="connsiteX4" fmla="*/ 4211391 w 6859588"/>
              <a:gd name="connsiteY4" fmla="*/ 3947374 h 3947374"/>
              <a:gd name="connsiteX5" fmla="*/ 0 w 6859588"/>
              <a:gd name="connsiteY5" fmla="*/ 3409054 h 3947374"/>
              <a:gd name="connsiteX6" fmla="*/ 0 w 6859588"/>
              <a:gd name="connsiteY6" fmla="*/ 0 h 3947374"/>
              <a:gd name="connsiteX0" fmla="*/ 0 w 6859588"/>
              <a:gd name="connsiteY0" fmla="*/ 0 h 3947374"/>
              <a:gd name="connsiteX1" fmla="*/ 6859588 w 6859588"/>
              <a:gd name="connsiteY1" fmla="*/ 0 h 3947374"/>
              <a:gd name="connsiteX2" fmla="*/ 6692162 w 6859588"/>
              <a:gd name="connsiteY2" fmla="*/ 1934423 h 3947374"/>
              <a:gd name="connsiteX3" fmla="*/ 4449651 w 6859588"/>
              <a:gd name="connsiteY3" fmla="*/ 3895858 h 3947374"/>
              <a:gd name="connsiteX4" fmla="*/ 4211391 w 6859588"/>
              <a:gd name="connsiteY4" fmla="*/ 3947374 h 3947374"/>
              <a:gd name="connsiteX5" fmla="*/ 0 w 6859588"/>
              <a:gd name="connsiteY5" fmla="*/ 3409054 h 3947374"/>
              <a:gd name="connsiteX6" fmla="*/ 0 w 6859588"/>
              <a:gd name="connsiteY6" fmla="*/ 0 h 3947374"/>
              <a:gd name="connsiteX0" fmla="*/ 0 w 6866026"/>
              <a:gd name="connsiteY0" fmla="*/ 0 h 3947374"/>
              <a:gd name="connsiteX1" fmla="*/ 6859588 w 6866026"/>
              <a:gd name="connsiteY1" fmla="*/ 0 h 3947374"/>
              <a:gd name="connsiteX2" fmla="*/ 6866026 w 6866026"/>
              <a:gd name="connsiteY2" fmla="*/ 1612451 h 3947374"/>
              <a:gd name="connsiteX3" fmla="*/ 4449651 w 6866026"/>
              <a:gd name="connsiteY3" fmla="*/ 3895858 h 3947374"/>
              <a:gd name="connsiteX4" fmla="*/ 4211391 w 6866026"/>
              <a:gd name="connsiteY4" fmla="*/ 3947374 h 3947374"/>
              <a:gd name="connsiteX5" fmla="*/ 0 w 6866026"/>
              <a:gd name="connsiteY5" fmla="*/ 3409054 h 3947374"/>
              <a:gd name="connsiteX6" fmla="*/ 0 w 6866026"/>
              <a:gd name="connsiteY6" fmla="*/ 0 h 3947374"/>
              <a:gd name="connsiteX0" fmla="*/ 0 w 6866026"/>
              <a:gd name="connsiteY0" fmla="*/ 0 h 3895858"/>
              <a:gd name="connsiteX1" fmla="*/ 6859588 w 6866026"/>
              <a:gd name="connsiteY1" fmla="*/ 0 h 3895858"/>
              <a:gd name="connsiteX2" fmla="*/ 6866026 w 6866026"/>
              <a:gd name="connsiteY2" fmla="*/ 1612451 h 3895858"/>
              <a:gd name="connsiteX3" fmla="*/ 4449651 w 6866026"/>
              <a:gd name="connsiteY3" fmla="*/ 3895858 h 3895858"/>
              <a:gd name="connsiteX4" fmla="*/ 4221188 w 6866026"/>
              <a:gd name="connsiteY4" fmla="*/ 3865731 h 3895858"/>
              <a:gd name="connsiteX5" fmla="*/ 0 w 6866026"/>
              <a:gd name="connsiteY5" fmla="*/ 3409054 h 3895858"/>
              <a:gd name="connsiteX6" fmla="*/ 0 w 6866026"/>
              <a:gd name="connsiteY6" fmla="*/ 0 h 3895858"/>
              <a:gd name="connsiteX0" fmla="*/ 0 w 6866026"/>
              <a:gd name="connsiteY0" fmla="*/ 0 h 3944108"/>
              <a:gd name="connsiteX1" fmla="*/ 6859588 w 6866026"/>
              <a:gd name="connsiteY1" fmla="*/ 0 h 3944108"/>
              <a:gd name="connsiteX2" fmla="*/ 6866026 w 6866026"/>
              <a:gd name="connsiteY2" fmla="*/ 1612451 h 3944108"/>
              <a:gd name="connsiteX3" fmla="*/ 4449651 w 6866026"/>
              <a:gd name="connsiteY3" fmla="*/ 3895858 h 3944108"/>
              <a:gd name="connsiteX4" fmla="*/ 4208125 w 6866026"/>
              <a:gd name="connsiteY4" fmla="*/ 3944108 h 3944108"/>
              <a:gd name="connsiteX5" fmla="*/ 0 w 6866026"/>
              <a:gd name="connsiteY5" fmla="*/ 3409054 h 3944108"/>
              <a:gd name="connsiteX6" fmla="*/ 0 w 6866026"/>
              <a:gd name="connsiteY6" fmla="*/ 0 h 3944108"/>
              <a:gd name="connsiteX0" fmla="*/ 0 w 6866026"/>
              <a:gd name="connsiteY0" fmla="*/ 0 h 3944108"/>
              <a:gd name="connsiteX1" fmla="*/ 6859588 w 6866026"/>
              <a:gd name="connsiteY1" fmla="*/ 0 h 3944108"/>
              <a:gd name="connsiteX2" fmla="*/ 6866026 w 6866026"/>
              <a:gd name="connsiteY2" fmla="*/ 1612451 h 3944108"/>
              <a:gd name="connsiteX3" fmla="*/ 4452917 w 6866026"/>
              <a:gd name="connsiteY3" fmla="*/ 3801152 h 3944108"/>
              <a:gd name="connsiteX4" fmla="*/ 4208125 w 6866026"/>
              <a:gd name="connsiteY4" fmla="*/ 3944108 h 3944108"/>
              <a:gd name="connsiteX5" fmla="*/ 0 w 6866026"/>
              <a:gd name="connsiteY5" fmla="*/ 3409054 h 3944108"/>
              <a:gd name="connsiteX6" fmla="*/ 0 w 6866026"/>
              <a:gd name="connsiteY6" fmla="*/ 0 h 3944108"/>
              <a:gd name="connsiteX0" fmla="*/ 0 w 6866026"/>
              <a:gd name="connsiteY0" fmla="*/ 0 h 3944108"/>
              <a:gd name="connsiteX1" fmla="*/ 6859588 w 6866026"/>
              <a:gd name="connsiteY1" fmla="*/ 0 h 3944108"/>
              <a:gd name="connsiteX2" fmla="*/ 6866026 w 6866026"/>
              <a:gd name="connsiteY2" fmla="*/ 1612451 h 3944108"/>
              <a:gd name="connsiteX3" fmla="*/ 4459448 w 6866026"/>
              <a:gd name="connsiteY3" fmla="*/ 3872997 h 3944108"/>
              <a:gd name="connsiteX4" fmla="*/ 4208125 w 6866026"/>
              <a:gd name="connsiteY4" fmla="*/ 3944108 h 3944108"/>
              <a:gd name="connsiteX5" fmla="*/ 0 w 6866026"/>
              <a:gd name="connsiteY5" fmla="*/ 3409054 h 3944108"/>
              <a:gd name="connsiteX6" fmla="*/ 0 w 6866026"/>
              <a:gd name="connsiteY6" fmla="*/ 0 h 3944108"/>
              <a:gd name="connsiteX0" fmla="*/ 0 w 6866026"/>
              <a:gd name="connsiteY0" fmla="*/ 0 h 3947374"/>
              <a:gd name="connsiteX1" fmla="*/ 6859588 w 6866026"/>
              <a:gd name="connsiteY1" fmla="*/ 0 h 3947374"/>
              <a:gd name="connsiteX2" fmla="*/ 6866026 w 6866026"/>
              <a:gd name="connsiteY2" fmla="*/ 1612451 h 3947374"/>
              <a:gd name="connsiteX3" fmla="*/ 4459448 w 6866026"/>
              <a:gd name="connsiteY3" fmla="*/ 3872997 h 3947374"/>
              <a:gd name="connsiteX4" fmla="*/ 4240782 w 6866026"/>
              <a:gd name="connsiteY4" fmla="*/ 3947374 h 3947374"/>
              <a:gd name="connsiteX5" fmla="*/ 0 w 6866026"/>
              <a:gd name="connsiteY5" fmla="*/ 3409054 h 3947374"/>
              <a:gd name="connsiteX6" fmla="*/ 0 w 6866026"/>
              <a:gd name="connsiteY6" fmla="*/ 0 h 3947374"/>
              <a:gd name="connsiteX0" fmla="*/ 0 w 6866026"/>
              <a:gd name="connsiteY0" fmla="*/ 0 h 3948722"/>
              <a:gd name="connsiteX1" fmla="*/ 6859588 w 6866026"/>
              <a:gd name="connsiteY1" fmla="*/ 0 h 3948722"/>
              <a:gd name="connsiteX2" fmla="*/ 6866026 w 6866026"/>
              <a:gd name="connsiteY2" fmla="*/ 1612451 h 3948722"/>
              <a:gd name="connsiteX3" fmla="*/ 4459448 w 6866026"/>
              <a:gd name="connsiteY3" fmla="*/ 3872997 h 3948722"/>
              <a:gd name="connsiteX4" fmla="*/ 4240782 w 6866026"/>
              <a:gd name="connsiteY4" fmla="*/ 3947374 h 3948722"/>
              <a:gd name="connsiteX5" fmla="*/ 0 w 6866026"/>
              <a:gd name="connsiteY5" fmla="*/ 3409054 h 3948722"/>
              <a:gd name="connsiteX6" fmla="*/ 0 w 6866026"/>
              <a:gd name="connsiteY6" fmla="*/ 0 h 3948722"/>
              <a:gd name="connsiteX0" fmla="*/ 0 w 6866026"/>
              <a:gd name="connsiteY0" fmla="*/ 0 h 3950172"/>
              <a:gd name="connsiteX1" fmla="*/ 6859588 w 6866026"/>
              <a:gd name="connsiteY1" fmla="*/ 0 h 3950172"/>
              <a:gd name="connsiteX2" fmla="*/ 6866026 w 6866026"/>
              <a:gd name="connsiteY2" fmla="*/ 1612451 h 3950172"/>
              <a:gd name="connsiteX3" fmla="*/ 4459448 w 6866026"/>
              <a:gd name="connsiteY3" fmla="*/ 3872997 h 3950172"/>
              <a:gd name="connsiteX4" fmla="*/ 4240782 w 6866026"/>
              <a:gd name="connsiteY4" fmla="*/ 3947374 h 3950172"/>
              <a:gd name="connsiteX5" fmla="*/ 0 w 6866026"/>
              <a:gd name="connsiteY5" fmla="*/ 3409054 h 3950172"/>
              <a:gd name="connsiteX6" fmla="*/ 0 w 6866026"/>
              <a:gd name="connsiteY6" fmla="*/ 0 h 3950172"/>
              <a:gd name="connsiteX0" fmla="*/ 0 w 6866026"/>
              <a:gd name="connsiteY0" fmla="*/ 0 h 3950172"/>
              <a:gd name="connsiteX1" fmla="*/ 6859588 w 6866026"/>
              <a:gd name="connsiteY1" fmla="*/ 0 h 3950172"/>
              <a:gd name="connsiteX2" fmla="*/ 6866026 w 6866026"/>
              <a:gd name="connsiteY2" fmla="*/ 1612451 h 3950172"/>
              <a:gd name="connsiteX3" fmla="*/ 4459448 w 6866026"/>
              <a:gd name="connsiteY3" fmla="*/ 3872997 h 3950172"/>
              <a:gd name="connsiteX4" fmla="*/ 4240782 w 6866026"/>
              <a:gd name="connsiteY4" fmla="*/ 3947374 h 3950172"/>
              <a:gd name="connsiteX5" fmla="*/ 0 w 6866026"/>
              <a:gd name="connsiteY5" fmla="*/ 3409054 h 3950172"/>
              <a:gd name="connsiteX6" fmla="*/ 91440 w 6866026"/>
              <a:gd name="connsiteY6" fmla="*/ 91440 h 3950172"/>
              <a:gd name="connsiteX0" fmla="*/ 0 w 6866026"/>
              <a:gd name="connsiteY0" fmla="*/ 0 h 3950172"/>
              <a:gd name="connsiteX1" fmla="*/ 6859588 w 6866026"/>
              <a:gd name="connsiteY1" fmla="*/ 0 h 3950172"/>
              <a:gd name="connsiteX2" fmla="*/ 6866026 w 6866026"/>
              <a:gd name="connsiteY2" fmla="*/ 1612451 h 3950172"/>
              <a:gd name="connsiteX3" fmla="*/ 4459448 w 6866026"/>
              <a:gd name="connsiteY3" fmla="*/ 3872997 h 3950172"/>
              <a:gd name="connsiteX4" fmla="*/ 4240782 w 6866026"/>
              <a:gd name="connsiteY4" fmla="*/ 3947374 h 3950172"/>
              <a:gd name="connsiteX5" fmla="*/ 0 w 6866026"/>
              <a:gd name="connsiteY5" fmla="*/ 3409054 h 3950172"/>
              <a:gd name="connsiteX0" fmla="*/ 6859588 w 6866026"/>
              <a:gd name="connsiteY0" fmla="*/ 0 h 3950172"/>
              <a:gd name="connsiteX1" fmla="*/ 6866026 w 6866026"/>
              <a:gd name="connsiteY1" fmla="*/ 1612451 h 3950172"/>
              <a:gd name="connsiteX2" fmla="*/ 4459448 w 6866026"/>
              <a:gd name="connsiteY2" fmla="*/ 3872997 h 3950172"/>
              <a:gd name="connsiteX3" fmla="*/ 4240782 w 6866026"/>
              <a:gd name="connsiteY3" fmla="*/ 3947374 h 3950172"/>
              <a:gd name="connsiteX4" fmla="*/ 0 w 6866026"/>
              <a:gd name="connsiteY4" fmla="*/ 3409054 h 3950172"/>
              <a:gd name="connsiteX0" fmla="*/ 6866026 w 6866026"/>
              <a:gd name="connsiteY0" fmla="*/ 0 h 2337721"/>
              <a:gd name="connsiteX1" fmla="*/ 4459448 w 6866026"/>
              <a:gd name="connsiteY1" fmla="*/ 2260546 h 2337721"/>
              <a:gd name="connsiteX2" fmla="*/ 4240782 w 6866026"/>
              <a:gd name="connsiteY2" fmla="*/ 2334923 h 2337721"/>
              <a:gd name="connsiteX3" fmla="*/ 0 w 6866026"/>
              <a:gd name="connsiteY3" fmla="*/ 1796603 h 2337721"/>
              <a:gd name="connsiteX0" fmla="*/ 6866026 w 6866026"/>
              <a:gd name="connsiteY0" fmla="*/ 0 h 2337721"/>
              <a:gd name="connsiteX1" fmla="*/ 4459448 w 6866026"/>
              <a:gd name="connsiteY1" fmla="*/ 2260546 h 2337721"/>
              <a:gd name="connsiteX2" fmla="*/ 4240782 w 6866026"/>
              <a:gd name="connsiteY2" fmla="*/ 2334923 h 2337721"/>
              <a:gd name="connsiteX3" fmla="*/ 256911 w 6866026"/>
              <a:gd name="connsiteY3" fmla="*/ 1829371 h 2337721"/>
              <a:gd name="connsiteX4" fmla="*/ 0 w 6866026"/>
              <a:gd name="connsiteY4" fmla="*/ 1796603 h 2337721"/>
              <a:gd name="connsiteX0" fmla="*/ 6609115 w 6609115"/>
              <a:gd name="connsiteY0" fmla="*/ 0 h 2337721"/>
              <a:gd name="connsiteX1" fmla="*/ 4202537 w 6609115"/>
              <a:gd name="connsiteY1" fmla="*/ 2260546 h 2337721"/>
              <a:gd name="connsiteX2" fmla="*/ 3983871 w 6609115"/>
              <a:gd name="connsiteY2" fmla="*/ 2334923 h 2337721"/>
              <a:gd name="connsiteX3" fmla="*/ 0 w 6609115"/>
              <a:gd name="connsiteY3" fmla="*/ 1829371 h 2337721"/>
              <a:gd name="connsiteX0" fmla="*/ 8530034 w 8530034"/>
              <a:gd name="connsiteY0" fmla="*/ 0 h 4132746"/>
              <a:gd name="connsiteX1" fmla="*/ 4202537 w 8530034"/>
              <a:gd name="connsiteY1" fmla="*/ 4055571 h 4132746"/>
              <a:gd name="connsiteX2" fmla="*/ 3983871 w 8530034"/>
              <a:gd name="connsiteY2" fmla="*/ 4129948 h 4132746"/>
              <a:gd name="connsiteX3" fmla="*/ 0 w 8530034"/>
              <a:gd name="connsiteY3" fmla="*/ 3624396 h 413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30034" h="4132746">
                <a:moveTo>
                  <a:pt x="8530034" y="0"/>
                </a:moveTo>
                <a:lnTo>
                  <a:pt x="4202537" y="4055571"/>
                </a:lnTo>
                <a:cubicBezTo>
                  <a:pt x="4139445" y="4119551"/>
                  <a:pt x="4073088" y="4141079"/>
                  <a:pt x="3983871" y="4129948"/>
                </a:cubicBezTo>
                <a:lnTo>
                  <a:pt x="0" y="3624396"/>
                </a:lnTo>
              </a:path>
            </a:pathLst>
          </a:custGeom>
          <a:noFill/>
          <a:ln w="317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02919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1854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ou Sumári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BF9853F9-2EA7-AB06-B3FE-29352019E3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2775" y="383094"/>
            <a:ext cx="2365930" cy="682574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1DDD95F3-D154-AB75-8279-612EE88C5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07" t="12605" r="55393" b="55053"/>
          <a:stretch/>
        </p:blipFill>
        <p:spPr>
          <a:xfrm>
            <a:off x="0" y="1"/>
            <a:ext cx="7507670" cy="400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24242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31D123-F402-1958-BA33-ED5E25CB9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0083" y="1649770"/>
            <a:ext cx="13500497" cy="3509551"/>
          </a:xfrm>
        </p:spPr>
        <p:txBody>
          <a:bodyPr anchor="b"/>
          <a:lstStyle>
            <a:lvl1pPr algn="ctr"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DFBC5C9-CB33-693A-E259-170AD6D3F9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0083" y="5294662"/>
            <a:ext cx="13500497" cy="2433817"/>
          </a:xfrm>
        </p:spPr>
        <p:txBody>
          <a:bodyPr/>
          <a:lstStyle>
            <a:lvl1pPr marL="0" indent="0" algn="ctr">
              <a:buNone/>
              <a:defRPr sz="3528"/>
            </a:lvl1pPr>
            <a:lvl2pPr marL="672038" indent="0" algn="ctr">
              <a:buNone/>
              <a:defRPr sz="2940"/>
            </a:lvl2pPr>
            <a:lvl3pPr marL="1344077" indent="0" algn="ctr">
              <a:buNone/>
              <a:defRPr sz="2646"/>
            </a:lvl3pPr>
            <a:lvl4pPr marL="2016115" indent="0" algn="ctr">
              <a:buNone/>
              <a:defRPr sz="2352"/>
            </a:lvl4pPr>
            <a:lvl5pPr marL="2688153" indent="0" algn="ctr">
              <a:buNone/>
              <a:defRPr sz="2352"/>
            </a:lvl5pPr>
            <a:lvl6pPr marL="3360191" indent="0" algn="ctr">
              <a:buNone/>
              <a:defRPr sz="2352"/>
            </a:lvl6pPr>
            <a:lvl7pPr marL="4032230" indent="0" algn="ctr">
              <a:buNone/>
              <a:defRPr sz="2352"/>
            </a:lvl7pPr>
            <a:lvl8pPr marL="4704268" indent="0" algn="ctr">
              <a:buNone/>
              <a:defRPr sz="2352"/>
            </a:lvl8pPr>
            <a:lvl9pPr marL="5376306" indent="0" algn="ctr">
              <a:buNone/>
              <a:defRPr sz="2352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E2C447A-72AA-A59A-AF23-790E3BBF9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D2B4375-6CCE-92B7-1999-10F9BA9A1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17FFA42-49F3-7ADA-85FF-A45D82D4A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2618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028C34-FCEB-0DD5-A2E2-3F11156C6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4A893C4-D538-DB37-2B59-14A10B38F5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9F67FB0-6A99-5E41-3333-0C7C8EDE3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8DE32BA-56A1-8B84-7473-741A2B461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2F950E-306C-2427-89BF-9FB04A118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72252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32CA96-E839-2BB3-7870-0F3E4C034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8170" y="2513157"/>
            <a:ext cx="15525572" cy="4193259"/>
          </a:xfrm>
        </p:spPr>
        <p:txBody>
          <a:bodyPr anchor="b"/>
          <a:lstStyle>
            <a:lvl1pPr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3771EB-872E-D345-F768-5CCADE3D9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28170" y="6746086"/>
            <a:ext cx="15525572" cy="2205136"/>
          </a:xfrm>
        </p:spPr>
        <p:txBody>
          <a:bodyPr/>
          <a:lstStyle>
            <a:lvl1pPr marL="0" indent="0">
              <a:buNone/>
              <a:defRPr sz="3528">
                <a:solidFill>
                  <a:schemeClr val="tx1">
                    <a:tint val="82000"/>
                  </a:schemeClr>
                </a:solidFill>
              </a:defRPr>
            </a:lvl1pPr>
            <a:lvl2pPr marL="672038" indent="0">
              <a:buNone/>
              <a:defRPr sz="2940">
                <a:solidFill>
                  <a:schemeClr val="tx1">
                    <a:tint val="82000"/>
                  </a:schemeClr>
                </a:solidFill>
              </a:defRPr>
            </a:lvl2pPr>
            <a:lvl3pPr marL="1344077" indent="0">
              <a:buNone/>
              <a:defRPr sz="2646">
                <a:solidFill>
                  <a:schemeClr val="tx1">
                    <a:tint val="82000"/>
                  </a:schemeClr>
                </a:solidFill>
              </a:defRPr>
            </a:lvl3pPr>
            <a:lvl4pPr marL="2016115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4pPr>
            <a:lvl5pPr marL="2688153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5pPr>
            <a:lvl6pPr marL="3360191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6pPr>
            <a:lvl7pPr marL="4032230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7pPr>
            <a:lvl8pPr marL="4704268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8pPr>
            <a:lvl9pPr marL="5376306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0933BFF-81CB-FFE7-1F35-8BB8DDAB5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B6C234-C7C5-20BF-E07F-35A38497B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60C624A-725C-EC33-35C5-D8FD8FCF7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573226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54B56-5FAB-6360-5024-DE5C44E2E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F19F36E-68BA-DFCF-8D89-69BFCD1FBA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7545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3332DF6-A690-07AF-F6CC-75E78D0562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836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FB53FC1-5F6F-C80B-9DBC-89CE157AE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89D312-D278-FD36-22B3-ED1A35769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046AED-9F06-661D-946D-C6F428324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303874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5565D8-7261-75D0-AC74-086655B5F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0" y="536701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AAF1239-9C1B-02B9-AE61-EB392C665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9891" y="2471154"/>
            <a:ext cx="7615123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7D2A757-C92E-E4D0-FD4A-EFC9053DB1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9891" y="3682228"/>
            <a:ext cx="7615123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80C7C51-4AEB-2D0A-CB26-F5D3F4DB86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12836" y="2471154"/>
            <a:ext cx="7652626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0D342D32-0DBC-718C-A361-2EA669DE08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112836" y="3682228"/>
            <a:ext cx="7652626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B40785F8-F047-D1BF-4E92-AD36D966B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6836EE6-9E91-42C3-6203-DA0FE7189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F61BCF6-DC1E-2174-1B61-4A5F5DC79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403380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F12C47-A9E4-C876-E432-5D02F2A44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285C5CC3-691F-EAFE-20BD-40E4440C6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31B15E5-7FD9-7CDD-0860-0134C5337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E28E5F1-A7B4-85EB-5C53-864FFFF72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8711147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2C59273-CAB1-F7DA-EEAD-ED911E5CD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645F39B-8F3F-A82D-5841-85047AE70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EB4BCA6-072D-95CB-783E-BE6D6600A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59177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1EAC19-6AA5-A720-9151-9A1A692D9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CE3E58D-522D-32C7-FD62-8040473C91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>
              <a:defRPr sz="4704"/>
            </a:lvl1pPr>
            <a:lvl2pPr>
              <a:defRPr sz="4116"/>
            </a:lvl2pPr>
            <a:lvl3pPr>
              <a:defRPr sz="3528"/>
            </a:lvl3pPr>
            <a:lvl4pPr>
              <a:defRPr sz="2940"/>
            </a:lvl4pPr>
            <a:lvl5pPr>
              <a:defRPr sz="2940"/>
            </a:lvl5pPr>
            <a:lvl6pPr>
              <a:defRPr sz="2940"/>
            </a:lvl6pPr>
            <a:lvl7pPr>
              <a:defRPr sz="2940"/>
            </a:lvl7pPr>
            <a:lvl8pPr>
              <a:defRPr sz="2940"/>
            </a:lvl8pPr>
            <a:lvl9pPr>
              <a:defRPr sz="294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F395F7C-3372-1D86-C49C-5669B3035E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BF99B8-35A7-52D3-7722-2BECE6C66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20C4689-8D60-DDC8-6490-F09183CF1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656301-7B1D-E4CA-5FE5-B2AB4088D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9365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8E04E22-8F74-5C8E-0A53-DA7A364AF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ACD1804-E1C3-AD84-73CA-64A55D062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9E1FBDA-E8F9-AC29-C2FA-D255E274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 descr="Navio na água&#10;&#10;Descrição gerada automaticamente com confiança média">
            <a:extLst>
              <a:ext uri="{FF2B5EF4-FFF2-40B4-BE49-F238E27FC236}">
                <a16:creationId xmlns:a16="http://schemas.microsoft.com/office/drawing/2014/main" id="{D0C7588E-28AA-8D87-61D4-26A3B4D03B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" b="9173"/>
          <a:stretch/>
        </p:blipFill>
        <p:spPr>
          <a:xfrm flipH="1">
            <a:off x="37786" y="0"/>
            <a:ext cx="17962877" cy="10080626"/>
          </a:xfrm>
          <a:prstGeom prst="rect">
            <a:avLst/>
          </a:prstGeom>
        </p:spPr>
      </p:pic>
      <p:sp>
        <p:nvSpPr>
          <p:cNvPr id="8" name="Retângulo 2">
            <a:extLst>
              <a:ext uri="{FF2B5EF4-FFF2-40B4-BE49-F238E27FC236}">
                <a16:creationId xmlns:a16="http://schemas.microsoft.com/office/drawing/2014/main" id="{7284C664-6E58-64CA-024C-22BC0B476F4C}"/>
              </a:ext>
            </a:extLst>
          </p:cNvPr>
          <p:cNvSpPr/>
          <p:nvPr userDrawn="1"/>
        </p:nvSpPr>
        <p:spPr>
          <a:xfrm>
            <a:off x="-2039810" y="-2171700"/>
            <a:ext cx="11277602" cy="12763499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62" t="17015" r="-24994" b="4005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66DF9AEA-5C53-E237-69D0-38197BEC8F84}"/>
              </a:ext>
            </a:extLst>
          </p:cNvPr>
          <p:cNvSpPr/>
          <p:nvPr userDrawn="1"/>
        </p:nvSpPr>
        <p:spPr>
          <a:xfrm>
            <a:off x="9912818" y="820615"/>
            <a:ext cx="7561940" cy="8745416"/>
          </a:xfrm>
          <a:prstGeom prst="roundRect">
            <a:avLst>
              <a:gd name="adj" fmla="val 6018"/>
            </a:avLst>
          </a:prstGeom>
          <a:solidFill>
            <a:schemeClr val="bg1">
              <a:alpha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EDB5184-5A2E-E93E-5E85-364049596487}"/>
              </a:ext>
            </a:extLst>
          </p:cNvPr>
          <p:cNvSpPr/>
          <p:nvPr userDrawn="1"/>
        </p:nvSpPr>
        <p:spPr>
          <a:xfrm>
            <a:off x="16115117" y="3090211"/>
            <a:ext cx="648000" cy="144000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pt-BR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00118243-5B02-DF75-6B7F-E45A52090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001" y="1799339"/>
            <a:ext cx="7281886" cy="1277914"/>
          </a:xfrm>
          <a:noFill/>
        </p:spPr>
        <p:txBody>
          <a:bodyPr wrap="square" rtlCol="0">
            <a:spAutoFit/>
          </a:bodyPr>
          <a:lstStyle>
            <a:lvl1pPr algn="l">
              <a:defRPr lang="pt-BR" sz="5400" b="1" spc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etrobras Sans" panose="020B0606020204030204" pitchFamily="34" charset="0"/>
                <a:ea typeface="+mn-ea"/>
                <a:cs typeface="+mn-cs"/>
              </a:defRPr>
            </a:lvl1pPr>
          </a:lstStyle>
          <a:p>
            <a:pPr marL="0" lvl="0" algn="r" defTabSz="1333017">
              <a:lnSpc>
                <a:spcPct val="70000"/>
              </a:lnSpc>
            </a:pPr>
            <a:r>
              <a:rPr lang="pt-BR"/>
              <a:t>Clique para editar o título Mestre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19A90C00-14A0-D7D5-06F5-9FCE3049A60F}"/>
              </a:ext>
            </a:extLst>
          </p:cNvPr>
          <p:cNvSpPr txBox="1">
            <a:spLocks/>
          </p:cNvSpPr>
          <p:nvPr userDrawn="1"/>
        </p:nvSpPr>
        <p:spPr>
          <a:xfrm>
            <a:off x="10894661" y="3495918"/>
            <a:ext cx="6075225" cy="117570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>
            <a:defPPr>
              <a:defRPr lang="en-US"/>
            </a:defPPr>
            <a:lvl1pPr algn="r">
              <a:lnSpc>
                <a:spcPct val="80000"/>
              </a:lnSpc>
              <a:defRPr sz="4400" b="1" spc="-15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Trebuchet MS" panose="020B0603020202020204" pitchFamily="34" charset="0"/>
                <a:cs typeface="Dreaming Outloud Pro" panose="020B0604020202020204" pitchFamily="66" charset="0"/>
              </a:defRPr>
            </a:lvl1pPr>
          </a:lstStyle>
          <a:p>
            <a:pPr lvl="0" algn="r"/>
            <a:r>
              <a:rPr lang="pt-BR">
                <a:solidFill>
                  <a:schemeClr val="tx1"/>
                </a:solidFill>
              </a:rPr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4273874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57AB9-0180-579D-4DD0-569EC9076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8B942670-18FE-9B16-0BB4-2749C28666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 marL="0" indent="0">
              <a:buNone/>
              <a:defRPr sz="4704"/>
            </a:lvl1pPr>
            <a:lvl2pPr marL="672038" indent="0">
              <a:buNone/>
              <a:defRPr sz="4116"/>
            </a:lvl2pPr>
            <a:lvl3pPr marL="1344077" indent="0">
              <a:buNone/>
              <a:defRPr sz="3528"/>
            </a:lvl3pPr>
            <a:lvl4pPr marL="2016115" indent="0">
              <a:buNone/>
              <a:defRPr sz="2940"/>
            </a:lvl4pPr>
            <a:lvl5pPr marL="2688153" indent="0">
              <a:buNone/>
              <a:defRPr sz="2940"/>
            </a:lvl5pPr>
            <a:lvl6pPr marL="3360191" indent="0">
              <a:buNone/>
              <a:defRPr sz="2940"/>
            </a:lvl6pPr>
            <a:lvl7pPr marL="4032230" indent="0">
              <a:buNone/>
              <a:defRPr sz="2940"/>
            </a:lvl7pPr>
            <a:lvl8pPr marL="4704268" indent="0">
              <a:buNone/>
              <a:defRPr sz="2940"/>
            </a:lvl8pPr>
            <a:lvl9pPr marL="5376306" indent="0">
              <a:buNone/>
              <a:defRPr sz="294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8919447-A333-5698-B0B8-0428C493B5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C131FE2-48E9-1C69-D37B-D004B60E1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B890E40-08AD-6260-786D-A22F37514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39C509-5780-9402-59D1-39E84D66C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553407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CC3848-9680-B9C0-F5B1-BA63DE000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49E6DF6-B8BC-C952-5744-C247A5980C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B45BBDD-782F-04A5-4406-F5D010D6E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B73F88-C716-AA06-FA1D-E252F664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272170E-F534-4B6C-3092-E18BAC944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87028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8834C60-C1A1-CEE5-9438-048B02899D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881724" y="536700"/>
            <a:ext cx="3881393" cy="854286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F0A730E-D635-27B9-94A3-CE73BDB130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37545" y="536700"/>
            <a:ext cx="11419171" cy="8542864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2EDF6FD-BC88-3213-9A87-F6A81AFDA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47264-1D4B-4818-9EB4-42BDF6CF4DE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E72D545-1CE3-BFC0-B518-CBB913F66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EAFB7DD-A84C-E7DF-0532-E1F87E460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EF1DB-7FBF-467B-9DF9-1669FB9E7FA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346079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159411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ou Sumári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BF9853F9-2EA7-AB06-B3FE-29352019E3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92775" y="383094"/>
            <a:ext cx="2365930" cy="682574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1DDD95F3-D154-AB75-8279-612EE88C5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07" t="12605" r="55393" b="55053"/>
          <a:stretch/>
        </p:blipFill>
        <p:spPr>
          <a:xfrm>
            <a:off x="0" y="1"/>
            <a:ext cx="7507670" cy="400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63901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da seçã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Imagem gráfica de navio na água&#10;&#10;Descrição gerada automaticamente com confiança média">
            <a:extLst>
              <a:ext uri="{FF2B5EF4-FFF2-40B4-BE49-F238E27FC236}">
                <a16:creationId xmlns:a16="http://schemas.microsoft.com/office/drawing/2014/main" id="{068CB346-AF77-7A95-181D-AB9973DE29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14" t="14363" r="20082"/>
          <a:stretch/>
        </p:blipFill>
        <p:spPr>
          <a:xfrm>
            <a:off x="10313498" y="1450058"/>
            <a:ext cx="7687167" cy="863056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1F56B656-E03B-EB4F-7EC7-C58C52805F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9864" y="2"/>
            <a:ext cx="18040528" cy="10088373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68C20A42-1748-C2E0-E7E1-8BAB5EC6D6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92775" y="383094"/>
            <a:ext cx="2365930" cy="68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38236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7955A6-B65D-2FDC-80A8-F47FDF1FAB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0083" y="1649770"/>
            <a:ext cx="13500497" cy="3509551"/>
          </a:xfrm>
        </p:spPr>
        <p:txBody>
          <a:bodyPr anchor="b"/>
          <a:lstStyle>
            <a:lvl1pPr algn="ctr"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C1A1437-22DF-F515-9E9F-EEC436C962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0083" y="5294662"/>
            <a:ext cx="13500497" cy="2433817"/>
          </a:xfrm>
        </p:spPr>
        <p:txBody>
          <a:bodyPr/>
          <a:lstStyle>
            <a:lvl1pPr marL="0" indent="0" algn="ctr">
              <a:buNone/>
              <a:defRPr sz="3528"/>
            </a:lvl1pPr>
            <a:lvl2pPr marL="672038" indent="0" algn="ctr">
              <a:buNone/>
              <a:defRPr sz="2940"/>
            </a:lvl2pPr>
            <a:lvl3pPr marL="1344077" indent="0" algn="ctr">
              <a:buNone/>
              <a:defRPr sz="2646"/>
            </a:lvl3pPr>
            <a:lvl4pPr marL="2016115" indent="0" algn="ctr">
              <a:buNone/>
              <a:defRPr sz="2352"/>
            </a:lvl4pPr>
            <a:lvl5pPr marL="2688153" indent="0" algn="ctr">
              <a:buNone/>
              <a:defRPr sz="2352"/>
            </a:lvl5pPr>
            <a:lvl6pPr marL="3360191" indent="0" algn="ctr">
              <a:buNone/>
              <a:defRPr sz="2352"/>
            </a:lvl6pPr>
            <a:lvl7pPr marL="4032230" indent="0" algn="ctr">
              <a:buNone/>
              <a:defRPr sz="2352"/>
            </a:lvl7pPr>
            <a:lvl8pPr marL="4704268" indent="0" algn="ctr">
              <a:buNone/>
              <a:defRPr sz="2352"/>
            </a:lvl8pPr>
            <a:lvl9pPr marL="5376306" indent="0" algn="ctr">
              <a:buNone/>
              <a:defRPr sz="2352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8B1C0D-6C44-5623-23E2-400FC428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274F913-0E28-7EF0-4405-C8AB51F3D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9064500-8B3D-AA75-8BF3-10A96D065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00630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919EFD-4281-D9EC-271F-F4DB66A09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1B7585E-5DE1-4A59-4418-4D97B2C00B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ADC5F69-ACA2-CB2E-9A72-4183DCC15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A1F3472-02DE-154D-5442-86B349240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D60805-6E59-F535-6DE5-75F8DD224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671792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2F9012-1B39-757E-15DB-56EA4F792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8170" y="2513157"/>
            <a:ext cx="15525572" cy="4193259"/>
          </a:xfrm>
        </p:spPr>
        <p:txBody>
          <a:bodyPr anchor="b"/>
          <a:lstStyle>
            <a:lvl1pPr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A67C6F8-4D30-1585-4B8E-C31712FCE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28170" y="6746086"/>
            <a:ext cx="15525572" cy="2205136"/>
          </a:xfrm>
        </p:spPr>
        <p:txBody>
          <a:bodyPr/>
          <a:lstStyle>
            <a:lvl1pPr marL="0" indent="0">
              <a:buNone/>
              <a:defRPr sz="3528">
                <a:solidFill>
                  <a:schemeClr val="tx1">
                    <a:tint val="82000"/>
                  </a:schemeClr>
                </a:solidFill>
              </a:defRPr>
            </a:lvl1pPr>
            <a:lvl2pPr marL="672038" indent="0">
              <a:buNone/>
              <a:defRPr sz="2940">
                <a:solidFill>
                  <a:schemeClr val="tx1">
                    <a:tint val="82000"/>
                  </a:schemeClr>
                </a:solidFill>
              </a:defRPr>
            </a:lvl2pPr>
            <a:lvl3pPr marL="1344077" indent="0">
              <a:buNone/>
              <a:defRPr sz="2646">
                <a:solidFill>
                  <a:schemeClr val="tx1">
                    <a:tint val="82000"/>
                  </a:schemeClr>
                </a:solidFill>
              </a:defRPr>
            </a:lvl3pPr>
            <a:lvl4pPr marL="2016115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4pPr>
            <a:lvl5pPr marL="2688153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5pPr>
            <a:lvl6pPr marL="3360191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6pPr>
            <a:lvl7pPr marL="4032230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7pPr>
            <a:lvl8pPr marL="4704268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8pPr>
            <a:lvl9pPr marL="5376306" indent="0">
              <a:buNone/>
              <a:defRPr sz="2352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DDC47DF-543C-B6D4-A184-E54364BA1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20B7CAC-73A5-DECE-770A-C0D81BD48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7D74FCD-8FAB-0896-FBA6-7EEA61422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2600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3B1C51-A2E3-DA5A-FB4D-9D536C008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D2C52A7-C966-5321-2805-B60457785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7545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4A4E70B-93E6-82BF-CB4E-548DDFD710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836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E8C8A3C-DC7F-4CBF-D2E1-E9CCE37AE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7794E9D-0D67-7993-380E-959BC1EFA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48AAA75-40CB-2A82-5A61-DD72E144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12821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bg>
      <p:bgPr>
        <a:gradFill>
          <a:gsLst>
            <a:gs pos="100000">
              <a:srgbClr val="D0D1D3"/>
            </a:gs>
            <a:gs pos="0">
              <a:schemeClr val="bg2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ângulo 20">
            <a:extLst>
              <a:ext uri="{FF2B5EF4-FFF2-40B4-BE49-F238E27FC236}">
                <a16:creationId xmlns:a16="http://schemas.microsoft.com/office/drawing/2014/main" id="{54F95F00-1798-24A4-4EF3-E89FE1B87B95}"/>
              </a:ext>
            </a:extLst>
          </p:cNvPr>
          <p:cNvSpPr/>
          <p:nvPr/>
        </p:nvSpPr>
        <p:spPr>
          <a:xfrm flipH="1">
            <a:off x="-576500" y="-5728090"/>
            <a:ext cx="4638834" cy="7652548"/>
          </a:xfrm>
          <a:custGeom>
            <a:avLst/>
            <a:gdLst>
              <a:gd name="connsiteX0" fmla="*/ 0 w 2101774"/>
              <a:gd name="connsiteY0" fmla="*/ 0 h 3063000"/>
              <a:gd name="connsiteX1" fmla="*/ 2101774 w 2101774"/>
              <a:gd name="connsiteY1" fmla="*/ 0 h 3063000"/>
              <a:gd name="connsiteX2" fmla="*/ 2101774 w 2101774"/>
              <a:gd name="connsiteY2" fmla="*/ 3063000 h 3063000"/>
              <a:gd name="connsiteX3" fmla="*/ 0 w 2101774"/>
              <a:gd name="connsiteY3" fmla="*/ 3063000 h 3063000"/>
              <a:gd name="connsiteX4" fmla="*/ 0 w 2101774"/>
              <a:gd name="connsiteY4" fmla="*/ 0 h 3063000"/>
              <a:gd name="connsiteX0" fmla="*/ 0 w 2101774"/>
              <a:gd name="connsiteY0" fmla="*/ 9780 h 3072780"/>
              <a:gd name="connsiteX1" fmla="*/ 2101774 w 2101774"/>
              <a:gd name="connsiteY1" fmla="*/ 0 h 3072780"/>
              <a:gd name="connsiteX2" fmla="*/ 2101774 w 2101774"/>
              <a:gd name="connsiteY2" fmla="*/ 3072780 h 3072780"/>
              <a:gd name="connsiteX3" fmla="*/ 0 w 2101774"/>
              <a:gd name="connsiteY3" fmla="*/ 3072780 h 3072780"/>
              <a:gd name="connsiteX4" fmla="*/ 0 w 2101774"/>
              <a:gd name="connsiteY4" fmla="*/ 9780 h 3072780"/>
              <a:gd name="connsiteX0" fmla="*/ 9780 w 2101774"/>
              <a:gd name="connsiteY0" fmla="*/ 557442 h 3072780"/>
              <a:gd name="connsiteX1" fmla="*/ 2101774 w 2101774"/>
              <a:gd name="connsiteY1" fmla="*/ 0 h 3072780"/>
              <a:gd name="connsiteX2" fmla="*/ 2101774 w 2101774"/>
              <a:gd name="connsiteY2" fmla="*/ 3072780 h 3072780"/>
              <a:gd name="connsiteX3" fmla="*/ 0 w 2101774"/>
              <a:gd name="connsiteY3" fmla="*/ 3072780 h 3072780"/>
              <a:gd name="connsiteX4" fmla="*/ 9780 w 2101774"/>
              <a:gd name="connsiteY4" fmla="*/ 557442 h 3072780"/>
              <a:gd name="connsiteX0" fmla="*/ 625900 w 2101774"/>
              <a:gd name="connsiteY0" fmla="*/ 298281 h 3072780"/>
              <a:gd name="connsiteX1" fmla="*/ 2101774 w 2101774"/>
              <a:gd name="connsiteY1" fmla="*/ 0 h 3072780"/>
              <a:gd name="connsiteX2" fmla="*/ 2101774 w 2101774"/>
              <a:gd name="connsiteY2" fmla="*/ 3072780 h 3072780"/>
              <a:gd name="connsiteX3" fmla="*/ 0 w 2101774"/>
              <a:gd name="connsiteY3" fmla="*/ 3072780 h 3072780"/>
              <a:gd name="connsiteX4" fmla="*/ 625900 w 2101774"/>
              <a:gd name="connsiteY4" fmla="*/ 298281 h 3072780"/>
              <a:gd name="connsiteX0" fmla="*/ 151585 w 1627459"/>
              <a:gd name="connsiteY0" fmla="*/ 298281 h 3072780"/>
              <a:gd name="connsiteX1" fmla="*/ 1627459 w 1627459"/>
              <a:gd name="connsiteY1" fmla="*/ 0 h 3072780"/>
              <a:gd name="connsiteX2" fmla="*/ 1627459 w 1627459"/>
              <a:gd name="connsiteY2" fmla="*/ 3072780 h 3072780"/>
              <a:gd name="connsiteX3" fmla="*/ 0 w 1627459"/>
              <a:gd name="connsiteY3" fmla="*/ 2662033 h 3072780"/>
              <a:gd name="connsiteX4" fmla="*/ 151585 w 1627459"/>
              <a:gd name="connsiteY4" fmla="*/ 298281 h 3072780"/>
              <a:gd name="connsiteX0" fmla="*/ 464535 w 1940409"/>
              <a:gd name="connsiteY0" fmla="*/ 298281 h 3072780"/>
              <a:gd name="connsiteX1" fmla="*/ 1940409 w 1940409"/>
              <a:gd name="connsiteY1" fmla="*/ 0 h 3072780"/>
              <a:gd name="connsiteX2" fmla="*/ 1940409 w 1940409"/>
              <a:gd name="connsiteY2" fmla="*/ 3072780 h 3072780"/>
              <a:gd name="connsiteX3" fmla="*/ 0 w 1940409"/>
              <a:gd name="connsiteY3" fmla="*/ 2745160 h 3072780"/>
              <a:gd name="connsiteX4" fmla="*/ 464535 w 1940409"/>
              <a:gd name="connsiteY4" fmla="*/ 298281 h 3072780"/>
              <a:gd name="connsiteX0" fmla="*/ 625899 w 1940409"/>
              <a:gd name="connsiteY0" fmla="*/ 410747 h 3072780"/>
              <a:gd name="connsiteX1" fmla="*/ 1940409 w 1940409"/>
              <a:gd name="connsiteY1" fmla="*/ 0 h 3072780"/>
              <a:gd name="connsiteX2" fmla="*/ 1940409 w 1940409"/>
              <a:gd name="connsiteY2" fmla="*/ 3072780 h 3072780"/>
              <a:gd name="connsiteX3" fmla="*/ 0 w 1940409"/>
              <a:gd name="connsiteY3" fmla="*/ 2745160 h 3072780"/>
              <a:gd name="connsiteX4" fmla="*/ 625899 w 1940409"/>
              <a:gd name="connsiteY4" fmla="*/ 410747 h 3072780"/>
              <a:gd name="connsiteX0" fmla="*/ 547662 w 1940409"/>
              <a:gd name="connsiteY0" fmla="*/ 283611 h 3072780"/>
              <a:gd name="connsiteX1" fmla="*/ 1940409 w 1940409"/>
              <a:gd name="connsiteY1" fmla="*/ 0 h 3072780"/>
              <a:gd name="connsiteX2" fmla="*/ 1940409 w 1940409"/>
              <a:gd name="connsiteY2" fmla="*/ 3072780 h 3072780"/>
              <a:gd name="connsiteX3" fmla="*/ 0 w 1940409"/>
              <a:gd name="connsiteY3" fmla="*/ 2745160 h 3072780"/>
              <a:gd name="connsiteX4" fmla="*/ 547662 w 1940409"/>
              <a:gd name="connsiteY4" fmla="*/ 283611 h 3072780"/>
              <a:gd name="connsiteX0" fmla="*/ 547662 w 1940409"/>
              <a:gd name="connsiteY0" fmla="*/ 283611 h 3072780"/>
              <a:gd name="connsiteX1" fmla="*/ 1940409 w 1940409"/>
              <a:gd name="connsiteY1" fmla="*/ 0 h 3072780"/>
              <a:gd name="connsiteX2" fmla="*/ 1940409 w 1940409"/>
              <a:gd name="connsiteY2" fmla="*/ 3072780 h 3072780"/>
              <a:gd name="connsiteX3" fmla="*/ 0 w 1940409"/>
              <a:gd name="connsiteY3" fmla="*/ 2745160 h 3072780"/>
              <a:gd name="connsiteX4" fmla="*/ 30646 w 1940409"/>
              <a:gd name="connsiteY4" fmla="*/ 2583355 h 3072780"/>
              <a:gd name="connsiteX5" fmla="*/ 547662 w 1940409"/>
              <a:gd name="connsiteY5" fmla="*/ 283611 h 3072780"/>
              <a:gd name="connsiteX0" fmla="*/ 547662 w 1940409"/>
              <a:gd name="connsiteY0" fmla="*/ 283611 h 3072780"/>
              <a:gd name="connsiteX1" fmla="*/ 1940409 w 1940409"/>
              <a:gd name="connsiteY1" fmla="*/ 0 h 3072780"/>
              <a:gd name="connsiteX2" fmla="*/ 1940409 w 1940409"/>
              <a:gd name="connsiteY2" fmla="*/ 3072780 h 3072780"/>
              <a:gd name="connsiteX3" fmla="*/ 141771 w 1940409"/>
              <a:gd name="connsiteY3" fmla="*/ 2770680 h 3072780"/>
              <a:gd name="connsiteX4" fmla="*/ 0 w 1940409"/>
              <a:gd name="connsiteY4" fmla="*/ 2745160 h 3072780"/>
              <a:gd name="connsiteX5" fmla="*/ 30646 w 1940409"/>
              <a:gd name="connsiteY5" fmla="*/ 2583355 h 3072780"/>
              <a:gd name="connsiteX6" fmla="*/ 547662 w 1940409"/>
              <a:gd name="connsiteY6" fmla="*/ 283611 h 3072780"/>
              <a:gd name="connsiteX0" fmla="*/ 517016 w 1909763"/>
              <a:gd name="connsiteY0" fmla="*/ 283611 h 3072780"/>
              <a:gd name="connsiteX1" fmla="*/ 1909763 w 1909763"/>
              <a:gd name="connsiteY1" fmla="*/ 0 h 3072780"/>
              <a:gd name="connsiteX2" fmla="*/ 1909763 w 1909763"/>
              <a:gd name="connsiteY2" fmla="*/ 3072780 h 3072780"/>
              <a:gd name="connsiteX3" fmla="*/ 111125 w 1909763"/>
              <a:gd name="connsiteY3" fmla="*/ 2770680 h 3072780"/>
              <a:gd name="connsiteX4" fmla="*/ 0 w 1909763"/>
              <a:gd name="connsiteY4" fmla="*/ 2583355 h 3072780"/>
              <a:gd name="connsiteX5" fmla="*/ 517016 w 1909763"/>
              <a:gd name="connsiteY5" fmla="*/ 283611 h 3072780"/>
              <a:gd name="connsiteX0" fmla="*/ 517016 w 1909763"/>
              <a:gd name="connsiteY0" fmla="*/ 283611 h 3072780"/>
              <a:gd name="connsiteX1" fmla="*/ 1909763 w 1909763"/>
              <a:gd name="connsiteY1" fmla="*/ 0 h 3072780"/>
              <a:gd name="connsiteX2" fmla="*/ 1909763 w 1909763"/>
              <a:gd name="connsiteY2" fmla="*/ 3072780 h 3072780"/>
              <a:gd name="connsiteX3" fmla="*/ 111125 w 1909763"/>
              <a:gd name="connsiteY3" fmla="*/ 2770680 h 3072780"/>
              <a:gd name="connsiteX4" fmla="*/ 0 w 1909763"/>
              <a:gd name="connsiteY4" fmla="*/ 2583355 h 3072780"/>
              <a:gd name="connsiteX5" fmla="*/ 517016 w 1909763"/>
              <a:gd name="connsiteY5" fmla="*/ 283611 h 3072780"/>
              <a:gd name="connsiteX0" fmla="*/ 523755 w 1916502"/>
              <a:gd name="connsiteY0" fmla="*/ 283611 h 3072780"/>
              <a:gd name="connsiteX1" fmla="*/ 1916502 w 1916502"/>
              <a:gd name="connsiteY1" fmla="*/ 0 h 3072780"/>
              <a:gd name="connsiteX2" fmla="*/ 1916502 w 1916502"/>
              <a:gd name="connsiteY2" fmla="*/ 3072780 h 3072780"/>
              <a:gd name="connsiteX3" fmla="*/ 117864 w 1916502"/>
              <a:gd name="connsiteY3" fmla="*/ 2770680 h 3072780"/>
              <a:gd name="connsiteX4" fmla="*/ 6739 w 1916502"/>
              <a:gd name="connsiteY4" fmla="*/ 2583355 h 3072780"/>
              <a:gd name="connsiteX5" fmla="*/ 523755 w 1916502"/>
              <a:gd name="connsiteY5" fmla="*/ 283611 h 3072780"/>
              <a:gd name="connsiteX0" fmla="*/ 524051 w 1916798"/>
              <a:gd name="connsiteY0" fmla="*/ 283611 h 3072780"/>
              <a:gd name="connsiteX1" fmla="*/ 1916798 w 1916798"/>
              <a:gd name="connsiteY1" fmla="*/ 0 h 3072780"/>
              <a:gd name="connsiteX2" fmla="*/ 1916798 w 1916798"/>
              <a:gd name="connsiteY2" fmla="*/ 3072780 h 3072780"/>
              <a:gd name="connsiteX3" fmla="*/ 118160 w 1916798"/>
              <a:gd name="connsiteY3" fmla="*/ 2770680 h 3072780"/>
              <a:gd name="connsiteX4" fmla="*/ 7035 w 1916798"/>
              <a:gd name="connsiteY4" fmla="*/ 2583355 h 3072780"/>
              <a:gd name="connsiteX5" fmla="*/ 524051 w 1916798"/>
              <a:gd name="connsiteY5" fmla="*/ 283611 h 3072780"/>
              <a:gd name="connsiteX0" fmla="*/ 524051 w 1916798"/>
              <a:gd name="connsiteY0" fmla="*/ 283611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524051 w 1916798"/>
              <a:gd name="connsiteY6" fmla="*/ 283611 h 3072780"/>
              <a:gd name="connsiteX0" fmla="*/ 524051 w 1916798"/>
              <a:gd name="connsiteY0" fmla="*/ 283611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  <a:gd name="connsiteX7" fmla="*/ 524051 w 1916798"/>
              <a:gd name="connsiteY7" fmla="*/ 283611 h 3072780"/>
              <a:gd name="connsiteX0" fmla="*/ 492810 w 1916798"/>
              <a:gd name="connsiteY0" fmla="*/ 430705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  <a:gd name="connsiteX0" fmla="*/ 492810 w 1916798"/>
              <a:gd name="connsiteY0" fmla="*/ 430705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  <a:gd name="connsiteX0" fmla="*/ 492810 w 1916798"/>
              <a:gd name="connsiteY0" fmla="*/ 430705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  <a:gd name="connsiteX0" fmla="*/ 492810 w 1916798"/>
              <a:gd name="connsiteY0" fmla="*/ 430705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  <a:gd name="connsiteX0" fmla="*/ 492810 w 1916798"/>
              <a:gd name="connsiteY0" fmla="*/ 430705 h 3072780"/>
              <a:gd name="connsiteX1" fmla="*/ 654735 w 1916798"/>
              <a:gd name="connsiteY1" fmla="*/ 256080 h 3072780"/>
              <a:gd name="connsiteX2" fmla="*/ 1916798 w 1916798"/>
              <a:gd name="connsiteY2" fmla="*/ 0 h 3072780"/>
              <a:gd name="connsiteX3" fmla="*/ 1916798 w 1916798"/>
              <a:gd name="connsiteY3" fmla="*/ 3072780 h 3072780"/>
              <a:gd name="connsiteX4" fmla="*/ 118160 w 1916798"/>
              <a:gd name="connsiteY4" fmla="*/ 2770680 h 3072780"/>
              <a:gd name="connsiteX5" fmla="*/ 7035 w 1916798"/>
              <a:gd name="connsiteY5" fmla="*/ 2583355 h 3072780"/>
              <a:gd name="connsiteX6" fmla="*/ 492810 w 1916798"/>
              <a:gd name="connsiteY6" fmla="*/ 430705 h 30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6798" h="3072780">
                <a:moveTo>
                  <a:pt x="492810" y="430705"/>
                </a:moveTo>
                <a:cubicBezTo>
                  <a:pt x="515035" y="334397"/>
                  <a:pt x="565835" y="282538"/>
                  <a:pt x="654735" y="256080"/>
                </a:cubicBezTo>
                <a:lnTo>
                  <a:pt x="1916798" y="0"/>
                </a:lnTo>
                <a:lnTo>
                  <a:pt x="1916798" y="3072780"/>
                </a:lnTo>
                <a:lnTo>
                  <a:pt x="118160" y="2770680"/>
                </a:lnTo>
                <a:cubicBezTo>
                  <a:pt x="17618" y="2752688"/>
                  <a:pt x="-16248" y="2693422"/>
                  <a:pt x="7035" y="2583355"/>
                </a:cubicBezTo>
                <a:lnTo>
                  <a:pt x="492810" y="430705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R="0" lvl="0" indent="0" algn="ctr" defTabSz="67356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326" b="0" i="0" u="none" strike="noStrike" kern="0" cap="none" spc="0" normalizeH="0" baseline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E8DA676-84BD-3D00-8325-30D16C3A7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9361" y="-2651976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AAEAC14-820B-A7FE-CA95-BB51A489F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B67B066-31D9-D963-7AFC-B3B09788B1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28F0763-ABA5-5B2F-5F03-4CD8AA6FC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sp>
        <p:nvSpPr>
          <p:cNvPr id="6" name="Picture 4">
            <a:extLst>
              <a:ext uri="{FF2B5EF4-FFF2-40B4-BE49-F238E27FC236}">
                <a16:creationId xmlns:a16="http://schemas.microsoft.com/office/drawing/2014/main" id="{FEF7F17C-A00C-C4E8-247C-92BBDA504F57}"/>
              </a:ext>
            </a:extLst>
          </p:cNvPr>
          <p:cNvSpPr/>
          <p:nvPr userDrawn="1"/>
        </p:nvSpPr>
        <p:spPr>
          <a:xfrm flipV="1">
            <a:off x="547837" y="1965722"/>
            <a:ext cx="5812570" cy="2386708"/>
          </a:xfrm>
          <a:custGeom>
            <a:avLst/>
            <a:gdLst>
              <a:gd name="connsiteX0" fmla="*/ 0 w 8887045"/>
              <a:gd name="connsiteY0" fmla="*/ 0 h 10786533"/>
              <a:gd name="connsiteX1" fmla="*/ 8887045 w 8887045"/>
              <a:gd name="connsiteY1" fmla="*/ 0 h 10786533"/>
              <a:gd name="connsiteX2" fmla="*/ 8887045 w 8887045"/>
              <a:gd name="connsiteY2" fmla="*/ 10786533 h 10786533"/>
              <a:gd name="connsiteX3" fmla="*/ 0 w 8887045"/>
              <a:gd name="connsiteY3" fmla="*/ 10786533 h 1078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87045" h="10786533">
                <a:moveTo>
                  <a:pt x="0" y="0"/>
                </a:moveTo>
                <a:lnTo>
                  <a:pt x="8887045" y="0"/>
                </a:lnTo>
                <a:lnTo>
                  <a:pt x="8887045" y="10786533"/>
                </a:lnTo>
                <a:lnTo>
                  <a:pt x="0" y="10786533"/>
                </a:lnTo>
                <a:close/>
              </a:path>
            </a:pathLst>
          </a:cu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50000">
                <a:srgbClr val="F9F9F9">
                  <a:alpha val="49804"/>
                </a:srgbClr>
              </a:gs>
              <a:gs pos="100000">
                <a:srgbClr val="F9F9F9">
                  <a:alpha val="0"/>
                </a:srgbClr>
              </a:gs>
            </a:gsLst>
            <a:lin ang="0" scaled="1"/>
            <a:tileRect/>
          </a:gradFill>
          <a:ln w="4443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Picture 4">
            <a:extLst>
              <a:ext uri="{FF2B5EF4-FFF2-40B4-BE49-F238E27FC236}">
                <a16:creationId xmlns:a16="http://schemas.microsoft.com/office/drawing/2014/main" id="{23F90AE8-CE59-7166-436E-37205531494D}"/>
              </a:ext>
            </a:extLst>
          </p:cNvPr>
          <p:cNvSpPr/>
          <p:nvPr userDrawn="1"/>
        </p:nvSpPr>
        <p:spPr>
          <a:xfrm flipV="1">
            <a:off x="588795" y="5317667"/>
            <a:ext cx="5225610" cy="3096604"/>
          </a:xfrm>
          <a:custGeom>
            <a:avLst/>
            <a:gdLst>
              <a:gd name="connsiteX0" fmla="*/ 0 w 8887045"/>
              <a:gd name="connsiteY0" fmla="*/ 0 h 10786533"/>
              <a:gd name="connsiteX1" fmla="*/ 8887045 w 8887045"/>
              <a:gd name="connsiteY1" fmla="*/ 0 h 10786533"/>
              <a:gd name="connsiteX2" fmla="*/ 8887045 w 8887045"/>
              <a:gd name="connsiteY2" fmla="*/ 10786533 h 10786533"/>
              <a:gd name="connsiteX3" fmla="*/ 0 w 8887045"/>
              <a:gd name="connsiteY3" fmla="*/ 10786533 h 1078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87045" h="10786533">
                <a:moveTo>
                  <a:pt x="0" y="0"/>
                </a:moveTo>
                <a:lnTo>
                  <a:pt x="8887045" y="0"/>
                </a:lnTo>
                <a:lnTo>
                  <a:pt x="8887045" y="10786533"/>
                </a:lnTo>
                <a:lnTo>
                  <a:pt x="0" y="10786533"/>
                </a:lnTo>
                <a:close/>
              </a:path>
            </a:pathLst>
          </a:cu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50000">
                <a:srgbClr val="F9F9F9">
                  <a:alpha val="49804"/>
                </a:srgbClr>
              </a:gs>
              <a:gs pos="100000">
                <a:srgbClr val="F9F9F9">
                  <a:alpha val="0"/>
                </a:srgbClr>
              </a:gs>
            </a:gsLst>
            <a:lin ang="0" scaled="1"/>
            <a:tileRect/>
          </a:gradFill>
          <a:ln w="4443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Picture 4">
            <a:extLst>
              <a:ext uri="{FF2B5EF4-FFF2-40B4-BE49-F238E27FC236}">
                <a16:creationId xmlns:a16="http://schemas.microsoft.com/office/drawing/2014/main" id="{FF4CDA53-81E9-DE76-EFFC-63759AF6528C}"/>
              </a:ext>
            </a:extLst>
          </p:cNvPr>
          <p:cNvSpPr/>
          <p:nvPr userDrawn="1"/>
        </p:nvSpPr>
        <p:spPr>
          <a:xfrm flipH="1" flipV="1">
            <a:off x="11918501" y="2065963"/>
            <a:ext cx="4805369" cy="2386708"/>
          </a:xfrm>
          <a:custGeom>
            <a:avLst/>
            <a:gdLst>
              <a:gd name="connsiteX0" fmla="*/ 0 w 8887045"/>
              <a:gd name="connsiteY0" fmla="*/ 0 h 10786533"/>
              <a:gd name="connsiteX1" fmla="*/ 8887045 w 8887045"/>
              <a:gd name="connsiteY1" fmla="*/ 0 h 10786533"/>
              <a:gd name="connsiteX2" fmla="*/ 8887045 w 8887045"/>
              <a:gd name="connsiteY2" fmla="*/ 10786533 h 10786533"/>
              <a:gd name="connsiteX3" fmla="*/ 0 w 8887045"/>
              <a:gd name="connsiteY3" fmla="*/ 10786533 h 1078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87045" h="10786533">
                <a:moveTo>
                  <a:pt x="0" y="0"/>
                </a:moveTo>
                <a:lnTo>
                  <a:pt x="8887045" y="0"/>
                </a:lnTo>
                <a:lnTo>
                  <a:pt x="8887045" y="10786533"/>
                </a:lnTo>
                <a:lnTo>
                  <a:pt x="0" y="10786533"/>
                </a:lnTo>
                <a:close/>
              </a:path>
            </a:pathLst>
          </a:cu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50000">
                <a:srgbClr val="F9F9F9">
                  <a:alpha val="49804"/>
                </a:srgbClr>
              </a:gs>
              <a:gs pos="100000">
                <a:srgbClr val="F9F9F9">
                  <a:alpha val="0"/>
                </a:srgbClr>
              </a:gs>
            </a:gsLst>
            <a:lin ang="0" scaled="1"/>
            <a:tileRect/>
          </a:gradFill>
          <a:ln w="4443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F8729DAC-C85E-0FAA-9C22-F897D53F3E36}"/>
              </a:ext>
            </a:extLst>
          </p:cNvPr>
          <p:cNvCxnSpPr>
            <a:cxnSpLocks/>
          </p:cNvCxnSpPr>
          <p:nvPr userDrawn="1"/>
        </p:nvCxnSpPr>
        <p:spPr>
          <a:xfrm>
            <a:off x="298913" y="1305857"/>
            <a:ext cx="540000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sp>
        <p:nvSpPr>
          <p:cNvPr id="10" name="TextBox 163">
            <a:extLst>
              <a:ext uri="{FF2B5EF4-FFF2-40B4-BE49-F238E27FC236}">
                <a16:creationId xmlns:a16="http://schemas.microsoft.com/office/drawing/2014/main" id="{00F031F0-628E-4FCE-7D75-0EC50D3C1755}"/>
              </a:ext>
            </a:extLst>
          </p:cNvPr>
          <p:cNvSpPr txBox="1"/>
          <p:nvPr userDrawn="1"/>
        </p:nvSpPr>
        <p:spPr>
          <a:xfrm>
            <a:off x="1079223" y="2736280"/>
            <a:ext cx="51490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São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o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b="1" err="1">
                <a:solidFill>
                  <a:schemeClr val="accent1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oprietário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store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isco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ono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os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a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esponsávei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ela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terno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itigatórias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" name="Rectangle 162">
            <a:extLst>
              <a:ext uri="{FF2B5EF4-FFF2-40B4-BE49-F238E27FC236}">
                <a16:creationId xmlns:a16="http://schemas.microsoft.com/office/drawing/2014/main" id="{E169692F-8414-4517-7BA0-8AE5D418F515}"/>
              </a:ext>
            </a:extLst>
          </p:cNvPr>
          <p:cNvSpPr/>
          <p:nvPr userDrawn="1"/>
        </p:nvSpPr>
        <p:spPr>
          <a:xfrm>
            <a:off x="1434381" y="2163230"/>
            <a:ext cx="33090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43808"/>
            <a:r>
              <a:rPr lang="en-US" sz="2400" b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GESTORES E EQUIPES</a:t>
            </a:r>
          </a:p>
        </p:txBody>
      </p:sp>
      <p:sp>
        <p:nvSpPr>
          <p:cNvPr id="12" name="TextBox 161">
            <a:extLst>
              <a:ext uri="{FF2B5EF4-FFF2-40B4-BE49-F238E27FC236}">
                <a16:creationId xmlns:a16="http://schemas.microsoft.com/office/drawing/2014/main" id="{5E0775A1-62B3-248D-3523-C7813F0940BB}"/>
              </a:ext>
            </a:extLst>
          </p:cNvPr>
          <p:cNvSpPr txBox="1"/>
          <p:nvPr userDrawn="1"/>
        </p:nvSpPr>
        <p:spPr>
          <a:xfrm>
            <a:off x="951735" y="7005696"/>
            <a:ext cx="54506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14" marR="0" lvl="0" indent="-252014" algn="l" defTabSz="13438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e/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u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sseguração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cessos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dependênci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Limitad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eport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imariamente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à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  <a:p>
            <a:pPr defTabSz="1343808"/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defTabSz="1343808"/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Rectangle 162">
            <a:extLst>
              <a:ext uri="{FF2B5EF4-FFF2-40B4-BE49-F238E27FC236}">
                <a16:creationId xmlns:a16="http://schemas.microsoft.com/office/drawing/2014/main" id="{70A4150E-BF9C-2366-65C1-BEB881F7B9ED}"/>
              </a:ext>
            </a:extLst>
          </p:cNvPr>
          <p:cNvSpPr/>
          <p:nvPr userDrawn="1"/>
        </p:nvSpPr>
        <p:spPr>
          <a:xfrm>
            <a:off x="1525400" y="5461720"/>
            <a:ext cx="455942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43808"/>
            <a:r>
              <a:rPr lang="en-US" sz="2400" b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RISCOS, CONFORMIDADE, CONTROLE INTERNO, OUVIDORIA, SI e DEMAIS FUNÇÕES CORPORATIVAS</a:t>
            </a:r>
          </a:p>
        </p:txBody>
      </p:sp>
      <p:sp>
        <p:nvSpPr>
          <p:cNvPr id="14" name="TextBox 158">
            <a:extLst>
              <a:ext uri="{FF2B5EF4-FFF2-40B4-BE49-F238E27FC236}">
                <a16:creationId xmlns:a16="http://schemas.microsoft.com/office/drawing/2014/main" id="{A656CD6B-F702-5EEF-4DEA-0C940610AC3F}"/>
              </a:ext>
            </a:extLst>
          </p:cNvPr>
          <p:cNvSpPr txBox="1"/>
          <p:nvPr userDrawn="1"/>
        </p:nvSpPr>
        <p:spPr>
          <a:xfrm>
            <a:off x="12647203" y="2684110"/>
            <a:ext cx="48053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ção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iscos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aior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dependência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eporta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o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órgão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200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5" name="Rectangle 162">
            <a:extLst>
              <a:ext uri="{FF2B5EF4-FFF2-40B4-BE49-F238E27FC236}">
                <a16:creationId xmlns:a16="http://schemas.microsoft.com/office/drawing/2014/main" id="{972A3D2F-3783-6E3E-BEC6-1FC91F8F49F0}"/>
              </a:ext>
            </a:extLst>
          </p:cNvPr>
          <p:cNvSpPr/>
          <p:nvPr userDrawn="1"/>
        </p:nvSpPr>
        <p:spPr>
          <a:xfrm>
            <a:off x="12853412" y="2269886"/>
            <a:ext cx="47073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43808"/>
            <a:r>
              <a:rPr lang="en-US" sz="2400" b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AUDITORIA INTERNA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4FB609FC-AFC4-268D-446D-160F7536D57F}"/>
              </a:ext>
            </a:extLst>
          </p:cNvPr>
          <p:cNvGrpSpPr/>
          <p:nvPr userDrawn="1"/>
        </p:nvGrpSpPr>
        <p:grpSpPr>
          <a:xfrm rot="984560">
            <a:off x="6050964" y="2530115"/>
            <a:ext cx="6057021" cy="6080395"/>
            <a:chOff x="4349061" y="183194"/>
            <a:chExt cx="8920620" cy="9143714"/>
          </a:xfrm>
        </p:grpSpPr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D8210A77-12CA-FC88-DC19-3DC2EE0C81A1}"/>
                </a:ext>
              </a:extLst>
            </p:cNvPr>
            <p:cNvGrpSpPr/>
            <p:nvPr/>
          </p:nvGrpSpPr>
          <p:grpSpPr>
            <a:xfrm>
              <a:off x="4349061" y="183194"/>
              <a:ext cx="8920620" cy="9143714"/>
              <a:chOff x="4349061" y="183194"/>
              <a:chExt cx="8920620" cy="9143714"/>
            </a:xfrm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E454E74B-7533-3BC9-E961-E70A62A374F6}"/>
                  </a:ext>
                </a:extLst>
              </p:cNvPr>
              <p:cNvSpPr/>
              <p:nvPr/>
            </p:nvSpPr>
            <p:spPr>
              <a:xfrm rot="21447605">
                <a:off x="4349061" y="572827"/>
                <a:ext cx="8533540" cy="8529441"/>
              </a:xfrm>
              <a:custGeom>
                <a:avLst/>
                <a:gdLst>
                  <a:gd name="connsiteX0" fmla="*/ 4266434 w 8533540"/>
                  <a:gd name="connsiteY0" fmla="*/ 8529441 h 8529441"/>
                  <a:gd name="connsiteX1" fmla="*/ 0 w 8533540"/>
                  <a:gd name="connsiteY1" fmla="*/ 4264609 h 8529441"/>
                  <a:gd name="connsiteX2" fmla="*/ 4266434 w 8533540"/>
                  <a:gd name="connsiteY2" fmla="*/ 0 h 8529441"/>
                  <a:gd name="connsiteX3" fmla="*/ 8533540 w 8533540"/>
                  <a:gd name="connsiteY3" fmla="*/ 4264609 h 8529441"/>
                  <a:gd name="connsiteX4" fmla="*/ 4266434 w 8533540"/>
                  <a:gd name="connsiteY4" fmla="*/ 8529441 h 8529441"/>
                  <a:gd name="connsiteX5" fmla="*/ 4266434 w 8533540"/>
                  <a:gd name="connsiteY5" fmla="*/ 67209 h 8529441"/>
                  <a:gd name="connsiteX6" fmla="*/ 67910 w 8533540"/>
                  <a:gd name="connsiteY6" fmla="*/ 4264609 h 8529441"/>
                  <a:gd name="connsiteX7" fmla="*/ 4266434 w 8533540"/>
                  <a:gd name="connsiteY7" fmla="*/ 8462232 h 8529441"/>
                  <a:gd name="connsiteX8" fmla="*/ 8466303 w 8533540"/>
                  <a:gd name="connsiteY8" fmla="*/ 4264609 h 8529441"/>
                  <a:gd name="connsiteX9" fmla="*/ 4266434 w 8533540"/>
                  <a:gd name="connsiteY9" fmla="*/ 67209 h 8529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33540" h="8529441">
                    <a:moveTo>
                      <a:pt x="4266434" y="8529441"/>
                    </a:moveTo>
                    <a:cubicBezTo>
                      <a:pt x="1913127" y="8529441"/>
                      <a:pt x="0" y="6616237"/>
                      <a:pt x="0" y="4264609"/>
                    </a:cubicBezTo>
                    <a:cubicBezTo>
                      <a:pt x="0" y="1912980"/>
                      <a:pt x="1914471" y="0"/>
                      <a:pt x="4266434" y="0"/>
                    </a:cubicBezTo>
                    <a:cubicBezTo>
                      <a:pt x="6618397" y="0"/>
                      <a:pt x="8533540" y="1912308"/>
                      <a:pt x="8533540" y="4264609"/>
                    </a:cubicBezTo>
                    <a:cubicBezTo>
                      <a:pt x="8533540" y="6616909"/>
                      <a:pt x="6619741" y="8529441"/>
                      <a:pt x="4266434" y="8529441"/>
                    </a:cubicBezTo>
                    <a:close/>
                    <a:moveTo>
                      <a:pt x="4266434" y="67209"/>
                    </a:moveTo>
                    <a:cubicBezTo>
                      <a:pt x="1951676" y="67209"/>
                      <a:pt x="67910" y="1950169"/>
                      <a:pt x="67910" y="4264609"/>
                    </a:cubicBezTo>
                    <a:cubicBezTo>
                      <a:pt x="67910" y="6579048"/>
                      <a:pt x="1951676" y="8462232"/>
                      <a:pt x="4266434" y="8462232"/>
                    </a:cubicBezTo>
                    <a:cubicBezTo>
                      <a:pt x="6581192" y="8462232"/>
                      <a:pt x="8466303" y="6579273"/>
                      <a:pt x="8466303" y="4264609"/>
                    </a:cubicBezTo>
                    <a:cubicBezTo>
                      <a:pt x="8466303" y="1949945"/>
                      <a:pt x="6582537" y="67209"/>
                      <a:pt x="4266434" y="67209"/>
                    </a:cubicBezTo>
                    <a:close/>
                  </a:path>
                </a:pathLst>
              </a:custGeom>
              <a:solidFill>
                <a:srgbClr val="000000"/>
              </a:solidFill>
              <a:ln w="224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D6E49D3B-DCF5-796F-7F3D-6D6A5ED10E46}"/>
                  </a:ext>
                </a:extLst>
              </p:cNvPr>
              <p:cNvSpPr/>
              <p:nvPr/>
            </p:nvSpPr>
            <p:spPr>
              <a:xfrm rot="21447605">
                <a:off x="8513879" y="183194"/>
                <a:ext cx="4556015" cy="4555475"/>
              </a:xfrm>
              <a:custGeom>
                <a:avLst/>
                <a:gdLst>
                  <a:gd name="connsiteX0" fmla="*/ 4218697 w 4556015"/>
                  <a:gd name="connsiteY0" fmla="*/ 4555474 h 4555475"/>
                  <a:gd name="connsiteX1" fmla="*/ 4218697 w 4556015"/>
                  <a:gd name="connsiteY1" fmla="*/ 4555474 h 4555475"/>
                  <a:gd name="connsiteX2" fmla="*/ 3882510 w 4556015"/>
                  <a:gd name="connsiteY2" fmla="*/ 4243402 h 4555475"/>
                  <a:gd name="connsiteX3" fmla="*/ 312207 w 4556015"/>
                  <a:gd name="connsiteY3" fmla="*/ 673058 h 4555475"/>
                  <a:gd name="connsiteX4" fmla="*/ 1 w 4556015"/>
                  <a:gd name="connsiteY4" fmla="*/ 337015 h 4555475"/>
                  <a:gd name="connsiteX5" fmla="*/ 1 w 4556015"/>
                  <a:gd name="connsiteY5" fmla="*/ 337015 h 4555475"/>
                  <a:gd name="connsiteX6" fmla="*/ 335214 w 4556015"/>
                  <a:gd name="connsiteY6" fmla="*/ 1 h 4555475"/>
                  <a:gd name="connsiteX7" fmla="*/ 361738 w 4556015"/>
                  <a:gd name="connsiteY7" fmla="*/ 972 h 4555475"/>
                  <a:gd name="connsiteX8" fmla="*/ 4554883 w 4556015"/>
                  <a:gd name="connsiteY8" fmla="*/ 4192099 h 4555475"/>
                  <a:gd name="connsiteX9" fmla="*/ 4247155 w 4556015"/>
                  <a:gd name="connsiteY9" fmla="*/ 4554362 h 4555475"/>
                  <a:gd name="connsiteX10" fmla="*/ 4218697 w 4556015"/>
                  <a:gd name="connsiteY10" fmla="*/ 4555474 h 455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56015" h="4555475">
                    <a:moveTo>
                      <a:pt x="4218697" y="4555474"/>
                    </a:moveTo>
                    <a:lnTo>
                      <a:pt x="4218697" y="4555474"/>
                    </a:lnTo>
                    <a:cubicBezTo>
                      <a:pt x="4042001" y="4555924"/>
                      <a:pt x="3895113" y="4419572"/>
                      <a:pt x="3882510" y="4243402"/>
                    </a:cubicBezTo>
                    <a:cubicBezTo>
                      <a:pt x="3731898" y="2344087"/>
                      <a:pt x="2211438" y="824277"/>
                      <a:pt x="312207" y="673058"/>
                    </a:cubicBezTo>
                    <a:cubicBezTo>
                      <a:pt x="136215" y="659930"/>
                      <a:pt x="99" y="513420"/>
                      <a:pt x="1" y="337015"/>
                    </a:cubicBezTo>
                    <a:lnTo>
                      <a:pt x="1" y="337015"/>
                    </a:lnTo>
                    <a:cubicBezTo>
                      <a:pt x="-535" y="151424"/>
                      <a:pt x="149544" y="538"/>
                      <a:pt x="335214" y="1"/>
                    </a:cubicBezTo>
                    <a:cubicBezTo>
                      <a:pt x="344065" y="-24"/>
                      <a:pt x="352913" y="300"/>
                      <a:pt x="361738" y="972"/>
                    </a:cubicBezTo>
                    <a:cubicBezTo>
                      <a:pt x="2593346" y="176386"/>
                      <a:pt x="4379170" y="1961670"/>
                      <a:pt x="4554883" y="4192099"/>
                    </a:cubicBezTo>
                    <a:cubicBezTo>
                      <a:pt x="4569985" y="4377076"/>
                      <a:pt x="4432211" y="4539266"/>
                      <a:pt x="4247155" y="4554362"/>
                    </a:cubicBezTo>
                    <a:cubicBezTo>
                      <a:pt x="4237689" y="4555134"/>
                      <a:pt x="4228194" y="4555505"/>
                      <a:pt x="4218697" y="4555474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6298"/>
                  </a:gs>
                  <a:gs pos="100000">
                    <a:srgbClr val="008542"/>
                  </a:gs>
                </a:gsLst>
                <a:lin ang="16200000" scaled="1"/>
              </a:gradFill>
              <a:ln w="224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CE3E3E44-AF84-D2C1-53A4-30F5AFE6AFE3}"/>
                  </a:ext>
                </a:extLst>
              </p:cNvPr>
              <p:cNvSpPr/>
              <p:nvPr/>
            </p:nvSpPr>
            <p:spPr>
              <a:xfrm rot="21447605">
                <a:off x="9003247" y="5062076"/>
                <a:ext cx="4266434" cy="4264832"/>
              </a:xfrm>
              <a:custGeom>
                <a:avLst/>
                <a:gdLst>
                  <a:gd name="connsiteX0" fmla="*/ 0 w 4266434"/>
                  <a:gd name="connsiteY0" fmla="*/ 4264833 h 4264832"/>
                  <a:gd name="connsiteX1" fmla="*/ 0 w 4266434"/>
                  <a:gd name="connsiteY1" fmla="*/ 4197624 h 4264832"/>
                  <a:gd name="connsiteX2" fmla="*/ 4199197 w 4266434"/>
                  <a:gd name="connsiteY2" fmla="*/ 0 h 4264832"/>
                  <a:gd name="connsiteX3" fmla="*/ 4266434 w 4266434"/>
                  <a:gd name="connsiteY3" fmla="*/ 0 h 4264832"/>
                  <a:gd name="connsiteX4" fmla="*/ 0 w 4266434"/>
                  <a:gd name="connsiteY4" fmla="*/ 4264833 h 426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6434" h="4264832">
                    <a:moveTo>
                      <a:pt x="0" y="4264833"/>
                    </a:moveTo>
                    <a:lnTo>
                      <a:pt x="0" y="4197624"/>
                    </a:lnTo>
                    <a:cubicBezTo>
                      <a:pt x="2315655" y="4197624"/>
                      <a:pt x="4199197" y="2315784"/>
                      <a:pt x="4199197" y="0"/>
                    </a:cubicBezTo>
                    <a:lnTo>
                      <a:pt x="4266434" y="0"/>
                    </a:lnTo>
                    <a:cubicBezTo>
                      <a:pt x="4266434" y="2351628"/>
                      <a:pt x="2352635" y="4264833"/>
                      <a:pt x="0" y="4264833"/>
                    </a:cubicBezTo>
                    <a:close/>
                  </a:path>
                </a:pathLst>
              </a:custGeom>
              <a:solidFill>
                <a:srgbClr val="000000"/>
              </a:solidFill>
              <a:ln w="224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8" name="Group 8">
              <a:extLst>
                <a:ext uri="{FF2B5EF4-FFF2-40B4-BE49-F238E27FC236}">
                  <a16:creationId xmlns:a16="http://schemas.microsoft.com/office/drawing/2014/main" id="{134E3996-6B4F-E181-6807-58AFCC3C203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09743" y="1095995"/>
              <a:ext cx="7583431" cy="7583431"/>
              <a:chOff x="0" y="0"/>
              <a:chExt cx="6350000" cy="6350000"/>
            </a:xfrm>
          </p:grpSpPr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E0BFDBC-54E7-46E5-31AE-9957BDE74B94}"/>
                  </a:ext>
                </a:extLst>
              </p:cNvPr>
              <p:cNvSpPr/>
              <p:nvPr/>
            </p:nvSpPr>
            <p:spPr>
              <a:xfrm rot="20895285">
                <a:off x="655320" y="655320"/>
                <a:ext cx="5039359" cy="5039359"/>
              </a:xfrm>
              <a:custGeom>
                <a:avLst/>
                <a:gdLst/>
                <a:ahLst/>
                <a:cxnLst/>
                <a:rect l="l" t="t" r="r" b="b"/>
                <a:pathLst>
                  <a:path w="5039360" h="5039360">
                    <a:moveTo>
                      <a:pt x="2519680" y="0"/>
                    </a:moveTo>
                    <a:cubicBezTo>
                      <a:pt x="1127760" y="0"/>
                      <a:pt x="0" y="1127760"/>
                      <a:pt x="0" y="2519680"/>
                    </a:cubicBezTo>
                    <a:cubicBezTo>
                      <a:pt x="0" y="3911600"/>
                      <a:pt x="1127760" y="5039360"/>
                      <a:pt x="2519680" y="5039360"/>
                    </a:cubicBezTo>
                    <a:cubicBezTo>
                      <a:pt x="3911600" y="5039360"/>
                      <a:pt x="5039360" y="3911600"/>
                      <a:pt x="5039360" y="2519680"/>
                    </a:cubicBezTo>
                    <a:cubicBezTo>
                      <a:pt x="5039360" y="1127760"/>
                      <a:pt x="3911600" y="0"/>
                      <a:pt x="2519680" y="0"/>
                    </a:cubicBezTo>
                    <a:close/>
                  </a:path>
                </a:pathLst>
              </a:custGeom>
              <a:blipFill>
                <a:blip r:embed="rId2"/>
                <a:stretch>
                  <a:fillRect l="-25258" r="-25258"/>
                </a:stretch>
              </a:blipFill>
            </p:spPr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B43A21E4-891C-6A63-93DC-55CCBD6C5EF0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3670" y="0"/>
                      <a:pt x="0" y="1424940"/>
                      <a:pt x="0" y="3175000"/>
                    </a:cubicBezTo>
                    <a:cubicBezTo>
                      <a:pt x="0" y="4925060"/>
                      <a:pt x="1423670" y="6350000"/>
                      <a:pt x="3175000" y="6350000"/>
                    </a:cubicBezTo>
                    <a:cubicBezTo>
                      <a:pt x="4925060" y="6350000"/>
                      <a:pt x="6350000" y="4926330"/>
                      <a:pt x="6350000" y="3175000"/>
                    </a:cubicBezTo>
                    <a:cubicBezTo>
                      <a:pt x="6350000" y="1424940"/>
                      <a:pt x="4926330" y="0"/>
                      <a:pt x="3175000" y="0"/>
                    </a:cubicBezTo>
                    <a:close/>
                    <a:moveTo>
                      <a:pt x="3175000" y="5833110"/>
                    </a:moveTo>
                    <a:cubicBezTo>
                      <a:pt x="1709420" y="5833110"/>
                      <a:pt x="516890" y="4640580"/>
                      <a:pt x="516890" y="3175000"/>
                    </a:cubicBezTo>
                    <a:cubicBezTo>
                      <a:pt x="516890" y="1709420"/>
                      <a:pt x="1709420" y="516890"/>
                      <a:pt x="3175000" y="516890"/>
                    </a:cubicBezTo>
                    <a:cubicBezTo>
                      <a:pt x="4640580" y="516890"/>
                      <a:pt x="5833110" y="1709420"/>
                      <a:pt x="5833110" y="3175000"/>
                    </a:cubicBezTo>
                    <a:cubicBezTo>
                      <a:pt x="5833110" y="4640580"/>
                      <a:pt x="4640580" y="5833110"/>
                      <a:pt x="3175000" y="5833110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6298"/>
                  </a:gs>
                  <a:gs pos="100000">
                    <a:srgbClr val="008542"/>
                  </a:gs>
                </a:gsLst>
                <a:lin ang="16200000" scaled="1"/>
              </a:gradFill>
            </p:spPr>
            <p:txBody>
              <a:bodyPr/>
              <a:lstStyle/>
              <a:p>
                <a:endParaRPr lang="pt-BR"/>
              </a:p>
            </p:txBody>
          </p:sp>
        </p:grpSp>
      </p:grpSp>
      <p:sp>
        <p:nvSpPr>
          <p:cNvPr id="24" name="Elipse 23">
            <a:extLst>
              <a:ext uri="{FF2B5EF4-FFF2-40B4-BE49-F238E27FC236}">
                <a16:creationId xmlns:a16="http://schemas.microsoft.com/office/drawing/2014/main" id="{4469E0A9-CFD6-975D-AEAF-760E309AB993}"/>
              </a:ext>
            </a:extLst>
          </p:cNvPr>
          <p:cNvSpPr/>
          <p:nvPr userDrawn="1"/>
        </p:nvSpPr>
        <p:spPr>
          <a:xfrm>
            <a:off x="721404" y="2136673"/>
            <a:ext cx="679174" cy="564553"/>
          </a:xfrm>
          <a:prstGeom prst="ellipse">
            <a:avLst/>
          </a:prstGeom>
          <a:gradFill>
            <a:gsLst>
              <a:gs pos="0">
                <a:srgbClr val="006298"/>
              </a:gs>
              <a:gs pos="100000">
                <a:srgbClr val="00854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/>
              <a:t>1ª</a:t>
            </a: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5C68D90C-6A24-3F97-2540-A660D47A8A4B}"/>
              </a:ext>
            </a:extLst>
          </p:cNvPr>
          <p:cNvSpPr/>
          <p:nvPr userDrawn="1"/>
        </p:nvSpPr>
        <p:spPr>
          <a:xfrm>
            <a:off x="692777" y="5543862"/>
            <a:ext cx="679174" cy="564553"/>
          </a:xfrm>
          <a:prstGeom prst="ellipse">
            <a:avLst/>
          </a:prstGeom>
          <a:gradFill>
            <a:gsLst>
              <a:gs pos="0">
                <a:srgbClr val="006298"/>
              </a:gs>
              <a:gs pos="100000">
                <a:srgbClr val="00854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/>
              <a:t>2ª</a:t>
            </a: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498C565F-E0FA-4376-735B-50AB5185F9B5}"/>
              </a:ext>
            </a:extLst>
          </p:cNvPr>
          <p:cNvSpPr/>
          <p:nvPr userDrawn="1"/>
        </p:nvSpPr>
        <p:spPr>
          <a:xfrm>
            <a:off x="12086924" y="2231102"/>
            <a:ext cx="679174" cy="564553"/>
          </a:xfrm>
          <a:prstGeom prst="ellipse">
            <a:avLst/>
          </a:prstGeom>
          <a:gradFill>
            <a:gsLst>
              <a:gs pos="0">
                <a:srgbClr val="006298"/>
              </a:gs>
              <a:gs pos="100000">
                <a:srgbClr val="00854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/>
              <a:t>3ª</a:t>
            </a:r>
          </a:p>
        </p:txBody>
      </p:sp>
      <p:sp>
        <p:nvSpPr>
          <p:cNvPr id="27" name="TextBox 164">
            <a:extLst>
              <a:ext uri="{FF2B5EF4-FFF2-40B4-BE49-F238E27FC236}">
                <a16:creationId xmlns:a16="http://schemas.microsoft.com/office/drawing/2014/main" id="{1201BEEB-8F01-6262-D692-1BE95E3EF451}"/>
              </a:ext>
            </a:extLst>
          </p:cNvPr>
          <p:cNvSpPr txBox="1"/>
          <p:nvPr userDrawn="1"/>
        </p:nvSpPr>
        <p:spPr>
          <a:xfrm>
            <a:off x="12488512" y="5884860"/>
            <a:ext cx="4496526" cy="2379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43808">
              <a:spcBef>
                <a:spcPts val="882"/>
              </a:spcBef>
            </a:pP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uxiliar o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cance dos objetivos</a:t>
            </a:r>
            <a:r>
              <a:rPr lang="pt-BR" sz="1764" b="1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a Cia. através da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valiação e melhoria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a eficácia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os processos de </a:t>
            </a:r>
            <a:r>
              <a:rPr lang="pt-BR" sz="1764" b="1" kern="1200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erenciamento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 riscos, controle</a:t>
            </a:r>
            <a:r>
              <a:rPr lang="pt-BR" sz="1764" b="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pt-BR" sz="1764">
                <a:solidFill>
                  <a:srgbClr val="999999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algn="r" defTabSz="1343808">
              <a:spcBef>
                <a:spcPts val="882"/>
              </a:spcBef>
            </a:pP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tividade independente e objetiva de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valiação e Consultoria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ra trazer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benefícios à Unidade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 </a:t>
            </a:r>
            <a:r>
              <a:rPr lang="pt-BR" sz="1764" b="1">
                <a:solidFill>
                  <a:srgbClr val="006298"/>
                </a:solidFill>
                <a:latin typeface="Petrobras Sans" panose="020B060602020403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elhorar as operações</a:t>
            </a:r>
            <a:endParaRPr lang="pt-BR" sz="1764">
              <a:solidFill>
                <a:srgbClr val="999999"/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Gráfico 216">
            <a:extLst>
              <a:ext uri="{FF2B5EF4-FFF2-40B4-BE49-F238E27FC236}">
                <a16:creationId xmlns:a16="http://schemas.microsoft.com/office/drawing/2014/main" id="{B91F2A28-0D43-1B9C-E26B-8ADBF6E37192}"/>
              </a:ext>
            </a:extLst>
          </p:cNvPr>
          <p:cNvSpPr/>
          <p:nvPr userDrawn="1"/>
        </p:nvSpPr>
        <p:spPr>
          <a:xfrm>
            <a:off x="15844342" y="4676077"/>
            <a:ext cx="746283" cy="742985"/>
          </a:xfrm>
          <a:custGeom>
            <a:avLst/>
            <a:gdLst>
              <a:gd name="connsiteX0" fmla="*/ 285416 w 570831"/>
              <a:gd name="connsiteY0" fmla="*/ 0 h 570831"/>
              <a:gd name="connsiteX1" fmla="*/ 0 w 570831"/>
              <a:gd name="connsiteY1" fmla="*/ 285416 h 570831"/>
              <a:gd name="connsiteX2" fmla="*/ 285416 w 570831"/>
              <a:gd name="connsiteY2" fmla="*/ 570831 h 570831"/>
              <a:gd name="connsiteX3" fmla="*/ 570831 w 570831"/>
              <a:gd name="connsiteY3" fmla="*/ 285416 h 570831"/>
              <a:gd name="connsiteX4" fmla="*/ 285416 w 570831"/>
              <a:gd name="connsiteY4" fmla="*/ 0 h 570831"/>
              <a:gd name="connsiteX5" fmla="*/ 285416 w 570831"/>
              <a:gd name="connsiteY5" fmla="*/ 83247 h 570831"/>
              <a:gd name="connsiteX6" fmla="*/ 422177 w 570831"/>
              <a:gd name="connsiteY6" fmla="*/ 220009 h 570831"/>
              <a:gd name="connsiteX7" fmla="*/ 285416 w 570831"/>
              <a:gd name="connsiteY7" fmla="*/ 356769 h 570831"/>
              <a:gd name="connsiteX8" fmla="*/ 148654 w 570831"/>
              <a:gd name="connsiteY8" fmla="*/ 220007 h 570831"/>
              <a:gd name="connsiteX9" fmla="*/ 285416 w 570831"/>
              <a:gd name="connsiteY9" fmla="*/ 83247 h 570831"/>
              <a:gd name="connsiteX10" fmla="*/ 285416 w 570831"/>
              <a:gd name="connsiteY10" fmla="*/ 523261 h 570831"/>
              <a:gd name="connsiteX11" fmla="*/ 95354 w 570831"/>
              <a:gd name="connsiteY11" fmla="*/ 427809 h 570831"/>
              <a:gd name="connsiteX12" fmla="*/ 285416 w 570831"/>
              <a:gd name="connsiteY12" fmla="*/ 380554 h 570831"/>
              <a:gd name="connsiteX13" fmla="*/ 475478 w 570831"/>
              <a:gd name="connsiteY13" fmla="*/ 427807 h 570831"/>
              <a:gd name="connsiteX14" fmla="*/ 285416 w 570831"/>
              <a:gd name="connsiteY14" fmla="*/ 523261 h 57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0831" h="570831">
                <a:moveTo>
                  <a:pt x="285416" y="0"/>
                </a:moveTo>
                <a:cubicBezTo>
                  <a:pt x="128040" y="0"/>
                  <a:pt x="0" y="128040"/>
                  <a:pt x="0" y="285416"/>
                </a:cubicBezTo>
                <a:cubicBezTo>
                  <a:pt x="0" y="442791"/>
                  <a:pt x="128040" y="570831"/>
                  <a:pt x="285416" y="570831"/>
                </a:cubicBezTo>
                <a:cubicBezTo>
                  <a:pt x="442791" y="570831"/>
                  <a:pt x="570831" y="442791"/>
                  <a:pt x="570831" y="285416"/>
                </a:cubicBezTo>
                <a:cubicBezTo>
                  <a:pt x="570831" y="128040"/>
                  <a:pt x="442791" y="0"/>
                  <a:pt x="285416" y="0"/>
                </a:cubicBezTo>
                <a:close/>
                <a:moveTo>
                  <a:pt x="285416" y="83247"/>
                </a:moveTo>
                <a:cubicBezTo>
                  <a:pt x="360822" y="83247"/>
                  <a:pt x="422177" y="144601"/>
                  <a:pt x="422177" y="220009"/>
                </a:cubicBezTo>
                <a:cubicBezTo>
                  <a:pt x="422177" y="295416"/>
                  <a:pt x="360822" y="356769"/>
                  <a:pt x="285416" y="356769"/>
                </a:cubicBezTo>
                <a:cubicBezTo>
                  <a:pt x="210009" y="356769"/>
                  <a:pt x="148654" y="295415"/>
                  <a:pt x="148654" y="220007"/>
                </a:cubicBezTo>
                <a:cubicBezTo>
                  <a:pt x="148654" y="144600"/>
                  <a:pt x="210009" y="83247"/>
                  <a:pt x="285416" y="83247"/>
                </a:cubicBezTo>
                <a:close/>
                <a:moveTo>
                  <a:pt x="285416" y="523261"/>
                </a:moveTo>
                <a:cubicBezTo>
                  <a:pt x="207699" y="523261"/>
                  <a:pt x="138783" y="485628"/>
                  <a:pt x="95354" y="427809"/>
                </a:cubicBezTo>
                <a:cubicBezTo>
                  <a:pt x="142934" y="404915"/>
                  <a:pt x="210882" y="380554"/>
                  <a:pt x="285416" y="380554"/>
                </a:cubicBezTo>
                <a:cubicBezTo>
                  <a:pt x="359955" y="380554"/>
                  <a:pt x="427908" y="404919"/>
                  <a:pt x="475478" y="427807"/>
                </a:cubicBezTo>
                <a:cubicBezTo>
                  <a:pt x="432049" y="485627"/>
                  <a:pt x="363133" y="523261"/>
                  <a:pt x="285416" y="523261"/>
                </a:cubicBezTo>
                <a:close/>
              </a:path>
            </a:pathLst>
          </a:custGeom>
          <a:solidFill>
            <a:srgbClr val="004165"/>
          </a:solidFill>
          <a:ln w="1098" cap="flat">
            <a:noFill/>
            <a:prstDash val="solid"/>
            <a:miter/>
          </a:ln>
        </p:spPr>
        <p:txBody>
          <a:bodyPr rtlCol="0" anchor="ctr"/>
          <a:lstStyle/>
          <a:p>
            <a:pPr defTabSz="1343808"/>
            <a:endParaRPr lang="es-MX" sz="2646">
              <a:solidFill>
                <a:srgbClr val="999999"/>
              </a:solidFill>
              <a:latin typeface="Trebuchet"/>
            </a:endParaRPr>
          </a:p>
        </p:txBody>
      </p:sp>
      <p:sp>
        <p:nvSpPr>
          <p:cNvPr id="29" name="Rectangle 162">
            <a:extLst>
              <a:ext uri="{FF2B5EF4-FFF2-40B4-BE49-F238E27FC236}">
                <a16:creationId xmlns:a16="http://schemas.microsoft.com/office/drawing/2014/main" id="{238C438D-E3E8-2DA2-AFCF-31F64558E942}"/>
              </a:ext>
            </a:extLst>
          </p:cNvPr>
          <p:cNvSpPr/>
          <p:nvPr userDrawn="1"/>
        </p:nvSpPr>
        <p:spPr>
          <a:xfrm>
            <a:off x="15450139" y="5396455"/>
            <a:ext cx="1617486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Nosso</a:t>
            </a:r>
            <a:r>
              <a:rPr lang="en-US" sz="2058" i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Papel</a:t>
            </a:r>
            <a:endParaRPr lang="en-US" sz="2058" i="1">
              <a:solidFill>
                <a:schemeClr val="tx1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B317BF8-5182-0635-A8E0-F36718F28A71}"/>
              </a:ext>
            </a:extLst>
          </p:cNvPr>
          <p:cNvSpPr txBox="1">
            <a:spLocks/>
          </p:cNvSpPr>
          <p:nvPr userDrawn="1"/>
        </p:nvSpPr>
        <p:spPr>
          <a:xfrm>
            <a:off x="188216" y="144248"/>
            <a:ext cx="3843638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21" kern="1200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defTabSz="1333017"/>
            <a:r>
              <a:rPr lang="pt-BR" sz="3200" b="1" i="1">
                <a:solidFill>
                  <a:srgbClr val="FDC8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PAPEL DA AUDITORIA INTERNA </a:t>
            </a:r>
          </a:p>
        </p:txBody>
      </p:sp>
      <p:sp>
        <p:nvSpPr>
          <p:cNvPr id="34" name="Rounded Rectangular Callout 151">
            <a:extLst>
              <a:ext uri="{FF2B5EF4-FFF2-40B4-BE49-F238E27FC236}">
                <a16:creationId xmlns:a16="http://schemas.microsoft.com/office/drawing/2014/main" id="{BCBC4573-6A22-96E2-676F-38C2BBD652A6}"/>
              </a:ext>
            </a:extLst>
          </p:cNvPr>
          <p:cNvSpPr/>
          <p:nvPr userDrawn="1"/>
        </p:nvSpPr>
        <p:spPr>
          <a:xfrm flipH="1">
            <a:off x="5287695" y="1790254"/>
            <a:ext cx="1608591" cy="790426"/>
          </a:xfrm>
          <a:prstGeom prst="wedgeRoundRectCallout">
            <a:avLst>
              <a:gd name="adj1" fmla="val -89863"/>
              <a:gd name="adj2" fmla="val 19073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Petrobras Sans" panose="020B0606020204030204" pitchFamily="34" charset="0"/>
            </a:endParaRPr>
          </a:p>
        </p:txBody>
      </p:sp>
      <p:sp>
        <p:nvSpPr>
          <p:cNvPr id="35" name="Rectangle 162">
            <a:extLst>
              <a:ext uri="{FF2B5EF4-FFF2-40B4-BE49-F238E27FC236}">
                <a16:creationId xmlns:a16="http://schemas.microsoft.com/office/drawing/2014/main" id="{AA5DF21E-0E5A-66AD-9148-955371EF0BD4}"/>
              </a:ext>
            </a:extLst>
          </p:cNvPr>
          <p:cNvSpPr/>
          <p:nvPr userDrawn="1"/>
        </p:nvSpPr>
        <p:spPr>
          <a:xfrm>
            <a:off x="5385484" y="1969271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>
                <a:solidFill>
                  <a:srgbClr val="494949"/>
                </a:solidFill>
                <a:latin typeface="Petrobras Sans" panose="020B0606020204030204" pitchFamily="34" charset="0"/>
                <a:ea typeface="Roboto Medium" panose="02000000000000000000" pitchFamily="2" charset="0"/>
                <a:cs typeface="Poppins" pitchFamily="2" charset="77"/>
              </a:rPr>
              <a:t>1ª LINHA </a:t>
            </a:r>
          </a:p>
        </p:txBody>
      </p:sp>
      <p:sp>
        <p:nvSpPr>
          <p:cNvPr id="37" name="Rounded Rectangular Callout 151">
            <a:extLst>
              <a:ext uri="{FF2B5EF4-FFF2-40B4-BE49-F238E27FC236}">
                <a16:creationId xmlns:a16="http://schemas.microsoft.com/office/drawing/2014/main" id="{0BA361C6-3F5F-80A4-2BC6-D22B730F528D}"/>
              </a:ext>
            </a:extLst>
          </p:cNvPr>
          <p:cNvSpPr/>
          <p:nvPr userDrawn="1"/>
        </p:nvSpPr>
        <p:spPr>
          <a:xfrm flipH="1">
            <a:off x="3739768" y="4670593"/>
            <a:ext cx="1608591" cy="790426"/>
          </a:xfrm>
          <a:prstGeom prst="wedgeRoundRectCallout">
            <a:avLst>
              <a:gd name="adj1" fmla="val -96495"/>
              <a:gd name="adj2" fmla="val 2684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Petrobras Sans" panose="020B0606020204030204" pitchFamily="34" charset="0"/>
            </a:endParaRPr>
          </a:p>
        </p:txBody>
      </p:sp>
      <p:sp>
        <p:nvSpPr>
          <p:cNvPr id="38" name="Rectangle 162">
            <a:extLst>
              <a:ext uri="{FF2B5EF4-FFF2-40B4-BE49-F238E27FC236}">
                <a16:creationId xmlns:a16="http://schemas.microsoft.com/office/drawing/2014/main" id="{D813EA94-BCDB-861B-950D-0ECD2DD0D9E7}"/>
              </a:ext>
            </a:extLst>
          </p:cNvPr>
          <p:cNvSpPr/>
          <p:nvPr userDrawn="1"/>
        </p:nvSpPr>
        <p:spPr>
          <a:xfrm>
            <a:off x="3837557" y="4849610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>
                <a:solidFill>
                  <a:srgbClr val="494949"/>
                </a:solidFill>
                <a:latin typeface="Petrobras Sans" panose="020B0606020204030204" pitchFamily="34" charset="0"/>
                <a:ea typeface="Roboto Medium" panose="02000000000000000000" pitchFamily="2" charset="0"/>
                <a:cs typeface="Poppins" pitchFamily="2" charset="77"/>
              </a:rPr>
              <a:t>2ª LINHA </a:t>
            </a:r>
          </a:p>
        </p:txBody>
      </p:sp>
      <p:sp>
        <p:nvSpPr>
          <p:cNvPr id="39" name="Rounded Rectangular Callout 151">
            <a:extLst>
              <a:ext uri="{FF2B5EF4-FFF2-40B4-BE49-F238E27FC236}">
                <a16:creationId xmlns:a16="http://schemas.microsoft.com/office/drawing/2014/main" id="{D64545E1-8054-B878-E0CA-3EC7720F2F35}"/>
              </a:ext>
            </a:extLst>
          </p:cNvPr>
          <p:cNvSpPr/>
          <p:nvPr userDrawn="1"/>
        </p:nvSpPr>
        <p:spPr>
          <a:xfrm>
            <a:off x="12240956" y="4042525"/>
            <a:ext cx="1608591" cy="790426"/>
          </a:xfrm>
          <a:prstGeom prst="wedgeRoundRectCallout">
            <a:avLst>
              <a:gd name="adj1" fmla="val -106917"/>
              <a:gd name="adj2" fmla="val -9076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Petrobras Sans" panose="020B0606020204030204" pitchFamily="34" charset="0"/>
            </a:endParaRPr>
          </a:p>
        </p:txBody>
      </p:sp>
      <p:sp>
        <p:nvSpPr>
          <p:cNvPr id="40" name="Rectangle 162">
            <a:extLst>
              <a:ext uri="{FF2B5EF4-FFF2-40B4-BE49-F238E27FC236}">
                <a16:creationId xmlns:a16="http://schemas.microsoft.com/office/drawing/2014/main" id="{6CEBC80D-007D-FA45-E787-047354895F06}"/>
              </a:ext>
            </a:extLst>
          </p:cNvPr>
          <p:cNvSpPr/>
          <p:nvPr userDrawn="1"/>
        </p:nvSpPr>
        <p:spPr>
          <a:xfrm>
            <a:off x="12512329" y="4165713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>
                <a:solidFill>
                  <a:srgbClr val="494949"/>
                </a:solidFill>
                <a:latin typeface="Petrobras Sans" panose="020B0606020204030204" pitchFamily="34" charset="0"/>
                <a:ea typeface="Roboto Medium" panose="02000000000000000000" pitchFamily="2" charset="0"/>
                <a:cs typeface="Poppins" pitchFamily="2" charset="77"/>
              </a:rPr>
              <a:t>3ª LINHA </a:t>
            </a:r>
          </a:p>
        </p:txBody>
      </p:sp>
    </p:spTree>
    <p:extLst>
      <p:ext uri="{BB962C8B-B14F-4D97-AF65-F5344CB8AC3E}">
        <p14:creationId xmlns:p14="http://schemas.microsoft.com/office/powerpoint/2010/main" val="109680689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BC5DDF-0C37-81B5-800C-DEBFA9D44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0" y="536701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88E1709-AEDB-EFCB-5009-BFBDF58630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9891" y="2471154"/>
            <a:ext cx="7615123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95312AE-A7C1-8F44-9DD3-5AEFA3766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9891" y="3682228"/>
            <a:ext cx="7615123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1779537-C62A-974E-2B3A-E546002233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12836" y="2471154"/>
            <a:ext cx="7652626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EBAD8E6-B6B9-29D7-8FF3-4D0A8F7E9C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112836" y="3682228"/>
            <a:ext cx="7652626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B70025BC-E145-B500-42BF-60D2ADB94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8CC4F475-4585-B3C9-4287-F5EC99BC9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7882465-E35B-3E7E-1885-DBCE178B5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33899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5E6308-C60F-EEF9-978B-566C00EF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BE4E86-89FF-AEBF-203C-AB91BCBF8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E4E4BBB-D885-7424-CFD5-8A966A8DF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5CEEC04-E512-F76A-6FAC-A8C6E22E8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610572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A261BCE-A615-D8E1-89A9-610C8761E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BFFB1CF-8835-08E7-B7BC-2B1D3D8DF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7ED9D86-2F39-703F-FB40-541B3F4B8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064003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B6A326-108E-42B4-812C-1B31A71C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C023DCF-AEBD-FCBE-9F8E-B1C22F5E76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>
              <a:defRPr sz="4704"/>
            </a:lvl1pPr>
            <a:lvl2pPr>
              <a:defRPr sz="4116"/>
            </a:lvl2pPr>
            <a:lvl3pPr>
              <a:defRPr sz="3528"/>
            </a:lvl3pPr>
            <a:lvl4pPr>
              <a:defRPr sz="2940"/>
            </a:lvl4pPr>
            <a:lvl5pPr>
              <a:defRPr sz="2940"/>
            </a:lvl5pPr>
            <a:lvl6pPr>
              <a:defRPr sz="2940"/>
            </a:lvl6pPr>
            <a:lvl7pPr>
              <a:defRPr sz="2940"/>
            </a:lvl7pPr>
            <a:lvl8pPr>
              <a:defRPr sz="2940"/>
            </a:lvl8pPr>
            <a:lvl9pPr>
              <a:defRPr sz="294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E17EF1A-8BB1-E1AD-03D2-0500FAB54F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D933943-A97B-6C74-96E8-75E876FE9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9660C7C-E06C-FB60-2E31-B6F71E6FA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5542CD6-F290-B599-8AA8-8A4ACE3F3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383114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3EFAA2-5A13-5A66-B6E9-A65DE95E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2D0F9A8-B991-FEC7-04E0-0DCD414694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 marL="0" indent="0">
              <a:buNone/>
              <a:defRPr sz="4704"/>
            </a:lvl1pPr>
            <a:lvl2pPr marL="672038" indent="0">
              <a:buNone/>
              <a:defRPr sz="4116"/>
            </a:lvl2pPr>
            <a:lvl3pPr marL="1344077" indent="0">
              <a:buNone/>
              <a:defRPr sz="3528"/>
            </a:lvl3pPr>
            <a:lvl4pPr marL="2016115" indent="0">
              <a:buNone/>
              <a:defRPr sz="2940"/>
            </a:lvl4pPr>
            <a:lvl5pPr marL="2688153" indent="0">
              <a:buNone/>
              <a:defRPr sz="2940"/>
            </a:lvl5pPr>
            <a:lvl6pPr marL="3360191" indent="0">
              <a:buNone/>
              <a:defRPr sz="2940"/>
            </a:lvl6pPr>
            <a:lvl7pPr marL="4032230" indent="0">
              <a:buNone/>
              <a:defRPr sz="2940"/>
            </a:lvl7pPr>
            <a:lvl8pPr marL="4704268" indent="0">
              <a:buNone/>
              <a:defRPr sz="2940"/>
            </a:lvl8pPr>
            <a:lvl9pPr marL="5376306" indent="0">
              <a:buNone/>
              <a:defRPr sz="294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FDF69D5-170C-3599-BC92-2E287D1C96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6982704-88B0-1964-43EA-2149EDBEF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E83C4CE-9CBD-9A50-CEF8-491CCB66C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C9C67CA-4FEC-B622-5361-FCBC407BE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07778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04C5FF-0BFE-DF8C-3ED2-89427DF78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B46F05D-16DC-7749-31BD-FE0F76ECD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CBC0156-B786-0631-C4CE-A0B892F71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CBF8252-1864-C05D-2EA6-FF28FE45B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1D875D6-944F-BB21-3DE2-4A859DE82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826335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2_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A6ECAC7-A413-46BA-D07A-48145C9467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881724" y="536700"/>
            <a:ext cx="3881393" cy="854286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9B4DE360-819A-2474-2C94-9E66216F13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37545" y="536700"/>
            <a:ext cx="11419171" cy="8542864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49BDB1-CD8A-E50F-7ADF-E3487D4DF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AC970-D5BA-4C8F-B1E1-CD031371C8D9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BE91B9F-C06D-760E-80E6-EC01844EB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96382F3-C7E9-DC16-3E94-258C38451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C0A5C-548C-4DDD-B0B9-C90FCFE2B2B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377421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095382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da seçã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Navio no mar&#10;&#10;Descrição gerada automaticamente">
            <a:extLst>
              <a:ext uri="{FF2B5EF4-FFF2-40B4-BE49-F238E27FC236}">
                <a16:creationId xmlns:a16="http://schemas.microsoft.com/office/drawing/2014/main" id="{70027864-535B-EBE4-74A4-8069B30CD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7" r="7858" b="7740"/>
          <a:stretch/>
        </p:blipFill>
        <p:spPr>
          <a:xfrm>
            <a:off x="8558152" y="9802"/>
            <a:ext cx="9442511" cy="10061022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3B992DA9-0BA8-60B8-4EA4-72EBD918B0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352" y="-9801"/>
            <a:ext cx="15142410" cy="1008062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40F423E-F272-9481-A5F4-A82C42B2CF2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843741" y="-326497"/>
            <a:ext cx="5297002" cy="1161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27428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7928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39" y="1697635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1785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4"/>
            <a:ext cx="4625662" cy="81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33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33017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r>
              <a:rPr lang="pt-BR"/>
              <a:t>AUDITORIA INTERNA - ATI</a:t>
            </a:r>
          </a:p>
        </p:txBody>
      </p:sp>
    </p:spTree>
    <p:extLst>
      <p:ext uri="{BB962C8B-B14F-4D97-AF65-F5344CB8AC3E}">
        <p14:creationId xmlns:p14="http://schemas.microsoft.com/office/powerpoint/2010/main" val="1029567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50017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40" y="1697636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4543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5"/>
            <a:ext cx="4625662" cy="807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22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27102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</p:spTree>
    <p:extLst>
      <p:ext uri="{BB962C8B-B14F-4D97-AF65-F5344CB8AC3E}">
        <p14:creationId xmlns:p14="http://schemas.microsoft.com/office/powerpoint/2010/main" val="1974740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2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8052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8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50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3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562736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1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6640"/>
            <a:ext cx="5038178" cy="70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RESULTADO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C4BDED4-A518-496E-A277-7F187553C978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956728" cy="0"/>
          </a:xfrm>
          <a:prstGeom prst="line">
            <a:avLst/>
          </a:prstGeom>
          <a:noFill/>
          <a:ln w="66675" cap="flat" cmpd="sng" algn="ctr">
            <a:solidFill>
              <a:srgbClr val="FFC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270473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2">
    <p:bg>
      <p:bgPr>
        <a:gradFill flip="none" rotWithShape="1">
          <a:gsLst>
            <a:gs pos="100000">
              <a:schemeClr val="tx1"/>
            </a:gs>
            <a:gs pos="0">
              <a:schemeClr val="tx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91" y="284445"/>
            <a:ext cx="5038178" cy="70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b="1" spc="-218" dirty="0">
                <a:solidFill>
                  <a:srgbClr val="007F3A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RESULTADOS</a:t>
            </a:r>
            <a:endParaRPr lang="en-US"/>
          </a:p>
        </p:txBody>
      </p:sp>
      <p:grpSp>
        <p:nvGrpSpPr>
          <p:cNvPr id="11" name="Grupo 23">
            <a:extLst>
              <a:ext uri="{FF2B5EF4-FFF2-40B4-BE49-F238E27FC236}">
                <a16:creationId xmlns:a16="http://schemas.microsoft.com/office/drawing/2014/main" id="{8CA0063C-610F-4AF5-9608-069818C5A7F5}"/>
              </a:ext>
            </a:extLst>
          </p:cNvPr>
          <p:cNvGrpSpPr/>
          <p:nvPr userDrawn="1"/>
        </p:nvGrpSpPr>
        <p:grpSpPr>
          <a:xfrm>
            <a:off x="11679977" y="1384813"/>
            <a:ext cx="6348829" cy="9123301"/>
            <a:chOff x="5940359" y="1601559"/>
            <a:chExt cx="2537586" cy="3543537"/>
          </a:xfrm>
        </p:grpSpPr>
        <p:sp>
          <p:nvSpPr>
            <p:cNvPr id="12" name="Retângulo 20">
              <a:extLst>
                <a:ext uri="{FF2B5EF4-FFF2-40B4-BE49-F238E27FC236}">
                  <a16:creationId xmlns:a16="http://schemas.microsoft.com/office/drawing/2014/main" id="{26B6BAC7-7500-4C76-8E0F-FD3D7756E2FD}"/>
                </a:ext>
              </a:extLst>
            </p:cNvPr>
            <p:cNvSpPr/>
            <p:nvPr/>
          </p:nvSpPr>
          <p:spPr>
            <a:xfrm>
              <a:off x="6622670" y="1601559"/>
              <a:ext cx="1854112" cy="2972289"/>
            </a:xfrm>
            <a:custGeom>
              <a:avLst/>
              <a:gdLst>
                <a:gd name="connsiteX0" fmla="*/ 0 w 2101774"/>
                <a:gd name="connsiteY0" fmla="*/ 0 h 3063000"/>
                <a:gd name="connsiteX1" fmla="*/ 2101774 w 2101774"/>
                <a:gd name="connsiteY1" fmla="*/ 0 h 3063000"/>
                <a:gd name="connsiteX2" fmla="*/ 2101774 w 2101774"/>
                <a:gd name="connsiteY2" fmla="*/ 3063000 h 3063000"/>
                <a:gd name="connsiteX3" fmla="*/ 0 w 2101774"/>
                <a:gd name="connsiteY3" fmla="*/ 3063000 h 3063000"/>
                <a:gd name="connsiteX4" fmla="*/ 0 w 2101774"/>
                <a:gd name="connsiteY4" fmla="*/ 0 h 3063000"/>
                <a:gd name="connsiteX0" fmla="*/ 0 w 2101774"/>
                <a:gd name="connsiteY0" fmla="*/ 9780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0 w 2101774"/>
                <a:gd name="connsiteY4" fmla="*/ 9780 h 3072780"/>
                <a:gd name="connsiteX0" fmla="*/ 9780 w 2101774"/>
                <a:gd name="connsiteY0" fmla="*/ 557442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9780 w 2101774"/>
                <a:gd name="connsiteY4" fmla="*/ 557442 h 3072780"/>
                <a:gd name="connsiteX0" fmla="*/ 625900 w 2101774"/>
                <a:gd name="connsiteY0" fmla="*/ 298281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625900 w 2101774"/>
                <a:gd name="connsiteY4" fmla="*/ 298281 h 3072780"/>
                <a:gd name="connsiteX0" fmla="*/ 151585 w 1627459"/>
                <a:gd name="connsiteY0" fmla="*/ 298281 h 3072780"/>
                <a:gd name="connsiteX1" fmla="*/ 1627459 w 1627459"/>
                <a:gd name="connsiteY1" fmla="*/ 0 h 3072780"/>
                <a:gd name="connsiteX2" fmla="*/ 1627459 w 1627459"/>
                <a:gd name="connsiteY2" fmla="*/ 3072780 h 3072780"/>
                <a:gd name="connsiteX3" fmla="*/ 0 w 1627459"/>
                <a:gd name="connsiteY3" fmla="*/ 2662033 h 3072780"/>
                <a:gd name="connsiteX4" fmla="*/ 151585 w 1627459"/>
                <a:gd name="connsiteY4" fmla="*/ 298281 h 3072780"/>
                <a:gd name="connsiteX0" fmla="*/ 464535 w 1940409"/>
                <a:gd name="connsiteY0" fmla="*/ 29828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464535 w 1940409"/>
                <a:gd name="connsiteY4" fmla="*/ 298281 h 3072780"/>
                <a:gd name="connsiteX0" fmla="*/ 625899 w 1940409"/>
                <a:gd name="connsiteY0" fmla="*/ 410747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625899 w 1940409"/>
                <a:gd name="connsiteY4" fmla="*/ 410747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547662 w 1940409"/>
                <a:gd name="connsiteY4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30646 w 1940409"/>
                <a:gd name="connsiteY4" fmla="*/ 2583355 h 3072780"/>
                <a:gd name="connsiteX5" fmla="*/ 547662 w 1940409"/>
                <a:gd name="connsiteY5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141771 w 1940409"/>
                <a:gd name="connsiteY3" fmla="*/ 2770680 h 3072780"/>
                <a:gd name="connsiteX4" fmla="*/ 0 w 1940409"/>
                <a:gd name="connsiteY4" fmla="*/ 2745160 h 3072780"/>
                <a:gd name="connsiteX5" fmla="*/ 30646 w 1940409"/>
                <a:gd name="connsiteY5" fmla="*/ 2583355 h 3072780"/>
                <a:gd name="connsiteX6" fmla="*/ 547662 w 1940409"/>
                <a:gd name="connsiteY6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23755 w 1916502"/>
                <a:gd name="connsiteY0" fmla="*/ 283611 h 3072780"/>
                <a:gd name="connsiteX1" fmla="*/ 1916502 w 1916502"/>
                <a:gd name="connsiteY1" fmla="*/ 0 h 3072780"/>
                <a:gd name="connsiteX2" fmla="*/ 1916502 w 1916502"/>
                <a:gd name="connsiteY2" fmla="*/ 3072780 h 3072780"/>
                <a:gd name="connsiteX3" fmla="*/ 117864 w 1916502"/>
                <a:gd name="connsiteY3" fmla="*/ 2770680 h 3072780"/>
                <a:gd name="connsiteX4" fmla="*/ 6739 w 1916502"/>
                <a:gd name="connsiteY4" fmla="*/ 2583355 h 3072780"/>
                <a:gd name="connsiteX5" fmla="*/ 523755 w 1916502"/>
                <a:gd name="connsiteY5" fmla="*/ 283611 h 3072780"/>
                <a:gd name="connsiteX0" fmla="*/ 524051 w 1916798"/>
                <a:gd name="connsiteY0" fmla="*/ 283611 h 3072780"/>
                <a:gd name="connsiteX1" fmla="*/ 1916798 w 1916798"/>
                <a:gd name="connsiteY1" fmla="*/ 0 h 3072780"/>
                <a:gd name="connsiteX2" fmla="*/ 1916798 w 1916798"/>
                <a:gd name="connsiteY2" fmla="*/ 3072780 h 3072780"/>
                <a:gd name="connsiteX3" fmla="*/ 118160 w 1916798"/>
                <a:gd name="connsiteY3" fmla="*/ 2770680 h 3072780"/>
                <a:gd name="connsiteX4" fmla="*/ 7035 w 1916798"/>
                <a:gd name="connsiteY4" fmla="*/ 2583355 h 3072780"/>
                <a:gd name="connsiteX5" fmla="*/ 524051 w 1916798"/>
                <a:gd name="connsiteY5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524051 w 1916798"/>
                <a:gd name="connsiteY6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7" fmla="*/ 524051 w 1916798"/>
                <a:gd name="connsiteY7" fmla="*/ 283611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6798" h="3072780">
                  <a:moveTo>
                    <a:pt x="492810" y="430705"/>
                  </a:moveTo>
                  <a:cubicBezTo>
                    <a:pt x="515035" y="334397"/>
                    <a:pt x="565835" y="282538"/>
                    <a:pt x="654735" y="256080"/>
                  </a:cubicBezTo>
                  <a:lnTo>
                    <a:pt x="1916798" y="0"/>
                  </a:lnTo>
                  <a:lnTo>
                    <a:pt x="1916798" y="3072780"/>
                  </a:lnTo>
                  <a:lnTo>
                    <a:pt x="118160" y="2770680"/>
                  </a:lnTo>
                  <a:cubicBezTo>
                    <a:pt x="17618" y="2752688"/>
                    <a:pt x="-16248" y="2693422"/>
                    <a:pt x="7035" y="2583355"/>
                  </a:cubicBezTo>
                  <a:lnTo>
                    <a:pt x="492810" y="430705"/>
                  </a:lnTo>
                  <a:close/>
                </a:path>
              </a:pathLst>
            </a:custGeom>
            <a:gradFill>
              <a:gsLst>
                <a:gs pos="100000">
                  <a:srgbClr val="35458F"/>
                </a:gs>
                <a:gs pos="0">
                  <a:srgbClr val="008542">
                    <a:lumMod val="8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0579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0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3" name="Forma Livre 25">
              <a:extLst>
                <a:ext uri="{FF2B5EF4-FFF2-40B4-BE49-F238E27FC236}">
                  <a16:creationId xmlns:a16="http://schemas.microsoft.com/office/drawing/2014/main" id="{A40F3181-454D-4A5D-9911-6B25B98430BD}"/>
                </a:ext>
              </a:extLst>
            </p:cNvPr>
            <p:cNvSpPr/>
            <p:nvPr/>
          </p:nvSpPr>
          <p:spPr>
            <a:xfrm>
              <a:off x="5940359" y="2019287"/>
              <a:ext cx="2537586" cy="3125809"/>
            </a:xfrm>
            <a:custGeom>
              <a:avLst/>
              <a:gdLst>
                <a:gd name="connsiteX0" fmla="*/ 0 w 2541494"/>
                <a:gd name="connsiteY0" fmla="*/ 3106271 h 3106271"/>
                <a:gd name="connsiteX1" fmla="*/ 813547 w 2541494"/>
                <a:gd name="connsiteY1" fmla="*/ 638736 h 3106271"/>
                <a:gd name="connsiteX2" fmla="*/ 2541494 w 2541494"/>
                <a:gd name="connsiteY2" fmla="*/ 0 h 3106271"/>
                <a:gd name="connsiteX0" fmla="*/ 0 w 2541494"/>
                <a:gd name="connsiteY0" fmla="*/ 3106271 h 3106271"/>
                <a:gd name="connsiteX1" fmla="*/ 794009 w 2541494"/>
                <a:gd name="connsiteY1" fmla="*/ 689536 h 3106271"/>
                <a:gd name="connsiteX2" fmla="*/ 2541494 w 2541494"/>
                <a:gd name="connsiteY2" fmla="*/ 0 h 3106271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2537586 w 2537586"/>
                <a:gd name="connsiteY2" fmla="*/ 0 h 3125809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794009 w 2537586"/>
                <a:gd name="connsiteY2" fmla="*/ 709074 h 3125809"/>
                <a:gd name="connsiteX3" fmla="*/ 881880 w 2537586"/>
                <a:gd name="connsiteY3" fmla="*/ 669213 h 3125809"/>
                <a:gd name="connsiteX4" fmla="*/ 2537586 w 2537586"/>
                <a:gd name="connsiteY4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7586" h="3125809">
                  <a:moveTo>
                    <a:pt x="0" y="3125809"/>
                  </a:moveTo>
                  <a:lnTo>
                    <a:pt x="756834" y="831870"/>
                  </a:lnTo>
                  <a:cubicBezTo>
                    <a:pt x="781176" y="772686"/>
                    <a:pt x="804785" y="718872"/>
                    <a:pt x="893603" y="673121"/>
                  </a:cubicBezTo>
                  <a:lnTo>
                    <a:pt x="2537586" y="0"/>
                  </a:lnTo>
                </a:path>
              </a:pathLst>
            </a:custGeom>
            <a:noFill/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0579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0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6824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bg2"/>
                </a:solidFill>
              </a:defRPr>
            </a:lvl1pPr>
            <a:lvl2pPr>
              <a:defRPr sz="2049" b="0">
                <a:solidFill>
                  <a:schemeClr val="bg2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614284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icos_e_Tabelas">
    <p:bg>
      <p:bgPr>
        <a:gradFill flip="none" rotWithShape="1">
          <a:gsLst>
            <a:gs pos="100000">
              <a:schemeClr val="bg1">
                <a:lumMod val="95000"/>
              </a:schemeClr>
            </a:gs>
            <a:gs pos="0">
              <a:schemeClr val="bg1"/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8AF3BFC-3768-44CC-B7B2-EEE6A6C0E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C15CFA29-C9BA-4755-8460-955BA1317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19EBF5AF-873A-4B08-AE1E-C8FBB7A5E9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tx1"/>
                </a:solidFill>
              </a:defRPr>
            </a:lvl1pPr>
            <a:lvl2pPr>
              <a:defRPr sz="2049" b="0">
                <a:solidFill>
                  <a:schemeClr val="tx1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3CF3819-6E5A-4E77-9AE5-1025EBF6C0EF}"/>
              </a:ext>
            </a:extLst>
          </p:cNvPr>
          <p:cNvGrpSpPr/>
          <p:nvPr userDrawn="1"/>
        </p:nvGrpSpPr>
        <p:grpSpPr>
          <a:xfrm rot="5400000" flipV="1">
            <a:off x="14830426" y="3381378"/>
            <a:ext cx="7467600" cy="704847"/>
            <a:chOff x="31376" y="-1105651"/>
            <a:chExt cx="11627224" cy="838200"/>
          </a:xfrm>
        </p:grpSpPr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39795F8-C78C-4447-9EEC-BD91A4C3C137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0DA9F354-1A03-4ACD-AB08-70CB58B40948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BEAFCA33-9743-4B26-9051-B71F4118DDC0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9C05B808-789D-4114-80E3-7181EB7AC74B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A4830349-FF5A-4957-BF1D-4B2D8075BC18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378127C7-C640-4729-84A6-28B5BD01B55F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199F2338-8DF8-481E-89F2-6B7F4101513B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D721DD00-61D1-47EC-AEF4-ACE7D5D558FF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7300F436-FFD3-4213-8AB8-D5A5BACE6A67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4BBB9BF0-4123-48FF-8945-C69B7DC90463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20" name="Retângulo 19">
                <a:extLst>
                  <a:ext uri="{FF2B5EF4-FFF2-40B4-BE49-F238E27FC236}">
                    <a16:creationId xmlns:a16="http://schemas.microsoft.com/office/drawing/2014/main" id="{F2D6A7D4-6F54-47FD-872A-A5B9707E8690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</p:grp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18B5D0C2-B372-40D0-9D54-43F660613E16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47"/>
            </a:p>
          </p:txBody>
        </p:sp>
      </p:grpSp>
      <p:sp>
        <p:nvSpPr>
          <p:cNvPr id="21" name="Retângulo 20">
            <a:extLst>
              <a:ext uri="{FF2B5EF4-FFF2-40B4-BE49-F238E27FC236}">
                <a16:creationId xmlns:a16="http://schemas.microsoft.com/office/drawing/2014/main" id="{AA2C16A8-D154-4310-8CC4-9D6C64D34EE4}"/>
              </a:ext>
            </a:extLst>
          </p:cNvPr>
          <p:cNvSpPr/>
          <p:nvPr userDrawn="1"/>
        </p:nvSpPr>
        <p:spPr>
          <a:xfrm>
            <a:off x="1" y="-659541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72755FD7-AA69-45E5-89B2-E82B9A3E9246}"/>
              </a:ext>
            </a:extLst>
          </p:cNvPr>
          <p:cNvSpPr/>
          <p:nvPr userDrawn="1"/>
        </p:nvSpPr>
        <p:spPr>
          <a:xfrm>
            <a:off x="905207" y="-659541"/>
            <a:ext cx="819150" cy="53669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826BDE5-5D88-467C-84E5-ADC73EC85A5B}"/>
              </a:ext>
            </a:extLst>
          </p:cNvPr>
          <p:cNvSpPr/>
          <p:nvPr userDrawn="1"/>
        </p:nvSpPr>
        <p:spPr>
          <a:xfrm>
            <a:off x="1808914" y="-659541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</p:spTree>
    <p:extLst>
      <p:ext uri="{BB962C8B-B14F-4D97-AF65-F5344CB8AC3E}">
        <p14:creationId xmlns:p14="http://schemas.microsoft.com/office/powerpoint/2010/main" val="174003152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scos">
    <p:bg>
      <p:bgPr>
        <a:gradFill flip="none" rotWithShape="1">
          <a:gsLst>
            <a:gs pos="32000">
              <a:srgbClr val="F5F5F5"/>
            </a:gs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algn="l" defTabSz="670796"/>
            <a:r>
              <a:rPr lang="pt-BR"/>
              <a:t>AUDITORIA INTERNA - ATI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2377F5F-2121-4B7B-9EF4-224238D91F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F68D063-E7BC-4EFB-9967-FBB91A77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82F0B678-EFD7-4355-8491-77D3B6A687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: Rounded Corners 6">
            <a:extLst>
              <a:ext uri="{FF2B5EF4-FFF2-40B4-BE49-F238E27FC236}">
                <a16:creationId xmlns:a16="http://schemas.microsoft.com/office/drawing/2014/main" id="{4B875682-43E6-4698-9E24-3C6031219787}"/>
              </a:ext>
            </a:extLst>
          </p:cNvPr>
          <p:cNvSpPr/>
          <p:nvPr userDrawn="1"/>
        </p:nvSpPr>
        <p:spPr>
          <a:xfrm flipH="1">
            <a:off x="7253230" y="5734552"/>
            <a:ext cx="4552276" cy="3520106"/>
          </a:xfrm>
          <a:prstGeom prst="roundRect">
            <a:avLst>
              <a:gd name="adj" fmla="val 225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3">
            <a:extLst>
              <a:ext uri="{FF2B5EF4-FFF2-40B4-BE49-F238E27FC236}">
                <a16:creationId xmlns:a16="http://schemas.microsoft.com/office/drawing/2014/main" id="{02C8D298-8E20-4C42-9B2E-A978F38B64B4}"/>
              </a:ext>
            </a:extLst>
          </p:cNvPr>
          <p:cNvSpPr/>
          <p:nvPr userDrawn="1"/>
        </p:nvSpPr>
        <p:spPr>
          <a:xfrm flipH="1">
            <a:off x="12484539" y="5672283"/>
            <a:ext cx="4653732" cy="3586339"/>
          </a:xfrm>
          <a:prstGeom prst="roundRect">
            <a:avLst>
              <a:gd name="adj" fmla="val 328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: Rounded Corners 2">
            <a:extLst>
              <a:ext uri="{FF2B5EF4-FFF2-40B4-BE49-F238E27FC236}">
                <a16:creationId xmlns:a16="http://schemas.microsoft.com/office/drawing/2014/main" id="{1B1BB546-5B50-4704-A10F-3FFF08DFC1E3}"/>
              </a:ext>
            </a:extLst>
          </p:cNvPr>
          <p:cNvSpPr/>
          <p:nvPr userDrawn="1"/>
        </p:nvSpPr>
        <p:spPr>
          <a:xfrm flipH="1">
            <a:off x="7175776" y="2528915"/>
            <a:ext cx="9970675" cy="2704155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12700" dir="5400000" algn="ctr" rotWithShape="0">
              <a:srgbClr val="000104">
                <a:alpha val="1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00FACE95-955D-43AE-AA85-3C0EBB0625F3}"/>
              </a:ext>
            </a:extLst>
          </p:cNvPr>
          <p:cNvSpPr/>
          <p:nvPr userDrawn="1"/>
        </p:nvSpPr>
        <p:spPr>
          <a:xfrm flipH="1">
            <a:off x="675026" y="2528914"/>
            <a:ext cx="6056712" cy="6729709"/>
          </a:xfrm>
          <a:prstGeom prst="roundRect">
            <a:avLst>
              <a:gd name="adj" fmla="val 178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216B277E-7BBA-4D9B-8085-64F8CD292216}"/>
              </a:ext>
            </a:extLst>
          </p:cNvPr>
          <p:cNvSpPr txBox="1"/>
          <p:nvPr userDrawn="1"/>
        </p:nvSpPr>
        <p:spPr>
          <a:xfrm>
            <a:off x="845773" y="5075490"/>
            <a:ext cx="455061" cy="291413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PROBABILIDADE</a:t>
            </a:r>
            <a:endParaRPr lang="pt-BR" sz="1464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17873CD-53B6-408A-954C-87DA11E6366B}"/>
              </a:ext>
            </a:extLst>
          </p:cNvPr>
          <p:cNvSpPr txBox="1"/>
          <p:nvPr userDrawn="1"/>
        </p:nvSpPr>
        <p:spPr>
          <a:xfrm rot="5400000">
            <a:off x="2804678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6B2FB07-62A7-446C-BBC2-66A9B9CEF1EE}"/>
              </a:ext>
            </a:extLst>
          </p:cNvPr>
          <p:cNvSpPr txBox="1"/>
          <p:nvPr userDrawn="1"/>
        </p:nvSpPr>
        <p:spPr>
          <a:xfrm rot="5400000">
            <a:off x="3798729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ÉDI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6B5E66D-5882-4A25-BEDD-6CFF28D51FEF}"/>
              </a:ext>
            </a:extLst>
          </p:cNvPr>
          <p:cNvSpPr txBox="1"/>
          <p:nvPr userDrawn="1"/>
        </p:nvSpPr>
        <p:spPr>
          <a:xfrm rot="5400000">
            <a:off x="4864053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0E2CB01-3845-4CCA-97C0-EFEC2E0241D2}"/>
              </a:ext>
            </a:extLst>
          </p:cNvPr>
          <p:cNvSpPr txBox="1"/>
          <p:nvPr userDrawn="1"/>
        </p:nvSpPr>
        <p:spPr>
          <a:xfrm rot="5400000">
            <a:off x="5771950" y="3305635"/>
            <a:ext cx="409984" cy="95377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96027F1-9C9E-4AF1-98CD-22200F3A0EB7}"/>
              </a:ext>
            </a:extLst>
          </p:cNvPr>
          <p:cNvSpPr txBox="1"/>
          <p:nvPr userDrawn="1"/>
        </p:nvSpPr>
        <p:spPr>
          <a:xfrm rot="5400000">
            <a:off x="1731148" y="3296871"/>
            <a:ext cx="409984" cy="97130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093BB404-8FAE-4705-B24B-1A75491A31D9}"/>
              </a:ext>
            </a:extLst>
          </p:cNvPr>
          <p:cNvSpPr txBox="1"/>
          <p:nvPr userDrawn="1"/>
        </p:nvSpPr>
        <p:spPr>
          <a:xfrm>
            <a:off x="1346831" y="8047142"/>
            <a:ext cx="3873875" cy="362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IMPACTO</a:t>
            </a:r>
            <a:endParaRPr lang="pt-BR" sz="1172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505F0ED0-D0FB-40BC-B7B3-A9CB2E73D3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37610" y="2911319"/>
            <a:ext cx="8054879" cy="496858"/>
          </a:xfrm>
          <a:prstGeom prst="rect">
            <a:avLst/>
          </a:prstGeom>
          <a:noFill/>
          <a:effectLst>
            <a:softEdge rad="25400"/>
          </a:effectLst>
        </p:spPr>
        <p:txBody>
          <a:bodyPr wrap="square" lIns="36000" tIns="36000" rIns="36000" bIns="36000" rtlCol="0" anchor="t">
            <a:spAutoFit/>
          </a:bodyPr>
          <a:lstStyle>
            <a:lvl1pPr>
              <a:defRPr kumimoji="0" lang="pt-BR" sz="2049" b="0" i="0" u="none" strike="noStrike" kern="0" cap="none" spc="0" normalizeH="0" baseline="0" smtClean="0">
                <a:ln>
                  <a:noFill/>
                </a:ln>
                <a:solidFill>
                  <a:srgbClr val="494949">
                    <a:lumMod val="75000"/>
                  </a:srgbClr>
                </a:solidFill>
                <a:effectLst/>
                <a:uLnTx/>
                <a:uFillTx/>
                <a:latin typeface="Trebuchet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R="0" lvl="0" indent="0" defTabSz="13381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</a:t>
            </a:r>
          </a:p>
        </p:txBody>
      </p:sp>
      <p:sp>
        <p:nvSpPr>
          <p:cNvPr id="86" name="Espaço Reservado para Texto 2">
            <a:extLst>
              <a:ext uri="{FF2B5EF4-FFF2-40B4-BE49-F238E27FC236}">
                <a16:creationId xmlns:a16="http://schemas.microsoft.com/office/drawing/2014/main" id="{9DC7FA72-1F35-46A6-AB4E-CE78B3977F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452432" y="5661372"/>
            <a:ext cx="3955975" cy="8220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34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37846"/>
            <a:r>
              <a:rPr lang="pt-BR"/>
              <a:t>Clique para editar os estilos de texto Mestre</a:t>
            </a:r>
          </a:p>
        </p:txBody>
      </p:sp>
      <p:sp>
        <p:nvSpPr>
          <p:cNvPr id="87" name="Espaço Reservado para Texto 2">
            <a:extLst>
              <a:ext uri="{FF2B5EF4-FFF2-40B4-BE49-F238E27FC236}">
                <a16:creationId xmlns:a16="http://schemas.microsoft.com/office/drawing/2014/main" id="{3B7A7AD3-38E8-4B30-BA1B-7EDF248DDE9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2736514" y="5661372"/>
            <a:ext cx="3955975" cy="8220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34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37846"/>
            <a:r>
              <a:rPr lang="pt-BR"/>
              <a:t>Clique para editar os estilos de texto Mestre</a:t>
            </a:r>
          </a:p>
        </p:txBody>
      </p:sp>
      <p:sp>
        <p:nvSpPr>
          <p:cNvPr id="88" name="Espaço Reservado para Texto 2">
            <a:extLst>
              <a:ext uri="{FF2B5EF4-FFF2-40B4-BE49-F238E27FC236}">
                <a16:creationId xmlns:a16="http://schemas.microsoft.com/office/drawing/2014/main" id="{EAAE459B-64BE-472F-BBCB-B81692926D5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2736514" y="6777986"/>
            <a:ext cx="3955975" cy="5790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57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09659"/>
            <a:r>
              <a:rPr lang="pt-BR"/>
              <a:t>Clique para editar os estilos de texto Mestre</a:t>
            </a:r>
          </a:p>
        </p:txBody>
      </p:sp>
      <p:sp>
        <p:nvSpPr>
          <p:cNvPr id="89" name="Espaço Reservado para Texto 2">
            <a:extLst>
              <a:ext uri="{FF2B5EF4-FFF2-40B4-BE49-F238E27FC236}">
                <a16:creationId xmlns:a16="http://schemas.microsoft.com/office/drawing/2014/main" id="{F565C565-EAE1-4216-BAD6-AD984D4F8B1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452432" y="6737371"/>
            <a:ext cx="3955975" cy="5790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57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09659"/>
            <a:r>
              <a:rPr lang="pt-BR"/>
              <a:t>Clique para editar os estilos de texto Mestre</a:t>
            </a: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2C617125-8B7B-4A4F-B5E2-6C0E0402910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5510597"/>
              </p:ext>
            </p:extLst>
          </p:nvPr>
        </p:nvGraphicFramePr>
        <p:xfrm>
          <a:off x="1377496" y="3970248"/>
          <a:ext cx="5029770" cy="3959840"/>
        </p:xfrm>
        <a:graphic>
          <a:graphicData uri="http://schemas.openxmlformats.org/drawingml/2006/table">
            <a:tbl>
              <a:tblPr firstRow="1" bandRow="1"/>
              <a:tblGrid>
                <a:gridCol w="1005954">
                  <a:extLst>
                    <a:ext uri="{9D8B030D-6E8A-4147-A177-3AD203B41FA5}">
                      <a16:colId xmlns:a16="http://schemas.microsoft.com/office/drawing/2014/main" val="3535774680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220368540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83239892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439988134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335711226"/>
                    </a:ext>
                  </a:extLst>
                </a:gridCol>
              </a:tblGrid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095737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425353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672481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981036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06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8727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o_Result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14" y="379536"/>
            <a:ext cx="2930915" cy="845575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8A18C4B2-FD75-4F97-8F51-C272B8A145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84AFFBBA-7188-436C-A24C-9EDAE35A56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A980B7AB-4664-4E0E-9972-B46332BFD374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angle 74">
            <a:extLst>
              <a:ext uri="{FF2B5EF4-FFF2-40B4-BE49-F238E27FC236}">
                <a16:creationId xmlns:a16="http://schemas.microsoft.com/office/drawing/2014/main" id="{3838FEA5-FBE7-4E2D-B8A8-1016AE18F6CE}"/>
              </a:ext>
            </a:extLst>
          </p:cNvPr>
          <p:cNvSpPr/>
          <p:nvPr userDrawn="1"/>
        </p:nvSpPr>
        <p:spPr>
          <a:xfrm>
            <a:off x="3755470" y="2550355"/>
            <a:ext cx="14242852" cy="7530271"/>
          </a:xfrm>
          <a:prstGeom prst="rect">
            <a:avLst/>
          </a:prstGeom>
          <a:gradFill>
            <a:gsLst>
              <a:gs pos="100000">
                <a:srgbClr val="2A3A54"/>
              </a:gs>
              <a:gs pos="0">
                <a:srgbClr val="004165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3C51927C-01D9-4BEB-9731-DA87ED407D47}"/>
              </a:ext>
            </a:extLst>
          </p:cNvPr>
          <p:cNvSpPr/>
          <p:nvPr userDrawn="1"/>
        </p:nvSpPr>
        <p:spPr>
          <a:xfrm>
            <a:off x="11815282" y="2533498"/>
            <a:ext cx="6183040" cy="1299281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3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6" name="Straight Connector 34">
            <a:extLst>
              <a:ext uri="{FF2B5EF4-FFF2-40B4-BE49-F238E27FC236}">
                <a16:creationId xmlns:a16="http://schemas.microsoft.com/office/drawing/2014/main" id="{1D971FFA-3691-4246-99DA-E4935964AEB8}"/>
              </a:ext>
            </a:extLst>
          </p:cNvPr>
          <p:cNvCxnSpPr>
            <a:cxnSpLocks/>
          </p:cNvCxnSpPr>
          <p:nvPr userDrawn="1"/>
        </p:nvCxnSpPr>
        <p:spPr>
          <a:xfrm>
            <a:off x="5041458" y="3886260"/>
            <a:ext cx="0" cy="5982018"/>
          </a:xfrm>
          <a:prstGeom prst="line">
            <a:avLst/>
          </a:prstGeom>
          <a:noFill/>
          <a:ln w="1016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pic>
        <p:nvPicPr>
          <p:cNvPr id="22" name="Imagem 21" descr="Navio no mar&#10;&#10;Descrição gerada automaticamente com confiança média">
            <a:extLst>
              <a:ext uri="{FF2B5EF4-FFF2-40B4-BE49-F238E27FC236}">
                <a16:creationId xmlns:a16="http://schemas.microsoft.com/office/drawing/2014/main" id="{5A1C2C8F-EE19-4E9C-9F92-69B8FA0D83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4892" y="2550357"/>
            <a:ext cx="5037891" cy="7515271"/>
          </a:xfrm>
          <a:prstGeom prst="rect">
            <a:avLst/>
          </a:prstGeom>
        </p:spPr>
      </p:pic>
      <p:sp>
        <p:nvSpPr>
          <p:cNvPr id="24" name="Espaço Reservado para Conteúdo 2">
            <a:extLst>
              <a:ext uri="{FF2B5EF4-FFF2-40B4-BE49-F238E27FC236}">
                <a16:creationId xmlns:a16="http://schemas.microsoft.com/office/drawing/2014/main" id="{0F4A50CF-897E-4E5A-A3DC-148002FB439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1777257" y="5177834"/>
            <a:ext cx="6183039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5" name="Espaço Reservado para Conteúdo 2">
            <a:extLst>
              <a:ext uri="{FF2B5EF4-FFF2-40B4-BE49-F238E27FC236}">
                <a16:creationId xmlns:a16="http://schemas.microsoft.com/office/drawing/2014/main" id="{F0A763E7-27DC-4C4C-999B-8B8B4E75AC8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1684246" y="7797178"/>
            <a:ext cx="6183039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6" name="Espaço Reservado para Conteúdo 2">
            <a:extLst>
              <a:ext uri="{FF2B5EF4-FFF2-40B4-BE49-F238E27FC236}">
                <a16:creationId xmlns:a16="http://schemas.microsoft.com/office/drawing/2014/main" id="{D49E7FCA-5A9A-4FE1-996C-B7C06082C38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441442" y="4129936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5B05624A-CB0C-48AF-926E-A341B2AA70D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520511" y="6355112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791EE106-3CC3-4CDD-B010-95A19758336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441442" y="8284916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2">
            <a:extLst>
              <a:ext uri="{FF2B5EF4-FFF2-40B4-BE49-F238E27FC236}">
                <a16:creationId xmlns:a16="http://schemas.microsoft.com/office/drawing/2014/main" id="{6258B816-08DA-4575-9E5E-3450BA17686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643487" y="2678024"/>
            <a:ext cx="5607173" cy="1065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13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2">
            <a:extLst>
              <a:ext uri="{FF2B5EF4-FFF2-40B4-BE49-F238E27FC236}">
                <a16:creationId xmlns:a16="http://schemas.microsoft.com/office/drawing/2014/main" id="{9A9F0572-273A-41C3-89D3-4F696EAD098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2260113" y="2667534"/>
            <a:ext cx="5607173" cy="1065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13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9669329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30C1B2-A21E-4C5A-97D0-5B7E62F7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8822A-E0EF-40DD-94E6-5D5381F7D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7" name="Título 1">
            <a:extLst>
              <a:ext uri="{FF2B5EF4-FFF2-40B4-BE49-F238E27FC236}">
                <a16:creationId xmlns:a16="http://schemas.microsoft.com/office/drawing/2014/main" id="{8E7C3A4A-C904-408B-AF80-CF448F4D71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681" y="4497049"/>
            <a:ext cx="4185649" cy="1037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grpSp>
        <p:nvGrpSpPr>
          <p:cNvPr id="364" name="Grupo 3">
            <a:extLst>
              <a:ext uri="{FF2B5EF4-FFF2-40B4-BE49-F238E27FC236}">
                <a16:creationId xmlns:a16="http://schemas.microsoft.com/office/drawing/2014/main" id="{9A07BDD1-D780-406C-A592-6BBC559413A3}"/>
              </a:ext>
            </a:extLst>
          </p:cNvPr>
          <p:cNvGrpSpPr/>
          <p:nvPr userDrawn="1"/>
        </p:nvGrpSpPr>
        <p:grpSpPr>
          <a:xfrm>
            <a:off x="6636057" y="402969"/>
            <a:ext cx="9793421" cy="9274687"/>
            <a:chOff x="8986138" y="548292"/>
            <a:chExt cx="13266332" cy="12619416"/>
          </a:xfrm>
        </p:grpSpPr>
        <p:sp>
          <p:nvSpPr>
            <p:cNvPr id="365" name="Freeform 548">
              <a:extLst>
                <a:ext uri="{FF2B5EF4-FFF2-40B4-BE49-F238E27FC236}">
                  <a16:creationId xmlns:a16="http://schemas.microsoft.com/office/drawing/2014/main" id="{639784E3-C209-42C6-AE65-D10D16C9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549">
              <a:extLst>
                <a:ext uri="{FF2B5EF4-FFF2-40B4-BE49-F238E27FC236}">
                  <a16:creationId xmlns:a16="http://schemas.microsoft.com/office/drawing/2014/main" id="{7BD114B7-F88B-4800-AD84-30715077D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7" name="Grupo 1277">
            <a:extLst>
              <a:ext uri="{FF2B5EF4-FFF2-40B4-BE49-F238E27FC236}">
                <a16:creationId xmlns:a16="http://schemas.microsoft.com/office/drawing/2014/main" id="{BA5647BA-7E8E-4DE3-AEAB-BFB8BE81CDB6}"/>
              </a:ext>
            </a:extLst>
          </p:cNvPr>
          <p:cNvGrpSpPr/>
          <p:nvPr userDrawn="1"/>
        </p:nvGrpSpPr>
        <p:grpSpPr>
          <a:xfrm>
            <a:off x="6623122" y="396272"/>
            <a:ext cx="9793421" cy="9274687"/>
            <a:chOff x="8986138" y="548292"/>
            <a:chExt cx="13266332" cy="12619416"/>
          </a:xfrm>
        </p:grpSpPr>
        <p:sp>
          <p:nvSpPr>
            <p:cNvPr id="368" name="Freeform 548">
              <a:extLst>
                <a:ext uri="{FF2B5EF4-FFF2-40B4-BE49-F238E27FC236}">
                  <a16:creationId xmlns:a16="http://schemas.microsoft.com/office/drawing/2014/main" id="{FF104208-347D-4C51-B785-58E8F84B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549">
              <a:extLst>
                <a:ext uri="{FF2B5EF4-FFF2-40B4-BE49-F238E27FC236}">
                  <a16:creationId xmlns:a16="http://schemas.microsoft.com/office/drawing/2014/main" id="{1D3C6BE9-D1EA-4485-BB06-6C324300D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0" name="Line 565">
            <a:extLst>
              <a:ext uri="{FF2B5EF4-FFF2-40B4-BE49-F238E27FC236}">
                <a16:creationId xmlns:a16="http://schemas.microsoft.com/office/drawing/2014/main" id="{3C649AD0-6946-4391-9012-15357E63F4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902051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1" name="Line 566">
            <a:extLst>
              <a:ext uri="{FF2B5EF4-FFF2-40B4-BE49-F238E27FC236}">
                <a16:creationId xmlns:a16="http://schemas.microsoft.com/office/drawing/2014/main" id="{1A7BABB7-E3A3-40A7-9781-49AF93CFB02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815363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2" name="Line 567">
            <a:extLst>
              <a:ext uri="{FF2B5EF4-FFF2-40B4-BE49-F238E27FC236}">
                <a16:creationId xmlns:a16="http://schemas.microsoft.com/office/drawing/2014/main" id="{C5E3353C-045A-4B77-8377-76C617136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606848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3" name="Line 568">
            <a:extLst>
              <a:ext uri="{FF2B5EF4-FFF2-40B4-BE49-F238E27FC236}">
                <a16:creationId xmlns:a16="http://schemas.microsoft.com/office/drawing/2014/main" id="{4C2AA826-29CD-435B-99DA-7EDB936A81EB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398336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4" name="Line 569">
            <a:extLst>
              <a:ext uri="{FF2B5EF4-FFF2-40B4-BE49-F238E27FC236}">
                <a16:creationId xmlns:a16="http://schemas.microsoft.com/office/drawing/2014/main" id="{74BBF0BE-118D-41A2-8C56-826ED304A3DE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318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5" name="Line 704">
            <a:extLst>
              <a:ext uri="{FF2B5EF4-FFF2-40B4-BE49-F238E27FC236}">
                <a16:creationId xmlns:a16="http://schemas.microsoft.com/office/drawing/2014/main" id="{E5FBC4F7-0625-4E76-8671-0D0D71815F1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926253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6" name="Line 705">
            <a:extLst>
              <a:ext uri="{FF2B5EF4-FFF2-40B4-BE49-F238E27FC236}">
                <a16:creationId xmlns:a16="http://schemas.microsoft.com/office/drawing/2014/main" id="{A03D99AD-E15A-4EA2-ADC7-8A1EDEB0F1E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721103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7" name="Line 706">
            <a:extLst>
              <a:ext uri="{FF2B5EF4-FFF2-40B4-BE49-F238E27FC236}">
                <a16:creationId xmlns:a16="http://schemas.microsoft.com/office/drawing/2014/main" id="{C07BA8E1-2DA1-4B4D-8C2D-644EB523F65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12588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8" name="Line 707">
            <a:extLst>
              <a:ext uri="{FF2B5EF4-FFF2-40B4-BE49-F238E27FC236}">
                <a16:creationId xmlns:a16="http://schemas.microsoft.com/office/drawing/2014/main" id="{8ED9AB92-3524-43A8-896D-74C9BC0B324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304076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9" name="Line 708">
            <a:extLst>
              <a:ext uri="{FF2B5EF4-FFF2-40B4-BE49-F238E27FC236}">
                <a16:creationId xmlns:a16="http://schemas.microsoft.com/office/drawing/2014/main" id="{07741A84-29A4-4A17-A1A0-C69AA34AEFA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098924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0" name="Line 722">
            <a:extLst>
              <a:ext uri="{FF2B5EF4-FFF2-40B4-BE49-F238E27FC236}">
                <a16:creationId xmlns:a16="http://schemas.microsoft.com/office/drawing/2014/main" id="{7B4C4713-35BF-47A6-8D62-14ED1D6D7E3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9911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1" name="Freeform 742">
            <a:extLst>
              <a:ext uri="{FF2B5EF4-FFF2-40B4-BE49-F238E27FC236}">
                <a16:creationId xmlns:a16="http://schemas.microsoft.com/office/drawing/2014/main" id="{24D9E696-303F-44F8-B934-9B1E1D82F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1461022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09750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09750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17"/>
                  <a:pt x="1579" y="1417"/>
                  <a:pt x="1579" y="1417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2" name="Freeform 743">
            <a:extLst>
              <a:ext uri="{FF2B5EF4-FFF2-40B4-BE49-F238E27FC236}">
                <a16:creationId xmlns:a16="http://schemas.microsoft.com/office/drawing/2014/main" id="{3C4D5722-13C6-423F-8FD9-C65076615A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900409" y="1461022"/>
            <a:ext cx="1197273" cy="1191982"/>
          </a:xfrm>
          <a:custGeom>
            <a:avLst/>
            <a:gdLst>
              <a:gd name="T0" fmla="*/ 512988 w 1571"/>
              <a:gd name="T1" fmla="*/ 564790 h 1571"/>
              <a:gd name="T2" fmla="*/ 512988 w 1571"/>
              <a:gd name="T3" fmla="*/ 564790 h 1571"/>
              <a:gd name="T4" fmla="*/ 55040 w 1571"/>
              <a:gd name="T5" fmla="*/ 564790 h 1571"/>
              <a:gd name="T6" fmla="*/ 0 w 1571"/>
              <a:gd name="T7" fmla="*/ 509750 h 1571"/>
              <a:gd name="T8" fmla="*/ 0 w 1571"/>
              <a:gd name="T9" fmla="*/ 55040 h 1571"/>
              <a:gd name="T10" fmla="*/ 55040 w 1571"/>
              <a:gd name="T11" fmla="*/ 0 h 1571"/>
              <a:gd name="T12" fmla="*/ 512988 w 1571"/>
              <a:gd name="T13" fmla="*/ 0 h 1571"/>
              <a:gd name="T14" fmla="*/ 564790 w 1571"/>
              <a:gd name="T15" fmla="*/ 55040 h 1571"/>
              <a:gd name="T16" fmla="*/ 564790 w 1571"/>
              <a:gd name="T17" fmla="*/ 509750 h 1571"/>
              <a:gd name="T18" fmla="*/ 512988 w 1571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8"/>
                  <a:pt x="1570" y="153"/>
                </a:cubicBezTo>
                <a:cubicBezTo>
                  <a:pt x="1570" y="1417"/>
                  <a:pt x="1570" y="1417"/>
                  <a:pt x="1570" y="1417"/>
                </a:cubicBezTo>
                <a:cubicBezTo>
                  <a:pt x="1570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6215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3" name="Freeform 744">
            <a:extLst>
              <a:ext uri="{FF2B5EF4-FFF2-40B4-BE49-F238E27FC236}">
                <a16:creationId xmlns:a16="http://schemas.microsoft.com/office/drawing/2014/main" id="{5E95C423-2B0F-4CC9-96D6-1305215EF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48571" y="4052578"/>
            <a:ext cx="1197273" cy="1198679"/>
          </a:xfrm>
          <a:custGeom>
            <a:avLst/>
            <a:gdLst>
              <a:gd name="T0" fmla="*/ 510075 w 1570"/>
              <a:gd name="T1" fmla="*/ 567965 h 1578"/>
              <a:gd name="T2" fmla="*/ 510075 w 1570"/>
              <a:gd name="T3" fmla="*/ 567965 h 1578"/>
              <a:gd name="T4" fmla="*/ 52195 w 1570"/>
              <a:gd name="T5" fmla="*/ 567965 h 1578"/>
              <a:gd name="T6" fmla="*/ 0 w 1570"/>
              <a:gd name="T7" fmla="*/ 512861 h 1578"/>
              <a:gd name="T8" fmla="*/ 0 w 1570"/>
              <a:gd name="T9" fmla="*/ 54744 h 1578"/>
              <a:gd name="T10" fmla="*/ 52195 w 1570"/>
              <a:gd name="T11" fmla="*/ 0 h 1578"/>
              <a:gd name="T12" fmla="*/ 510075 w 1570"/>
              <a:gd name="T13" fmla="*/ 0 h 1578"/>
              <a:gd name="T14" fmla="*/ 564790 w 1570"/>
              <a:gd name="T15" fmla="*/ 54744 h 1578"/>
              <a:gd name="T16" fmla="*/ 564790 w 1570"/>
              <a:gd name="T17" fmla="*/ 512861 h 1578"/>
              <a:gd name="T18" fmla="*/ 510075 w 157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8">
                <a:moveTo>
                  <a:pt x="1417" y="1577"/>
                </a:moveTo>
                <a:lnTo>
                  <a:pt x="1417" y="1577"/>
                </a:lnTo>
                <a:cubicBezTo>
                  <a:pt x="145" y="1577"/>
                  <a:pt x="145" y="1577"/>
                  <a:pt x="145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7"/>
                  <a:pt x="1569" y="152"/>
                </a:cubicBezTo>
                <a:cubicBezTo>
                  <a:pt x="1569" y="1424"/>
                  <a:pt x="1569" y="1424"/>
                  <a:pt x="1569" y="1424"/>
                </a:cubicBezTo>
                <a:cubicBezTo>
                  <a:pt x="1569" y="1509"/>
                  <a:pt x="1502" y="1577"/>
                  <a:pt x="1417" y="1577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6298"/>
            </a:solidFill>
            <a:prstDash val="solid"/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4" name="Freeform 745">
            <a:extLst>
              <a:ext uri="{FF2B5EF4-FFF2-40B4-BE49-F238E27FC236}">
                <a16:creationId xmlns:a16="http://schemas.microsoft.com/office/drawing/2014/main" id="{43615B0E-E93C-4E5A-9A90-A6A13900D3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4052578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4F5B7C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5" name="Freeform 748">
            <a:extLst>
              <a:ext uri="{FF2B5EF4-FFF2-40B4-BE49-F238E27FC236}">
                <a16:creationId xmlns:a16="http://schemas.microsoft.com/office/drawing/2014/main" id="{4A18BC58-BD57-46EC-A547-B576665384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6647480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12988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12988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26"/>
                  <a:pt x="1579" y="1426"/>
                  <a:pt x="1579" y="1426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4165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grpSp>
        <p:nvGrpSpPr>
          <p:cNvPr id="386" name="Agrupar 385">
            <a:extLst>
              <a:ext uri="{FF2B5EF4-FFF2-40B4-BE49-F238E27FC236}">
                <a16:creationId xmlns:a16="http://schemas.microsoft.com/office/drawing/2014/main" id="{9FDB7CCE-09A1-4286-955C-898BB859333B}"/>
              </a:ext>
            </a:extLst>
          </p:cNvPr>
          <p:cNvGrpSpPr/>
          <p:nvPr userDrawn="1"/>
        </p:nvGrpSpPr>
        <p:grpSpPr>
          <a:xfrm>
            <a:off x="11277169" y="4382378"/>
            <a:ext cx="844146" cy="585945"/>
            <a:chOff x="5617647" y="4729666"/>
            <a:chExt cx="571747" cy="398627"/>
          </a:xfrm>
          <a:solidFill>
            <a:srgbClr val="4F5B7C"/>
          </a:solidFill>
        </p:grpSpPr>
        <p:sp>
          <p:nvSpPr>
            <p:cNvPr id="387" name="Line 718">
              <a:extLst>
                <a:ext uri="{FF2B5EF4-FFF2-40B4-BE49-F238E27FC236}">
                  <a16:creationId xmlns:a16="http://schemas.microsoft.com/office/drawing/2014/main" id="{3ADE10D1-04D4-49A0-9AF5-7A316B2DB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4223" y="4930119"/>
              <a:ext cx="75171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Line 719">
              <a:extLst>
                <a:ext uri="{FF2B5EF4-FFF2-40B4-BE49-F238E27FC236}">
                  <a16:creationId xmlns:a16="http://schemas.microsoft.com/office/drawing/2014/main" id="{2CA9A0AD-69C9-4232-A373-D3F46DAD8C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5274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Line 720">
              <a:extLst>
                <a:ext uri="{FF2B5EF4-FFF2-40B4-BE49-F238E27FC236}">
                  <a16:creationId xmlns:a16="http://schemas.microsoft.com/office/drawing/2014/main" id="{5711C788-55F8-4FF1-9076-FDECC0E337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34046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Line 721">
              <a:extLst>
                <a:ext uri="{FF2B5EF4-FFF2-40B4-BE49-F238E27FC236}">
                  <a16:creationId xmlns:a16="http://schemas.microsoft.com/office/drawing/2014/main" id="{329E4C7D-C9AB-4558-BFED-4EBF6A07F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818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989">
              <a:extLst>
                <a:ext uri="{FF2B5EF4-FFF2-40B4-BE49-F238E27FC236}">
                  <a16:creationId xmlns:a16="http://schemas.microsoft.com/office/drawing/2014/main" id="{BFB8EC47-6662-417B-90B0-576A149F1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729666"/>
              <a:ext cx="473798" cy="398627"/>
            </a:xfrm>
            <a:custGeom>
              <a:avLst/>
              <a:gdLst>
                <a:gd name="T0" fmla="*/ 164740 w 918"/>
                <a:gd name="T1" fmla="*/ 277453 h 773"/>
                <a:gd name="T2" fmla="*/ 164740 w 918"/>
                <a:gd name="T3" fmla="*/ 277453 h 773"/>
                <a:gd name="T4" fmla="*/ 164740 w 918"/>
                <a:gd name="T5" fmla="*/ 277453 h 773"/>
                <a:gd name="T6" fmla="*/ 158625 w 918"/>
                <a:gd name="T7" fmla="*/ 274577 h 773"/>
                <a:gd name="T8" fmla="*/ 2878 w 918"/>
                <a:gd name="T9" fmla="*/ 63972 h 773"/>
                <a:gd name="T10" fmla="*/ 2878 w 918"/>
                <a:gd name="T11" fmla="*/ 54987 h 773"/>
                <a:gd name="T12" fmla="*/ 55033 w 918"/>
                <a:gd name="T13" fmla="*/ 2875 h 773"/>
                <a:gd name="T14" fmla="*/ 61148 w 918"/>
                <a:gd name="T15" fmla="*/ 0 h 773"/>
                <a:gd name="T16" fmla="*/ 61148 w 918"/>
                <a:gd name="T17" fmla="*/ 0 h 773"/>
                <a:gd name="T18" fmla="*/ 268692 w 918"/>
                <a:gd name="T19" fmla="*/ 0 h 773"/>
                <a:gd name="T20" fmla="*/ 274807 w 918"/>
                <a:gd name="T21" fmla="*/ 2875 h 773"/>
                <a:gd name="T22" fmla="*/ 326603 w 918"/>
                <a:gd name="T23" fmla="*/ 57863 h 773"/>
                <a:gd name="T24" fmla="*/ 329840 w 918"/>
                <a:gd name="T25" fmla="*/ 66847 h 773"/>
                <a:gd name="T26" fmla="*/ 170855 w 918"/>
                <a:gd name="T27" fmla="*/ 274577 h 773"/>
                <a:gd name="T28" fmla="*/ 164740 w 918"/>
                <a:gd name="T29" fmla="*/ 277453 h 773"/>
                <a:gd name="T30" fmla="*/ 18344 w 918"/>
                <a:gd name="T31" fmla="*/ 61097 h 773"/>
                <a:gd name="T32" fmla="*/ 18344 w 918"/>
                <a:gd name="T33" fmla="*/ 61097 h 773"/>
                <a:gd name="T34" fmla="*/ 164740 w 918"/>
                <a:gd name="T35" fmla="*/ 256248 h 773"/>
                <a:gd name="T36" fmla="*/ 311496 w 918"/>
                <a:gd name="T37" fmla="*/ 63972 h 773"/>
                <a:gd name="T38" fmla="*/ 265455 w 918"/>
                <a:gd name="T39" fmla="*/ 15095 h 773"/>
                <a:gd name="T40" fmla="*/ 64026 w 918"/>
                <a:gd name="T41" fmla="*/ 15095 h 773"/>
                <a:gd name="T42" fmla="*/ 18344 w 918"/>
                <a:gd name="T43" fmla="*/ 61097 h 7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18" h="773">
                  <a:moveTo>
                    <a:pt x="458" y="772"/>
                  </a:moveTo>
                  <a:lnTo>
                    <a:pt x="458" y="772"/>
                  </a:lnTo>
                  <a:cubicBezTo>
                    <a:pt x="458" y="772"/>
                    <a:pt x="450" y="772"/>
                    <a:pt x="441" y="764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0" y="170"/>
                    <a:pt x="0" y="161"/>
                    <a:pt x="8" y="153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61" y="8"/>
                    <a:pt x="170" y="0"/>
                    <a:pt x="170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55" y="0"/>
                    <a:pt x="764" y="8"/>
                    <a:pt x="764" y="8"/>
                  </a:cubicBezTo>
                  <a:cubicBezTo>
                    <a:pt x="908" y="161"/>
                    <a:pt x="908" y="161"/>
                    <a:pt x="908" y="161"/>
                  </a:cubicBezTo>
                  <a:cubicBezTo>
                    <a:pt x="917" y="170"/>
                    <a:pt x="917" y="178"/>
                    <a:pt x="917" y="186"/>
                  </a:cubicBezTo>
                  <a:cubicBezTo>
                    <a:pt x="475" y="764"/>
                    <a:pt x="475" y="764"/>
                    <a:pt x="475" y="764"/>
                  </a:cubicBezTo>
                  <a:cubicBezTo>
                    <a:pt x="475" y="772"/>
                    <a:pt x="467" y="772"/>
                    <a:pt x="458" y="772"/>
                  </a:cubicBezTo>
                  <a:close/>
                  <a:moveTo>
                    <a:pt x="51" y="170"/>
                  </a:moveTo>
                  <a:lnTo>
                    <a:pt x="51" y="170"/>
                  </a:lnTo>
                  <a:cubicBezTo>
                    <a:pt x="458" y="713"/>
                    <a:pt x="458" y="713"/>
                    <a:pt x="458" y="713"/>
                  </a:cubicBezTo>
                  <a:cubicBezTo>
                    <a:pt x="866" y="178"/>
                    <a:pt x="866" y="178"/>
                    <a:pt x="866" y="178"/>
                  </a:cubicBezTo>
                  <a:cubicBezTo>
                    <a:pt x="738" y="42"/>
                    <a:pt x="738" y="42"/>
                    <a:pt x="738" y="42"/>
                  </a:cubicBezTo>
                  <a:cubicBezTo>
                    <a:pt x="178" y="42"/>
                    <a:pt x="178" y="42"/>
                    <a:pt x="178" y="42"/>
                  </a:cubicBezTo>
                  <a:lnTo>
                    <a:pt x="51" y="17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990">
              <a:extLst>
                <a:ext uri="{FF2B5EF4-FFF2-40B4-BE49-F238E27FC236}">
                  <a16:creationId xmlns:a16="http://schemas.microsoft.com/office/drawing/2014/main" id="{1CC0B80B-8A5B-435E-8BF3-D97832EB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818" y="4729666"/>
              <a:ext cx="325735" cy="100227"/>
            </a:xfrm>
            <a:custGeom>
              <a:avLst/>
              <a:gdLst>
                <a:gd name="T0" fmla="*/ 61355 w 629"/>
                <a:gd name="T1" fmla="*/ 69494 h 196"/>
                <a:gd name="T2" fmla="*/ 61355 w 629"/>
                <a:gd name="T3" fmla="*/ 69494 h 196"/>
                <a:gd name="T4" fmla="*/ 55219 w 629"/>
                <a:gd name="T5" fmla="*/ 66286 h 196"/>
                <a:gd name="T6" fmla="*/ 3248 w 629"/>
                <a:gd name="T7" fmla="*/ 14968 h 196"/>
                <a:gd name="T8" fmla="*/ 3248 w 629"/>
                <a:gd name="T9" fmla="*/ 2851 h 196"/>
                <a:gd name="T10" fmla="*/ 15519 w 629"/>
                <a:gd name="T11" fmla="*/ 2851 h 196"/>
                <a:gd name="T12" fmla="*/ 61355 w 629"/>
                <a:gd name="T13" fmla="*/ 48467 h 196"/>
                <a:gd name="T14" fmla="*/ 110438 w 629"/>
                <a:gd name="T15" fmla="*/ 2851 h 196"/>
                <a:gd name="T16" fmla="*/ 119461 w 629"/>
                <a:gd name="T17" fmla="*/ 2851 h 196"/>
                <a:gd name="T18" fmla="*/ 165296 w 629"/>
                <a:gd name="T19" fmla="*/ 48467 h 196"/>
                <a:gd name="T20" fmla="*/ 214380 w 629"/>
                <a:gd name="T21" fmla="*/ 2851 h 196"/>
                <a:gd name="T22" fmla="*/ 223764 w 629"/>
                <a:gd name="T23" fmla="*/ 2851 h 196"/>
                <a:gd name="T24" fmla="*/ 223764 w 629"/>
                <a:gd name="T25" fmla="*/ 14968 h 196"/>
                <a:gd name="T26" fmla="*/ 171432 w 629"/>
                <a:gd name="T27" fmla="*/ 66286 h 196"/>
                <a:gd name="T28" fmla="*/ 162409 w 629"/>
                <a:gd name="T29" fmla="*/ 66286 h 196"/>
                <a:gd name="T30" fmla="*/ 113326 w 629"/>
                <a:gd name="T31" fmla="*/ 18175 h 196"/>
                <a:gd name="T32" fmla="*/ 67490 w 629"/>
                <a:gd name="T33" fmla="*/ 66286 h 196"/>
                <a:gd name="T34" fmla="*/ 61355 w 629"/>
                <a:gd name="T35" fmla="*/ 69494 h 1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9" h="196">
                  <a:moveTo>
                    <a:pt x="170" y="195"/>
                  </a:moveTo>
                  <a:lnTo>
                    <a:pt x="170" y="195"/>
                  </a:lnTo>
                  <a:cubicBezTo>
                    <a:pt x="170" y="195"/>
                    <a:pt x="162" y="186"/>
                    <a:pt x="153" y="18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4"/>
                    <a:pt x="0" y="17"/>
                    <a:pt x="9" y="8"/>
                  </a:cubicBezTo>
                  <a:cubicBezTo>
                    <a:pt x="17" y="0"/>
                    <a:pt x="34" y="0"/>
                    <a:pt x="43" y="8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306" y="8"/>
                    <a:pt x="306" y="8"/>
                    <a:pt x="306" y="8"/>
                  </a:cubicBezTo>
                  <a:cubicBezTo>
                    <a:pt x="314" y="0"/>
                    <a:pt x="323" y="0"/>
                    <a:pt x="331" y="8"/>
                  </a:cubicBezTo>
                  <a:cubicBezTo>
                    <a:pt x="458" y="136"/>
                    <a:pt x="458" y="136"/>
                    <a:pt x="458" y="136"/>
                  </a:cubicBezTo>
                  <a:cubicBezTo>
                    <a:pt x="594" y="8"/>
                    <a:pt x="594" y="8"/>
                    <a:pt x="594" y="8"/>
                  </a:cubicBezTo>
                  <a:cubicBezTo>
                    <a:pt x="603" y="0"/>
                    <a:pt x="611" y="0"/>
                    <a:pt x="620" y="8"/>
                  </a:cubicBezTo>
                  <a:cubicBezTo>
                    <a:pt x="628" y="17"/>
                    <a:pt x="628" y="34"/>
                    <a:pt x="620" y="42"/>
                  </a:cubicBezTo>
                  <a:cubicBezTo>
                    <a:pt x="475" y="186"/>
                    <a:pt x="475" y="186"/>
                    <a:pt x="475" y="186"/>
                  </a:cubicBezTo>
                  <a:cubicBezTo>
                    <a:pt x="467" y="195"/>
                    <a:pt x="458" y="195"/>
                    <a:pt x="450" y="186"/>
                  </a:cubicBezTo>
                  <a:cubicBezTo>
                    <a:pt x="314" y="51"/>
                    <a:pt x="314" y="51"/>
                    <a:pt x="314" y="51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78" y="186"/>
                    <a:pt x="178" y="195"/>
                    <a:pt x="170" y="19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991">
              <a:extLst>
                <a:ext uri="{FF2B5EF4-FFF2-40B4-BE49-F238E27FC236}">
                  <a16:creationId xmlns:a16="http://schemas.microsoft.com/office/drawing/2014/main" id="{9946B5AA-028D-448E-BC58-3B621B75D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5710" y="4802558"/>
              <a:ext cx="175396" cy="325735"/>
            </a:xfrm>
            <a:custGeom>
              <a:avLst/>
              <a:gdLst>
                <a:gd name="T0" fmla="*/ 60939 w 341"/>
                <a:gd name="T1" fmla="*/ 226651 h 629"/>
                <a:gd name="T2" fmla="*/ 60939 w 341"/>
                <a:gd name="T3" fmla="*/ 226651 h 629"/>
                <a:gd name="T4" fmla="*/ 54845 w 341"/>
                <a:gd name="T5" fmla="*/ 220516 h 629"/>
                <a:gd name="T6" fmla="*/ 3226 w 341"/>
                <a:gd name="T7" fmla="*/ 12271 h 629"/>
                <a:gd name="T8" fmla="*/ 9320 w 341"/>
                <a:gd name="T9" fmla="*/ 3248 h 629"/>
                <a:gd name="T10" fmla="*/ 18282 w 341"/>
                <a:gd name="T11" fmla="*/ 6135 h 629"/>
                <a:gd name="T12" fmla="*/ 60939 w 341"/>
                <a:gd name="T13" fmla="*/ 186951 h 629"/>
                <a:gd name="T14" fmla="*/ 106823 w 341"/>
                <a:gd name="T15" fmla="*/ 6135 h 629"/>
                <a:gd name="T16" fmla="*/ 115785 w 341"/>
                <a:gd name="T17" fmla="*/ 3248 h 629"/>
                <a:gd name="T18" fmla="*/ 121879 w 341"/>
                <a:gd name="T19" fmla="*/ 12271 h 629"/>
                <a:gd name="T20" fmla="*/ 70259 w 341"/>
                <a:gd name="T21" fmla="*/ 220516 h 629"/>
                <a:gd name="T22" fmla="*/ 60939 w 341"/>
                <a:gd name="T23" fmla="*/ 226651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41" h="629">
                  <a:moveTo>
                    <a:pt x="170" y="628"/>
                  </a:moveTo>
                  <a:lnTo>
                    <a:pt x="170" y="628"/>
                  </a:lnTo>
                  <a:cubicBezTo>
                    <a:pt x="162" y="628"/>
                    <a:pt x="153" y="620"/>
                    <a:pt x="153" y="61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0" y="17"/>
                    <a:pt x="9" y="9"/>
                    <a:pt x="26" y="9"/>
                  </a:cubicBezTo>
                  <a:cubicBezTo>
                    <a:pt x="34" y="0"/>
                    <a:pt x="43" y="9"/>
                    <a:pt x="51" y="17"/>
                  </a:cubicBezTo>
                  <a:cubicBezTo>
                    <a:pt x="170" y="518"/>
                    <a:pt x="170" y="518"/>
                    <a:pt x="170" y="5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9"/>
                    <a:pt x="314" y="0"/>
                    <a:pt x="323" y="9"/>
                  </a:cubicBezTo>
                  <a:cubicBezTo>
                    <a:pt x="331" y="9"/>
                    <a:pt x="340" y="17"/>
                    <a:pt x="340" y="34"/>
                  </a:cubicBezTo>
                  <a:cubicBezTo>
                    <a:pt x="196" y="611"/>
                    <a:pt x="196" y="611"/>
                    <a:pt x="196" y="611"/>
                  </a:cubicBezTo>
                  <a:cubicBezTo>
                    <a:pt x="196" y="620"/>
                    <a:pt x="187" y="628"/>
                    <a:pt x="170" y="62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992">
              <a:extLst>
                <a:ext uri="{FF2B5EF4-FFF2-40B4-BE49-F238E27FC236}">
                  <a16:creationId xmlns:a16="http://schemas.microsoft.com/office/drawing/2014/main" id="{1DF6D6EE-B0D9-4272-82F3-7F1E0F2E9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802558"/>
              <a:ext cx="473798" cy="27335"/>
            </a:xfrm>
            <a:custGeom>
              <a:avLst/>
              <a:gdLst>
                <a:gd name="T0" fmla="*/ 323725 w 918"/>
                <a:gd name="T1" fmla="*/ 18684 h 52"/>
                <a:gd name="T2" fmla="*/ 323725 w 918"/>
                <a:gd name="T3" fmla="*/ 18684 h 52"/>
                <a:gd name="T4" fmla="*/ 323725 w 918"/>
                <a:gd name="T5" fmla="*/ 18684 h 52"/>
                <a:gd name="T6" fmla="*/ 8992 w 918"/>
                <a:gd name="T7" fmla="*/ 15387 h 52"/>
                <a:gd name="T8" fmla="*/ 2878 w 918"/>
                <a:gd name="T9" fmla="*/ 9525 h 52"/>
                <a:gd name="T10" fmla="*/ 8992 w 918"/>
                <a:gd name="T11" fmla="*/ 0 h 52"/>
                <a:gd name="T12" fmla="*/ 8992 w 918"/>
                <a:gd name="T13" fmla="*/ 0 h 52"/>
                <a:gd name="T14" fmla="*/ 323725 w 918"/>
                <a:gd name="T15" fmla="*/ 3297 h 52"/>
                <a:gd name="T16" fmla="*/ 329840 w 918"/>
                <a:gd name="T17" fmla="*/ 9525 h 52"/>
                <a:gd name="T18" fmla="*/ 323725 w 918"/>
                <a:gd name="T19" fmla="*/ 18684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8" h="52">
                  <a:moveTo>
                    <a:pt x="900" y="51"/>
                  </a:moveTo>
                  <a:lnTo>
                    <a:pt x="900" y="51"/>
                  </a:lnTo>
                  <a:cubicBezTo>
                    <a:pt x="25" y="42"/>
                    <a:pt x="25" y="42"/>
                    <a:pt x="25" y="42"/>
                  </a:cubicBezTo>
                  <a:cubicBezTo>
                    <a:pt x="17" y="42"/>
                    <a:pt x="0" y="34"/>
                    <a:pt x="8" y="26"/>
                  </a:cubicBezTo>
                  <a:cubicBezTo>
                    <a:pt x="8" y="17"/>
                    <a:pt x="17" y="0"/>
                    <a:pt x="25" y="0"/>
                  </a:cubicBezTo>
                  <a:cubicBezTo>
                    <a:pt x="900" y="9"/>
                    <a:pt x="900" y="9"/>
                    <a:pt x="900" y="9"/>
                  </a:cubicBezTo>
                  <a:cubicBezTo>
                    <a:pt x="908" y="9"/>
                    <a:pt x="917" y="17"/>
                    <a:pt x="917" y="26"/>
                  </a:cubicBezTo>
                  <a:cubicBezTo>
                    <a:pt x="917" y="42"/>
                    <a:pt x="908" y="51"/>
                    <a:pt x="900" y="51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5" name="Freeform 993">
            <a:extLst>
              <a:ext uri="{FF2B5EF4-FFF2-40B4-BE49-F238E27FC236}">
                <a16:creationId xmlns:a16="http://schemas.microsoft.com/office/drawing/2014/main" id="{0B3951D2-84CB-429A-8375-49DB4AA3A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77169" y="6885207"/>
            <a:ext cx="686077" cy="813628"/>
          </a:xfrm>
          <a:custGeom>
            <a:avLst/>
            <a:gdLst>
              <a:gd name="T0" fmla="*/ 308377 w 900"/>
              <a:gd name="T1" fmla="*/ 385401 h 1070"/>
              <a:gd name="T2" fmla="*/ 308377 w 900"/>
              <a:gd name="T3" fmla="*/ 385401 h 1070"/>
              <a:gd name="T4" fmla="*/ 12234 w 900"/>
              <a:gd name="T5" fmla="*/ 385401 h 1070"/>
              <a:gd name="T6" fmla="*/ 0 w 900"/>
              <a:gd name="T7" fmla="*/ 370259 h 1070"/>
              <a:gd name="T8" fmla="*/ 0 w 900"/>
              <a:gd name="T9" fmla="*/ 15142 h 1070"/>
              <a:gd name="T10" fmla="*/ 12234 w 900"/>
              <a:gd name="T11" fmla="*/ 0 h 1070"/>
              <a:gd name="T12" fmla="*/ 70168 w 900"/>
              <a:gd name="T13" fmla="*/ 0 h 1070"/>
              <a:gd name="T14" fmla="*/ 79163 w 900"/>
              <a:gd name="T15" fmla="*/ 9013 h 1070"/>
              <a:gd name="T16" fmla="*/ 70168 w 900"/>
              <a:gd name="T17" fmla="*/ 18387 h 1070"/>
              <a:gd name="T18" fmla="*/ 18352 w 900"/>
              <a:gd name="T19" fmla="*/ 18387 h 1070"/>
              <a:gd name="T20" fmla="*/ 18352 w 900"/>
              <a:gd name="T21" fmla="*/ 367015 h 1070"/>
              <a:gd name="T22" fmla="*/ 305499 w 900"/>
              <a:gd name="T23" fmla="*/ 367015 h 1070"/>
              <a:gd name="T24" fmla="*/ 305499 w 900"/>
              <a:gd name="T25" fmla="*/ 18387 h 1070"/>
              <a:gd name="T26" fmla="*/ 253323 w 900"/>
              <a:gd name="T27" fmla="*/ 18387 h 1070"/>
              <a:gd name="T28" fmla="*/ 244327 w 900"/>
              <a:gd name="T29" fmla="*/ 9013 h 1070"/>
              <a:gd name="T30" fmla="*/ 253323 w 900"/>
              <a:gd name="T31" fmla="*/ 0 h 1070"/>
              <a:gd name="T32" fmla="*/ 308377 w 900"/>
              <a:gd name="T33" fmla="*/ 0 h 1070"/>
              <a:gd name="T34" fmla="*/ 323490 w 900"/>
              <a:gd name="T35" fmla="*/ 15142 h 1070"/>
              <a:gd name="T36" fmla="*/ 323490 w 900"/>
              <a:gd name="T37" fmla="*/ 370259 h 1070"/>
              <a:gd name="T38" fmla="*/ 308377 w 900"/>
              <a:gd name="T39" fmla="*/ 385401 h 1070"/>
              <a:gd name="T40" fmla="*/ 308377 w 900"/>
              <a:gd name="T41" fmla="*/ 18387 h 1070"/>
              <a:gd name="T42" fmla="*/ 308377 w 900"/>
              <a:gd name="T43" fmla="*/ 18387 h 10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00" h="1070">
                <a:moveTo>
                  <a:pt x="857" y="1069"/>
                </a:moveTo>
                <a:lnTo>
                  <a:pt x="857" y="1069"/>
                </a:lnTo>
                <a:cubicBezTo>
                  <a:pt x="34" y="1069"/>
                  <a:pt x="34" y="1069"/>
                  <a:pt x="34" y="1069"/>
                </a:cubicBezTo>
                <a:cubicBezTo>
                  <a:pt x="17" y="1069"/>
                  <a:pt x="0" y="1052"/>
                  <a:pt x="0" y="102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"/>
                  <a:pt x="17" y="0"/>
                  <a:pt x="34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212" y="0"/>
                  <a:pt x="220" y="17"/>
                  <a:pt x="220" y="25"/>
                </a:cubicBezTo>
                <a:cubicBezTo>
                  <a:pt x="220" y="42"/>
                  <a:pt x="212" y="51"/>
                  <a:pt x="195" y="51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1018"/>
                  <a:pt x="51" y="1018"/>
                  <a:pt x="51" y="1018"/>
                </a:cubicBezTo>
                <a:cubicBezTo>
                  <a:pt x="849" y="1018"/>
                  <a:pt x="849" y="1018"/>
                  <a:pt x="849" y="1018"/>
                </a:cubicBezTo>
                <a:cubicBezTo>
                  <a:pt x="849" y="51"/>
                  <a:pt x="849" y="51"/>
                  <a:pt x="849" y="51"/>
                </a:cubicBezTo>
                <a:cubicBezTo>
                  <a:pt x="704" y="51"/>
                  <a:pt x="704" y="51"/>
                  <a:pt x="704" y="51"/>
                </a:cubicBezTo>
                <a:cubicBezTo>
                  <a:pt x="687" y="51"/>
                  <a:pt x="679" y="42"/>
                  <a:pt x="679" y="25"/>
                </a:cubicBezTo>
                <a:cubicBezTo>
                  <a:pt x="679" y="17"/>
                  <a:pt x="687" y="0"/>
                  <a:pt x="704" y="0"/>
                </a:cubicBezTo>
                <a:cubicBezTo>
                  <a:pt x="857" y="0"/>
                  <a:pt x="857" y="0"/>
                  <a:pt x="857" y="0"/>
                </a:cubicBezTo>
                <a:cubicBezTo>
                  <a:pt x="882" y="0"/>
                  <a:pt x="899" y="17"/>
                  <a:pt x="899" y="42"/>
                </a:cubicBezTo>
                <a:cubicBezTo>
                  <a:pt x="899" y="1027"/>
                  <a:pt x="899" y="1027"/>
                  <a:pt x="899" y="1027"/>
                </a:cubicBezTo>
                <a:cubicBezTo>
                  <a:pt x="899" y="1052"/>
                  <a:pt x="882" y="1069"/>
                  <a:pt x="857" y="1069"/>
                </a:cubicBezTo>
                <a:close/>
                <a:moveTo>
                  <a:pt x="857" y="51"/>
                </a:moveTo>
                <a:lnTo>
                  <a:pt x="857" y="51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6" name="Freeform 994">
            <a:extLst>
              <a:ext uri="{FF2B5EF4-FFF2-40B4-BE49-F238E27FC236}">
                <a16:creationId xmlns:a16="http://schemas.microsoft.com/office/drawing/2014/main" id="{ACBDEDE4-BD17-4D3A-A06F-5E7E84316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079405"/>
            <a:ext cx="137887" cy="137278"/>
          </a:xfrm>
          <a:custGeom>
            <a:avLst/>
            <a:gdLst>
              <a:gd name="T0" fmla="*/ 55324 w 180"/>
              <a:gd name="T1" fmla="*/ 64723 h 179"/>
              <a:gd name="T2" fmla="*/ 55324 w 180"/>
              <a:gd name="T3" fmla="*/ 64723 h 179"/>
              <a:gd name="T4" fmla="*/ 9401 w 180"/>
              <a:gd name="T5" fmla="*/ 64723 h 179"/>
              <a:gd name="T6" fmla="*/ 0 w 180"/>
              <a:gd name="T7" fmla="*/ 55269 h 179"/>
              <a:gd name="T8" fmla="*/ 0 w 180"/>
              <a:gd name="T9" fmla="*/ 9090 h 179"/>
              <a:gd name="T10" fmla="*/ 9401 w 180"/>
              <a:gd name="T11" fmla="*/ 0 h 179"/>
              <a:gd name="T12" fmla="*/ 55324 w 180"/>
              <a:gd name="T13" fmla="*/ 0 h 179"/>
              <a:gd name="T14" fmla="*/ 64725 w 180"/>
              <a:gd name="T15" fmla="*/ 9090 h 179"/>
              <a:gd name="T16" fmla="*/ 64725 w 180"/>
              <a:gd name="T17" fmla="*/ 55269 h 179"/>
              <a:gd name="T18" fmla="*/ 55324 w 180"/>
              <a:gd name="T19" fmla="*/ 64723 h 179"/>
              <a:gd name="T20" fmla="*/ 18441 w 180"/>
              <a:gd name="T21" fmla="*/ 46179 h 179"/>
              <a:gd name="T22" fmla="*/ 18441 w 180"/>
              <a:gd name="T23" fmla="*/ 46179 h 179"/>
              <a:gd name="T24" fmla="*/ 46284 w 180"/>
              <a:gd name="T25" fmla="*/ 46179 h 179"/>
              <a:gd name="T26" fmla="*/ 46284 w 180"/>
              <a:gd name="T27" fmla="*/ 18181 h 179"/>
              <a:gd name="T28" fmla="*/ 18441 w 180"/>
              <a:gd name="T29" fmla="*/ 18181 h 179"/>
              <a:gd name="T30" fmla="*/ 18441 w 180"/>
              <a:gd name="T31" fmla="*/ 46179 h 1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9">
                <a:moveTo>
                  <a:pt x="153" y="178"/>
                </a:moveTo>
                <a:lnTo>
                  <a:pt x="153" y="178"/>
                </a:lnTo>
                <a:cubicBezTo>
                  <a:pt x="26" y="178"/>
                  <a:pt x="26" y="178"/>
                  <a:pt x="26" y="178"/>
                </a:cubicBezTo>
                <a:cubicBezTo>
                  <a:pt x="9" y="178"/>
                  <a:pt x="0" y="161"/>
                  <a:pt x="0" y="1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8"/>
                  <a:pt x="179" y="25"/>
                </a:cubicBezTo>
                <a:cubicBezTo>
                  <a:pt x="179" y="152"/>
                  <a:pt x="179" y="152"/>
                  <a:pt x="179" y="152"/>
                </a:cubicBezTo>
                <a:cubicBezTo>
                  <a:pt x="179" y="161"/>
                  <a:pt x="162" y="178"/>
                  <a:pt x="153" y="178"/>
                </a:cubicBezTo>
                <a:close/>
                <a:moveTo>
                  <a:pt x="51" y="127"/>
                </a:moveTo>
                <a:lnTo>
                  <a:pt x="51" y="127"/>
                </a:lnTo>
                <a:cubicBezTo>
                  <a:pt x="128" y="127"/>
                  <a:pt x="128" y="127"/>
                  <a:pt x="128" y="127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51" y="50"/>
                  <a:pt x="51" y="50"/>
                  <a:pt x="51" y="50"/>
                </a:cubicBezTo>
                <a:lnTo>
                  <a:pt x="51" y="127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7" name="Freeform 995">
            <a:extLst>
              <a:ext uri="{FF2B5EF4-FFF2-40B4-BE49-F238E27FC236}">
                <a16:creationId xmlns:a16="http://schemas.microsoft.com/office/drawing/2014/main" id="{7C4C8CB3-1114-430B-B23C-F50D560A6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273605"/>
            <a:ext cx="137887" cy="130582"/>
          </a:xfrm>
          <a:custGeom>
            <a:avLst/>
            <a:gdLst>
              <a:gd name="T0" fmla="*/ 55324 w 180"/>
              <a:gd name="T1" fmla="*/ 61550 h 171"/>
              <a:gd name="T2" fmla="*/ 55324 w 180"/>
              <a:gd name="T3" fmla="*/ 61550 h 171"/>
              <a:gd name="T4" fmla="*/ 9401 w 180"/>
              <a:gd name="T5" fmla="*/ 61550 h 171"/>
              <a:gd name="T6" fmla="*/ 0 w 180"/>
              <a:gd name="T7" fmla="*/ 52136 h 171"/>
              <a:gd name="T8" fmla="*/ 0 w 180"/>
              <a:gd name="T9" fmla="*/ 9414 h 171"/>
              <a:gd name="T10" fmla="*/ 9401 w 180"/>
              <a:gd name="T11" fmla="*/ 0 h 171"/>
              <a:gd name="T12" fmla="*/ 55324 w 180"/>
              <a:gd name="T13" fmla="*/ 0 h 171"/>
              <a:gd name="T14" fmla="*/ 64725 w 180"/>
              <a:gd name="T15" fmla="*/ 9414 h 171"/>
              <a:gd name="T16" fmla="*/ 64725 w 180"/>
              <a:gd name="T17" fmla="*/ 52136 h 171"/>
              <a:gd name="T18" fmla="*/ 55324 w 180"/>
              <a:gd name="T19" fmla="*/ 61550 h 171"/>
              <a:gd name="T20" fmla="*/ 18441 w 180"/>
              <a:gd name="T21" fmla="*/ 43085 h 171"/>
              <a:gd name="T22" fmla="*/ 18441 w 180"/>
              <a:gd name="T23" fmla="*/ 43085 h 171"/>
              <a:gd name="T24" fmla="*/ 46284 w 180"/>
              <a:gd name="T25" fmla="*/ 43085 h 171"/>
              <a:gd name="T26" fmla="*/ 46284 w 180"/>
              <a:gd name="T27" fmla="*/ 15206 h 171"/>
              <a:gd name="T28" fmla="*/ 18441 w 180"/>
              <a:gd name="T29" fmla="*/ 15206 h 171"/>
              <a:gd name="T30" fmla="*/ 18441 w 180"/>
              <a:gd name="T31" fmla="*/ 43085 h 1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1">
                <a:moveTo>
                  <a:pt x="153" y="170"/>
                </a:moveTo>
                <a:lnTo>
                  <a:pt x="153" y="170"/>
                </a:lnTo>
                <a:cubicBezTo>
                  <a:pt x="26" y="170"/>
                  <a:pt x="26" y="170"/>
                  <a:pt x="26" y="170"/>
                </a:cubicBezTo>
                <a:cubicBezTo>
                  <a:pt x="9" y="170"/>
                  <a:pt x="0" y="161"/>
                  <a:pt x="0" y="144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9"/>
                  <a:pt x="179" y="26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9" y="161"/>
                  <a:pt x="162" y="170"/>
                  <a:pt x="153" y="170"/>
                </a:cubicBezTo>
                <a:close/>
                <a:moveTo>
                  <a:pt x="51" y="119"/>
                </a:moveTo>
                <a:lnTo>
                  <a:pt x="51" y="119"/>
                </a:lnTo>
                <a:cubicBezTo>
                  <a:pt x="128" y="119"/>
                  <a:pt x="128" y="119"/>
                  <a:pt x="128" y="119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1" y="42"/>
                  <a:pt x="51" y="42"/>
                  <a:pt x="51" y="42"/>
                </a:cubicBezTo>
                <a:lnTo>
                  <a:pt x="51" y="11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8" name="Freeform 996">
            <a:extLst>
              <a:ext uri="{FF2B5EF4-FFF2-40B4-BE49-F238E27FC236}">
                <a16:creationId xmlns:a16="http://schemas.microsoft.com/office/drawing/2014/main" id="{8588F888-9A9D-41CD-8E35-D3D1D38798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461106"/>
            <a:ext cx="137887" cy="137278"/>
          </a:xfrm>
          <a:custGeom>
            <a:avLst/>
            <a:gdLst>
              <a:gd name="T0" fmla="*/ 55324 w 180"/>
              <a:gd name="T1" fmla="*/ 64725 h 180"/>
              <a:gd name="T2" fmla="*/ 55324 w 180"/>
              <a:gd name="T3" fmla="*/ 64725 h 180"/>
              <a:gd name="T4" fmla="*/ 9401 w 180"/>
              <a:gd name="T5" fmla="*/ 64725 h 180"/>
              <a:gd name="T6" fmla="*/ 0 w 180"/>
              <a:gd name="T7" fmla="*/ 55324 h 180"/>
              <a:gd name="T8" fmla="*/ 0 w 180"/>
              <a:gd name="T9" fmla="*/ 9401 h 180"/>
              <a:gd name="T10" fmla="*/ 9401 w 180"/>
              <a:gd name="T11" fmla="*/ 0 h 180"/>
              <a:gd name="T12" fmla="*/ 55324 w 180"/>
              <a:gd name="T13" fmla="*/ 0 h 180"/>
              <a:gd name="T14" fmla="*/ 64725 w 180"/>
              <a:gd name="T15" fmla="*/ 9401 h 180"/>
              <a:gd name="T16" fmla="*/ 64725 w 180"/>
              <a:gd name="T17" fmla="*/ 55324 h 180"/>
              <a:gd name="T18" fmla="*/ 55324 w 180"/>
              <a:gd name="T19" fmla="*/ 64725 h 180"/>
              <a:gd name="T20" fmla="*/ 18441 w 180"/>
              <a:gd name="T21" fmla="*/ 46284 h 180"/>
              <a:gd name="T22" fmla="*/ 18441 w 180"/>
              <a:gd name="T23" fmla="*/ 46284 h 180"/>
              <a:gd name="T24" fmla="*/ 46284 w 180"/>
              <a:gd name="T25" fmla="*/ 46284 h 180"/>
              <a:gd name="T26" fmla="*/ 46284 w 180"/>
              <a:gd name="T27" fmla="*/ 18441 h 180"/>
              <a:gd name="T28" fmla="*/ 18441 w 180"/>
              <a:gd name="T29" fmla="*/ 18441 h 180"/>
              <a:gd name="T30" fmla="*/ 18441 w 180"/>
              <a:gd name="T31" fmla="*/ 46284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80">
                <a:moveTo>
                  <a:pt x="153" y="179"/>
                </a:moveTo>
                <a:lnTo>
                  <a:pt x="153" y="179"/>
                </a:lnTo>
                <a:cubicBezTo>
                  <a:pt x="26" y="179"/>
                  <a:pt x="26" y="179"/>
                  <a:pt x="26" y="179"/>
                </a:cubicBezTo>
                <a:cubicBezTo>
                  <a:pt x="9" y="179"/>
                  <a:pt x="0" y="170"/>
                  <a:pt x="0" y="1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17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17"/>
                  <a:pt x="179" y="26"/>
                </a:cubicBezTo>
                <a:cubicBezTo>
                  <a:pt x="179" y="153"/>
                  <a:pt x="179" y="153"/>
                  <a:pt x="179" y="153"/>
                </a:cubicBezTo>
                <a:cubicBezTo>
                  <a:pt x="179" y="170"/>
                  <a:pt x="162" y="179"/>
                  <a:pt x="153" y="179"/>
                </a:cubicBezTo>
                <a:close/>
                <a:moveTo>
                  <a:pt x="51" y="128"/>
                </a:moveTo>
                <a:lnTo>
                  <a:pt x="51" y="128"/>
                </a:lnTo>
                <a:cubicBezTo>
                  <a:pt x="128" y="128"/>
                  <a:pt x="128" y="128"/>
                  <a:pt x="128" y="128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51" y="51"/>
                  <a:pt x="51" y="51"/>
                  <a:pt x="51" y="51"/>
                </a:cubicBezTo>
                <a:lnTo>
                  <a:pt x="51" y="128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9" name="Freeform 997">
            <a:extLst>
              <a:ext uri="{FF2B5EF4-FFF2-40B4-BE49-F238E27FC236}">
                <a16:creationId xmlns:a16="http://schemas.microsoft.com/office/drawing/2014/main" id="{BF5CA5D1-0929-444B-B010-E4E723B3FF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126282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159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159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42"/>
                  <a:pt x="0" y="25"/>
                </a:cubicBezTo>
                <a:cubicBezTo>
                  <a:pt x="0" y="17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17"/>
                  <a:pt x="297" y="25"/>
                </a:cubicBezTo>
                <a:cubicBezTo>
                  <a:pt x="297" y="42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0" name="Freeform 998">
            <a:extLst>
              <a:ext uri="{FF2B5EF4-FFF2-40B4-BE49-F238E27FC236}">
                <a16:creationId xmlns:a16="http://schemas.microsoft.com/office/drawing/2014/main" id="{3CE96516-AB9D-4D6B-8784-EC569722DF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317132"/>
            <a:ext cx="228693" cy="40180"/>
          </a:xfrm>
          <a:custGeom>
            <a:avLst/>
            <a:gdLst>
              <a:gd name="T0" fmla="*/ 101430 w 298"/>
              <a:gd name="T1" fmla="*/ 18676 h 51"/>
              <a:gd name="T2" fmla="*/ 101430 w 298"/>
              <a:gd name="T3" fmla="*/ 18676 h 51"/>
              <a:gd name="T4" fmla="*/ 9418 w 298"/>
              <a:gd name="T5" fmla="*/ 18676 h 51"/>
              <a:gd name="T6" fmla="*/ 0 w 298"/>
              <a:gd name="T7" fmla="*/ 9338 h 51"/>
              <a:gd name="T8" fmla="*/ 9418 w 298"/>
              <a:gd name="T9" fmla="*/ 0 h 51"/>
              <a:gd name="T10" fmla="*/ 101430 w 298"/>
              <a:gd name="T11" fmla="*/ 0 h 51"/>
              <a:gd name="T12" fmla="*/ 107588 w 298"/>
              <a:gd name="T13" fmla="*/ 9338 h 51"/>
              <a:gd name="T14" fmla="*/ 101430 w 298"/>
              <a:gd name="T15" fmla="*/ 18676 h 5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1">
                <a:moveTo>
                  <a:pt x="280" y="50"/>
                </a:moveTo>
                <a:lnTo>
                  <a:pt x="280" y="50"/>
                </a:lnTo>
                <a:cubicBezTo>
                  <a:pt x="26" y="50"/>
                  <a:pt x="26" y="50"/>
                  <a:pt x="26" y="50"/>
                </a:cubicBezTo>
                <a:cubicBezTo>
                  <a:pt x="9" y="50"/>
                  <a:pt x="0" y="42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8"/>
                  <a:pt x="297" y="25"/>
                </a:cubicBezTo>
                <a:cubicBezTo>
                  <a:pt x="297" y="42"/>
                  <a:pt x="289" y="50"/>
                  <a:pt x="280" y="50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1" name="Freeform 999">
            <a:extLst>
              <a:ext uri="{FF2B5EF4-FFF2-40B4-BE49-F238E27FC236}">
                <a16:creationId xmlns:a16="http://schemas.microsoft.com/office/drawing/2014/main" id="{FD353D14-0162-4434-81F9-8EFBDDB8F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511330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525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525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34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9"/>
                  <a:pt x="297" y="26"/>
                </a:cubicBezTo>
                <a:cubicBezTo>
                  <a:pt x="297" y="34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2" name="Freeform 1000">
            <a:extLst>
              <a:ext uri="{FF2B5EF4-FFF2-40B4-BE49-F238E27FC236}">
                <a16:creationId xmlns:a16="http://schemas.microsoft.com/office/drawing/2014/main" id="{014ACAB3-6894-47BD-BB7D-0B110CDC0E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778" y="6794801"/>
            <a:ext cx="326222" cy="214289"/>
          </a:xfrm>
          <a:custGeom>
            <a:avLst/>
            <a:gdLst>
              <a:gd name="T0" fmla="*/ 141335 w 426"/>
              <a:gd name="T1" fmla="*/ 101238 h 281"/>
              <a:gd name="T2" fmla="*/ 141335 w 426"/>
              <a:gd name="T3" fmla="*/ 101238 h 281"/>
              <a:gd name="T4" fmla="*/ 9398 w 426"/>
              <a:gd name="T5" fmla="*/ 101238 h 281"/>
              <a:gd name="T6" fmla="*/ 0 w 426"/>
              <a:gd name="T7" fmla="*/ 88945 h 281"/>
              <a:gd name="T8" fmla="*/ 0 w 426"/>
              <a:gd name="T9" fmla="*/ 52065 h 281"/>
              <a:gd name="T10" fmla="*/ 0 w 426"/>
              <a:gd name="T11" fmla="*/ 49173 h 281"/>
              <a:gd name="T12" fmla="*/ 30725 w 426"/>
              <a:gd name="T13" fmla="*/ 12293 h 281"/>
              <a:gd name="T14" fmla="*/ 76994 w 426"/>
              <a:gd name="T15" fmla="*/ 0 h 281"/>
              <a:gd name="T16" fmla="*/ 122900 w 426"/>
              <a:gd name="T17" fmla="*/ 12293 h 281"/>
              <a:gd name="T18" fmla="*/ 150372 w 426"/>
              <a:gd name="T19" fmla="*/ 49173 h 281"/>
              <a:gd name="T20" fmla="*/ 153626 w 426"/>
              <a:gd name="T21" fmla="*/ 52065 h 281"/>
              <a:gd name="T22" fmla="*/ 153626 w 426"/>
              <a:gd name="T23" fmla="*/ 88945 h 281"/>
              <a:gd name="T24" fmla="*/ 141335 w 426"/>
              <a:gd name="T25" fmla="*/ 101238 h 281"/>
              <a:gd name="T26" fmla="*/ 18435 w 426"/>
              <a:gd name="T27" fmla="*/ 82799 h 281"/>
              <a:gd name="T28" fmla="*/ 18435 w 426"/>
              <a:gd name="T29" fmla="*/ 82799 h 281"/>
              <a:gd name="T30" fmla="*/ 135190 w 426"/>
              <a:gd name="T31" fmla="*/ 82799 h 281"/>
              <a:gd name="T32" fmla="*/ 135190 w 426"/>
              <a:gd name="T33" fmla="*/ 55320 h 281"/>
              <a:gd name="T34" fmla="*/ 113502 w 426"/>
              <a:gd name="T35" fmla="*/ 27841 h 281"/>
              <a:gd name="T36" fmla="*/ 76994 w 426"/>
              <a:gd name="T37" fmla="*/ 15547 h 281"/>
              <a:gd name="T38" fmla="*/ 40123 w 426"/>
              <a:gd name="T39" fmla="*/ 27841 h 281"/>
              <a:gd name="T40" fmla="*/ 18435 w 426"/>
              <a:gd name="T41" fmla="*/ 55320 h 281"/>
              <a:gd name="T42" fmla="*/ 18435 w 426"/>
              <a:gd name="T43" fmla="*/ 82799 h 2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26" h="281">
                <a:moveTo>
                  <a:pt x="391" y="280"/>
                </a:moveTo>
                <a:lnTo>
                  <a:pt x="391" y="280"/>
                </a:lnTo>
                <a:cubicBezTo>
                  <a:pt x="26" y="280"/>
                  <a:pt x="26" y="280"/>
                  <a:pt x="26" y="280"/>
                </a:cubicBezTo>
                <a:cubicBezTo>
                  <a:pt x="17" y="280"/>
                  <a:pt x="0" y="263"/>
                  <a:pt x="0" y="246"/>
                </a:cubicBezTo>
                <a:cubicBezTo>
                  <a:pt x="0" y="144"/>
                  <a:pt x="0" y="144"/>
                  <a:pt x="0" y="144"/>
                </a:cubicBezTo>
                <a:lnTo>
                  <a:pt x="0" y="136"/>
                </a:lnTo>
                <a:cubicBezTo>
                  <a:pt x="17" y="93"/>
                  <a:pt x="43" y="59"/>
                  <a:pt x="85" y="34"/>
                </a:cubicBezTo>
                <a:cubicBezTo>
                  <a:pt x="119" y="9"/>
                  <a:pt x="162" y="0"/>
                  <a:pt x="213" y="0"/>
                </a:cubicBezTo>
                <a:cubicBezTo>
                  <a:pt x="255" y="0"/>
                  <a:pt x="298" y="9"/>
                  <a:pt x="340" y="34"/>
                </a:cubicBezTo>
                <a:cubicBezTo>
                  <a:pt x="374" y="59"/>
                  <a:pt x="408" y="93"/>
                  <a:pt x="416" y="136"/>
                </a:cubicBezTo>
                <a:cubicBezTo>
                  <a:pt x="425" y="136"/>
                  <a:pt x="425" y="144"/>
                  <a:pt x="425" y="144"/>
                </a:cubicBezTo>
                <a:cubicBezTo>
                  <a:pt x="425" y="246"/>
                  <a:pt x="425" y="246"/>
                  <a:pt x="425" y="246"/>
                </a:cubicBezTo>
                <a:cubicBezTo>
                  <a:pt x="425" y="263"/>
                  <a:pt x="408" y="280"/>
                  <a:pt x="391" y="280"/>
                </a:cubicBezTo>
                <a:close/>
                <a:moveTo>
                  <a:pt x="51" y="229"/>
                </a:moveTo>
                <a:lnTo>
                  <a:pt x="51" y="229"/>
                </a:lnTo>
                <a:cubicBezTo>
                  <a:pt x="374" y="229"/>
                  <a:pt x="374" y="229"/>
                  <a:pt x="374" y="229"/>
                </a:cubicBezTo>
                <a:cubicBezTo>
                  <a:pt x="374" y="153"/>
                  <a:pt x="374" y="153"/>
                  <a:pt x="374" y="153"/>
                </a:cubicBezTo>
                <a:cubicBezTo>
                  <a:pt x="357" y="119"/>
                  <a:pt x="340" y="93"/>
                  <a:pt x="314" y="77"/>
                </a:cubicBezTo>
                <a:cubicBezTo>
                  <a:pt x="280" y="59"/>
                  <a:pt x="246" y="43"/>
                  <a:pt x="213" y="43"/>
                </a:cubicBezTo>
                <a:cubicBezTo>
                  <a:pt x="170" y="43"/>
                  <a:pt x="136" y="59"/>
                  <a:pt x="111" y="77"/>
                </a:cubicBezTo>
                <a:cubicBezTo>
                  <a:pt x="85" y="93"/>
                  <a:pt x="60" y="119"/>
                  <a:pt x="51" y="153"/>
                </a:cubicBezTo>
                <a:lnTo>
                  <a:pt x="51" y="22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  <a:latin typeface="Trebuchet"/>
            </a:endParaRPr>
          </a:p>
        </p:txBody>
      </p:sp>
      <p:sp>
        <p:nvSpPr>
          <p:cNvPr id="403" name="CuadroTexto 395">
            <a:extLst>
              <a:ext uri="{FF2B5EF4-FFF2-40B4-BE49-F238E27FC236}">
                <a16:creationId xmlns:a16="http://schemas.microsoft.com/office/drawing/2014/main" id="{79B8F1CF-7E8A-4FE0-8BAF-4760D6184066}"/>
              </a:ext>
            </a:extLst>
          </p:cNvPr>
          <p:cNvSpPr txBox="1"/>
          <p:nvPr userDrawn="1"/>
        </p:nvSpPr>
        <p:spPr>
          <a:xfrm>
            <a:off x="7562158" y="2766582"/>
            <a:ext cx="224959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esquisa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e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Satisf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4" name="CuadroTexto 395">
            <a:extLst>
              <a:ext uri="{FF2B5EF4-FFF2-40B4-BE49-F238E27FC236}">
                <a16:creationId xmlns:a16="http://schemas.microsoft.com/office/drawing/2014/main" id="{A1BCD024-7372-46CF-814C-8BC0569CE1E8}"/>
              </a:ext>
            </a:extLst>
          </p:cNvPr>
          <p:cNvSpPr txBox="1"/>
          <p:nvPr userDrawn="1"/>
        </p:nvSpPr>
        <p:spPr>
          <a:xfrm>
            <a:off x="10775350" y="2767123"/>
            <a:ext cx="175893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Relatório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Final</a:t>
            </a:r>
          </a:p>
        </p:txBody>
      </p:sp>
      <p:sp>
        <p:nvSpPr>
          <p:cNvPr id="405" name="CuadroTexto 395">
            <a:extLst>
              <a:ext uri="{FF2B5EF4-FFF2-40B4-BE49-F238E27FC236}">
                <a16:creationId xmlns:a16="http://schemas.microsoft.com/office/drawing/2014/main" id="{95DDD58E-A317-4E91-8E51-185D92974733}"/>
              </a:ext>
            </a:extLst>
          </p:cNvPr>
          <p:cNvSpPr txBox="1"/>
          <p:nvPr userDrawn="1"/>
        </p:nvSpPr>
        <p:spPr>
          <a:xfrm>
            <a:off x="12987438" y="2767124"/>
            <a:ext cx="3081905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companhamento das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ções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7" name="CuadroTexto 395">
            <a:extLst>
              <a:ext uri="{FF2B5EF4-FFF2-40B4-BE49-F238E27FC236}">
                <a16:creationId xmlns:a16="http://schemas.microsoft.com/office/drawing/2014/main" id="{F851D7B0-C06E-4256-9B76-A3B7965A7FC7}"/>
              </a:ext>
            </a:extLst>
          </p:cNvPr>
          <p:cNvSpPr txBox="1"/>
          <p:nvPr/>
        </p:nvSpPr>
        <p:spPr>
          <a:xfrm>
            <a:off x="7481526" y="5378484"/>
            <a:ext cx="2420158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present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0" name="CuadroTexto 395">
            <a:extLst>
              <a:ext uri="{FF2B5EF4-FFF2-40B4-BE49-F238E27FC236}">
                <a16:creationId xmlns:a16="http://schemas.microsoft.com/office/drawing/2014/main" id="{E0947B8F-13EC-4AEE-B215-504608D02E3A}"/>
              </a:ext>
            </a:extLst>
          </p:cNvPr>
          <p:cNvSpPr txBox="1"/>
          <p:nvPr/>
        </p:nvSpPr>
        <p:spPr>
          <a:xfrm>
            <a:off x="10550343" y="5378484"/>
            <a:ext cx="2128245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Conclus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3" name="CuadroTexto 395">
            <a:extLst>
              <a:ext uri="{FF2B5EF4-FFF2-40B4-BE49-F238E27FC236}">
                <a16:creationId xmlns:a16="http://schemas.microsoft.com/office/drawing/2014/main" id="{2441EB75-C4C9-46E4-BF8E-21D9963ECEC2}"/>
              </a:ext>
            </a:extLst>
          </p:cNvPr>
          <p:cNvSpPr txBox="1"/>
          <p:nvPr/>
        </p:nvSpPr>
        <p:spPr>
          <a:xfrm>
            <a:off x="13555809" y="5359816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Testes</a:t>
            </a:r>
          </a:p>
        </p:txBody>
      </p:sp>
      <p:sp>
        <p:nvSpPr>
          <p:cNvPr id="416" name="CuadroTexto 395">
            <a:extLst>
              <a:ext uri="{FF2B5EF4-FFF2-40B4-BE49-F238E27FC236}">
                <a16:creationId xmlns:a16="http://schemas.microsoft.com/office/drawing/2014/main" id="{B6B8AAAE-4FEC-4406-B6DD-3789C7298F2F}"/>
              </a:ext>
            </a:extLst>
          </p:cNvPr>
          <p:cNvSpPr txBox="1"/>
          <p:nvPr/>
        </p:nvSpPr>
        <p:spPr>
          <a:xfrm>
            <a:off x="7767739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o</a:t>
            </a:r>
          </a:p>
        </p:txBody>
      </p:sp>
      <p:sp>
        <p:nvSpPr>
          <p:cNvPr id="419" name="CuadroTexto 395">
            <a:extLst>
              <a:ext uri="{FF2B5EF4-FFF2-40B4-BE49-F238E27FC236}">
                <a16:creationId xmlns:a16="http://schemas.microsoft.com/office/drawing/2014/main" id="{7CE93F1D-6021-42E6-AD64-E80F88023975}"/>
              </a:ext>
            </a:extLst>
          </p:cNvPr>
          <p:cNvSpPr txBox="1"/>
          <p:nvPr/>
        </p:nvSpPr>
        <p:spPr>
          <a:xfrm>
            <a:off x="10260125" y="8028248"/>
            <a:ext cx="2714377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ejament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2" name="CuadroTexto 395">
            <a:extLst>
              <a:ext uri="{FF2B5EF4-FFF2-40B4-BE49-F238E27FC236}">
                <a16:creationId xmlns:a16="http://schemas.microsoft.com/office/drawing/2014/main" id="{4D8A3DDB-871E-42BC-912B-B301C2332C60}"/>
              </a:ext>
            </a:extLst>
          </p:cNvPr>
          <p:cNvSpPr txBox="1"/>
          <p:nvPr/>
        </p:nvSpPr>
        <p:spPr>
          <a:xfrm>
            <a:off x="13630813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bertura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4" name="Freeform 747">
            <a:extLst>
              <a:ext uri="{FF2B5EF4-FFF2-40B4-BE49-F238E27FC236}">
                <a16:creationId xmlns:a16="http://schemas.microsoft.com/office/drawing/2014/main" id="{4783C306-DCB0-42E7-B793-C48B008FB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25028" y="6647480"/>
            <a:ext cx="1197273" cy="1191982"/>
          </a:xfrm>
          <a:custGeom>
            <a:avLst/>
            <a:gdLst>
              <a:gd name="T0" fmla="*/ 510075 w 1570"/>
              <a:gd name="T1" fmla="*/ 564790 h 1571"/>
              <a:gd name="T2" fmla="*/ 510075 w 1570"/>
              <a:gd name="T3" fmla="*/ 564790 h 1571"/>
              <a:gd name="T4" fmla="*/ 52195 w 1570"/>
              <a:gd name="T5" fmla="*/ 564790 h 1571"/>
              <a:gd name="T6" fmla="*/ 0 w 1570"/>
              <a:gd name="T7" fmla="*/ 512988 h 1571"/>
              <a:gd name="T8" fmla="*/ 0 w 1570"/>
              <a:gd name="T9" fmla="*/ 55040 h 1571"/>
              <a:gd name="T10" fmla="*/ 52195 w 1570"/>
              <a:gd name="T11" fmla="*/ 0 h 1571"/>
              <a:gd name="T12" fmla="*/ 510075 w 1570"/>
              <a:gd name="T13" fmla="*/ 0 h 1571"/>
              <a:gd name="T14" fmla="*/ 564790 w 1570"/>
              <a:gd name="T15" fmla="*/ 55040 h 1571"/>
              <a:gd name="T16" fmla="*/ 564790 w 1570"/>
              <a:gd name="T17" fmla="*/ 512988 h 1571"/>
              <a:gd name="T18" fmla="*/ 510075 w 157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1">
                <a:moveTo>
                  <a:pt x="1417" y="1570"/>
                </a:moveTo>
                <a:lnTo>
                  <a:pt x="1417" y="1570"/>
                </a:lnTo>
                <a:cubicBezTo>
                  <a:pt x="145" y="1570"/>
                  <a:pt x="145" y="1570"/>
                  <a:pt x="145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8"/>
                  <a:pt x="1569" y="153"/>
                </a:cubicBezTo>
                <a:cubicBezTo>
                  <a:pt x="1569" y="1426"/>
                  <a:pt x="1569" y="1426"/>
                  <a:pt x="1569" y="1426"/>
                </a:cubicBezTo>
                <a:cubicBezTo>
                  <a:pt x="1569" y="1502"/>
                  <a:pt x="1502" y="1570"/>
                  <a:pt x="1417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02B4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5" name="Gráfico 424" descr="Marca de verificação do selo com preenchimento sólido">
            <a:extLst>
              <a:ext uri="{FF2B5EF4-FFF2-40B4-BE49-F238E27FC236}">
                <a16:creationId xmlns:a16="http://schemas.microsoft.com/office/drawing/2014/main" id="{E80A37E3-2EE5-4667-96F5-D5EFE57D0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8891" y="6799453"/>
            <a:ext cx="939063" cy="934913"/>
          </a:xfrm>
          <a:prstGeom prst="rect">
            <a:avLst/>
          </a:prstGeom>
        </p:spPr>
      </p:pic>
      <p:sp>
        <p:nvSpPr>
          <p:cNvPr id="426" name="Freeform 746">
            <a:extLst>
              <a:ext uri="{FF2B5EF4-FFF2-40B4-BE49-F238E27FC236}">
                <a16:creationId xmlns:a16="http://schemas.microsoft.com/office/drawing/2014/main" id="{66F9DD58-260A-4B08-804F-9138455CA9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836507" y="4059270"/>
            <a:ext cx="1197273" cy="1198679"/>
          </a:xfrm>
          <a:custGeom>
            <a:avLst/>
            <a:gdLst>
              <a:gd name="T0" fmla="*/ 512988 w 1571"/>
              <a:gd name="T1" fmla="*/ 567965 h 1578"/>
              <a:gd name="T2" fmla="*/ 512988 w 1571"/>
              <a:gd name="T3" fmla="*/ 567965 h 1578"/>
              <a:gd name="T4" fmla="*/ 55040 w 1571"/>
              <a:gd name="T5" fmla="*/ 567965 h 1578"/>
              <a:gd name="T6" fmla="*/ 0 w 1571"/>
              <a:gd name="T7" fmla="*/ 512861 h 1578"/>
              <a:gd name="T8" fmla="*/ 0 w 1571"/>
              <a:gd name="T9" fmla="*/ 54744 h 1578"/>
              <a:gd name="T10" fmla="*/ 55040 w 1571"/>
              <a:gd name="T11" fmla="*/ 0 h 1578"/>
              <a:gd name="T12" fmla="*/ 512988 w 1571"/>
              <a:gd name="T13" fmla="*/ 0 h 1578"/>
              <a:gd name="T14" fmla="*/ 564790 w 1571"/>
              <a:gd name="T15" fmla="*/ 54744 h 1578"/>
              <a:gd name="T16" fmla="*/ 564790 w 1571"/>
              <a:gd name="T17" fmla="*/ 512861 h 1578"/>
              <a:gd name="T18" fmla="*/ 512988 w 1571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7"/>
                  <a:pt x="1570" y="152"/>
                </a:cubicBezTo>
                <a:cubicBezTo>
                  <a:pt x="1570" y="1424"/>
                  <a:pt x="1570" y="1424"/>
                  <a:pt x="1570" y="1424"/>
                </a:cubicBezTo>
                <a:cubicBezTo>
                  <a:pt x="1570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8AABCA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7" name="Gráfico 426" descr="Análise do cliente com preenchimento sólido">
            <a:extLst>
              <a:ext uri="{FF2B5EF4-FFF2-40B4-BE49-F238E27FC236}">
                <a16:creationId xmlns:a16="http://schemas.microsoft.com/office/drawing/2014/main" id="{4CA941C0-45E4-48D2-A80A-E5C6E802D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9163" y="4225593"/>
            <a:ext cx="851955" cy="848189"/>
          </a:xfrm>
          <a:prstGeom prst="rect">
            <a:avLst/>
          </a:prstGeom>
        </p:spPr>
      </p:pic>
      <p:pic>
        <p:nvPicPr>
          <p:cNvPr id="428" name="Gráfico 427" descr="Apresentação com lista de verificação com preenchimento sólido">
            <a:extLst>
              <a:ext uri="{FF2B5EF4-FFF2-40B4-BE49-F238E27FC236}">
                <a16:creationId xmlns:a16="http://schemas.microsoft.com/office/drawing/2014/main" id="{293E3D97-C3CF-413A-A942-75202E79EA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434" y="4221502"/>
            <a:ext cx="851955" cy="848189"/>
          </a:xfrm>
          <a:prstGeom prst="rect">
            <a:avLst/>
          </a:prstGeom>
        </p:spPr>
      </p:pic>
      <p:sp>
        <p:nvSpPr>
          <p:cNvPr id="429" name="Line 551">
            <a:extLst>
              <a:ext uri="{FF2B5EF4-FFF2-40B4-BE49-F238E27FC236}">
                <a16:creationId xmlns:a16="http://schemas.microsoft.com/office/drawing/2014/main" id="{036000FA-7E43-45DA-963D-2407AF86D98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91884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0" name="Line 552">
            <a:extLst>
              <a:ext uri="{FF2B5EF4-FFF2-40B4-BE49-F238E27FC236}">
                <a16:creationId xmlns:a16="http://schemas.microsoft.com/office/drawing/2014/main" id="{0A8742C1-6B96-46D0-B81A-86F6901140A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713691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1" name="Line 553">
            <a:extLst>
              <a:ext uri="{FF2B5EF4-FFF2-40B4-BE49-F238E27FC236}">
                <a16:creationId xmlns:a16="http://schemas.microsoft.com/office/drawing/2014/main" id="{123518FE-426F-419A-BE07-8B36031F8173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505179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2" name="Line 554">
            <a:extLst>
              <a:ext uri="{FF2B5EF4-FFF2-40B4-BE49-F238E27FC236}">
                <a16:creationId xmlns:a16="http://schemas.microsoft.com/office/drawing/2014/main" id="{0EA0BB59-C4E4-4042-A760-84BC1D215BD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296664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3" name="Line 555">
            <a:extLst>
              <a:ext uri="{FF2B5EF4-FFF2-40B4-BE49-F238E27FC236}">
                <a16:creationId xmlns:a16="http://schemas.microsoft.com/office/drawing/2014/main" id="{A26B4481-C68F-4E41-A208-74C54C5F477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09151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4" name="Line 648">
            <a:extLst>
              <a:ext uri="{FF2B5EF4-FFF2-40B4-BE49-F238E27FC236}">
                <a16:creationId xmlns:a16="http://schemas.microsoft.com/office/drawing/2014/main" id="{E84E94BE-A2CE-4434-9E4B-44DF3FA4A9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148685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5" name="Line 649">
            <a:extLst>
              <a:ext uri="{FF2B5EF4-FFF2-40B4-BE49-F238E27FC236}">
                <a16:creationId xmlns:a16="http://schemas.microsoft.com/office/drawing/2014/main" id="{B0A5A7EE-8140-4D7C-8383-474D2B6B9A8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353836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6" name="Line 650">
            <a:extLst>
              <a:ext uri="{FF2B5EF4-FFF2-40B4-BE49-F238E27FC236}">
                <a16:creationId xmlns:a16="http://schemas.microsoft.com/office/drawing/2014/main" id="{DF5F3856-B351-464F-93B1-63B51A4AE60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562351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7" name="Line 651">
            <a:extLst>
              <a:ext uri="{FF2B5EF4-FFF2-40B4-BE49-F238E27FC236}">
                <a16:creationId xmlns:a16="http://schemas.microsoft.com/office/drawing/2014/main" id="{E4F5D741-4D83-4BA7-A9C6-A26AF3B9E1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767502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8" name="Line 652">
            <a:extLst>
              <a:ext uri="{FF2B5EF4-FFF2-40B4-BE49-F238E27FC236}">
                <a16:creationId xmlns:a16="http://schemas.microsoft.com/office/drawing/2014/main" id="{11B78DA9-5BF0-471E-8A4F-986B14F590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976014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9" name="Freeform 745">
            <a:extLst>
              <a:ext uri="{FF2B5EF4-FFF2-40B4-BE49-F238E27FC236}">
                <a16:creationId xmlns:a16="http://schemas.microsoft.com/office/drawing/2014/main" id="{84BF3944-148B-42A1-A7A9-27B2185139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7522" y="6680843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0" name="Freeform 966">
            <a:extLst>
              <a:ext uri="{FF2B5EF4-FFF2-40B4-BE49-F238E27FC236}">
                <a16:creationId xmlns:a16="http://schemas.microsoft.com/office/drawing/2014/main" id="{0FA8A307-33F5-42B8-944C-8428255AF0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458094" y="6814772"/>
            <a:ext cx="319496" cy="800234"/>
          </a:xfrm>
          <a:custGeom>
            <a:avLst/>
            <a:gdLst>
              <a:gd name="T0" fmla="*/ 122964 w 417"/>
              <a:gd name="T1" fmla="*/ 379052 h 1053"/>
              <a:gd name="T2" fmla="*/ 122964 w 417"/>
              <a:gd name="T3" fmla="*/ 379052 h 1053"/>
              <a:gd name="T4" fmla="*/ 27848 w 417"/>
              <a:gd name="T5" fmla="*/ 379052 h 1053"/>
              <a:gd name="T6" fmla="*/ 15551 w 417"/>
              <a:gd name="T7" fmla="*/ 366801 h 1053"/>
              <a:gd name="T8" fmla="*/ 6148 w 417"/>
              <a:gd name="T9" fmla="*/ 256905 h 1053"/>
              <a:gd name="T10" fmla="*/ 58589 w 417"/>
              <a:gd name="T11" fmla="*/ 21259 h 1053"/>
              <a:gd name="T12" fmla="*/ 64737 w 417"/>
              <a:gd name="T13" fmla="*/ 6125 h 1053"/>
              <a:gd name="T14" fmla="*/ 73779 w 417"/>
              <a:gd name="T15" fmla="*/ 0 h 1053"/>
              <a:gd name="T16" fmla="*/ 73779 w 417"/>
              <a:gd name="T17" fmla="*/ 0 h 1053"/>
              <a:gd name="T18" fmla="*/ 83182 w 417"/>
              <a:gd name="T19" fmla="*/ 6125 h 1053"/>
              <a:gd name="T20" fmla="*/ 86075 w 417"/>
              <a:gd name="T21" fmla="*/ 12251 h 1053"/>
              <a:gd name="T22" fmla="*/ 141409 w 417"/>
              <a:gd name="T23" fmla="*/ 269156 h 1053"/>
              <a:gd name="T24" fmla="*/ 132006 w 417"/>
              <a:gd name="T25" fmla="*/ 269156 h 1053"/>
              <a:gd name="T26" fmla="*/ 141409 w 417"/>
              <a:gd name="T27" fmla="*/ 269156 h 1053"/>
              <a:gd name="T28" fmla="*/ 132006 w 417"/>
              <a:gd name="T29" fmla="*/ 370044 h 1053"/>
              <a:gd name="T30" fmla="*/ 122964 w 417"/>
              <a:gd name="T31" fmla="*/ 379052 h 1053"/>
              <a:gd name="T32" fmla="*/ 36889 w 417"/>
              <a:gd name="T33" fmla="*/ 357793 h 1053"/>
              <a:gd name="T34" fmla="*/ 36889 w 417"/>
              <a:gd name="T35" fmla="*/ 357793 h 1053"/>
              <a:gd name="T36" fmla="*/ 113561 w 417"/>
              <a:gd name="T37" fmla="*/ 357793 h 1053"/>
              <a:gd name="T38" fmla="*/ 122964 w 417"/>
              <a:gd name="T39" fmla="*/ 269156 h 1053"/>
              <a:gd name="T40" fmla="*/ 73779 w 417"/>
              <a:gd name="T41" fmla="*/ 33509 h 1053"/>
              <a:gd name="T42" fmla="*/ 27848 w 417"/>
              <a:gd name="T43" fmla="*/ 253662 h 1053"/>
              <a:gd name="T44" fmla="*/ 36889 w 417"/>
              <a:gd name="T45" fmla="*/ 357793 h 105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17" h="1053">
                <a:moveTo>
                  <a:pt x="340" y="1052"/>
                </a:moveTo>
                <a:lnTo>
                  <a:pt x="340" y="1052"/>
                </a:lnTo>
                <a:cubicBezTo>
                  <a:pt x="77" y="1052"/>
                  <a:pt x="77" y="1052"/>
                  <a:pt x="77" y="1052"/>
                </a:cubicBezTo>
                <a:cubicBezTo>
                  <a:pt x="60" y="1052"/>
                  <a:pt x="43" y="1035"/>
                  <a:pt x="43" y="1018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501"/>
                  <a:pt x="51" y="280"/>
                  <a:pt x="162" y="59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7" y="8"/>
                  <a:pt x="196" y="0"/>
                  <a:pt x="204" y="0"/>
                </a:cubicBezTo>
                <a:cubicBezTo>
                  <a:pt x="213" y="0"/>
                  <a:pt x="230" y="8"/>
                  <a:pt x="230" y="17"/>
                </a:cubicBezTo>
                <a:cubicBezTo>
                  <a:pt x="238" y="34"/>
                  <a:pt x="238" y="34"/>
                  <a:pt x="238" y="34"/>
                </a:cubicBezTo>
                <a:cubicBezTo>
                  <a:pt x="365" y="254"/>
                  <a:pt x="416" y="501"/>
                  <a:pt x="391" y="747"/>
                </a:cubicBezTo>
                <a:cubicBezTo>
                  <a:pt x="365" y="747"/>
                  <a:pt x="365" y="747"/>
                  <a:pt x="365" y="747"/>
                </a:cubicBezTo>
                <a:cubicBezTo>
                  <a:pt x="391" y="747"/>
                  <a:pt x="391" y="747"/>
                  <a:pt x="391" y="747"/>
                </a:cubicBezTo>
                <a:cubicBezTo>
                  <a:pt x="365" y="1027"/>
                  <a:pt x="365" y="1027"/>
                  <a:pt x="365" y="1027"/>
                </a:cubicBezTo>
                <a:cubicBezTo>
                  <a:pt x="365" y="1035"/>
                  <a:pt x="357" y="1052"/>
                  <a:pt x="340" y="1052"/>
                </a:cubicBezTo>
                <a:close/>
                <a:moveTo>
                  <a:pt x="102" y="993"/>
                </a:moveTo>
                <a:lnTo>
                  <a:pt x="102" y="993"/>
                </a:lnTo>
                <a:cubicBezTo>
                  <a:pt x="314" y="993"/>
                  <a:pt x="314" y="993"/>
                  <a:pt x="314" y="993"/>
                </a:cubicBezTo>
                <a:cubicBezTo>
                  <a:pt x="340" y="747"/>
                  <a:pt x="340" y="747"/>
                  <a:pt x="340" y="747"/>
                </a:cubicBezTo>
                <a:cubicBezTo>
                  <a:pt x="357" y="518"/>
                  <a:pt x="314" y="297"/>
                  <a:pt x="204" y="93"/>
                </a:cubicBezTo>
                <a:cubicBezTo>
                  <a:pt x="102" y="297"/>
                  <a:pt x="60" y="501"/>
                  <a:pt x="77" y="704"/>
                </a:cubicBezTo>
                <a:lnTo>
                  <a:pt x="102" y="99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1" name="Freeform 967">
            <a:extLst>
              <a:ext uri="{FF2B5EF4-FFF2-40B4-BE49-F238E27FC236}">
                <a16:creationId xmlns:a16="http://schemas.microsoft.com/office/drawing/2014/main" id="{318E693C-FF7B-45C1-A48E-79C090D4C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690147" y="7397371"/>
            <a:ext cx="161430" cy="348220"/>
          </a:xfrm>
          <a:custGeom>
            <a:avLst/>
            <a:gdLst>
              <a:gd name="T0" fmla="*/ 66899 w 213"/>
              <a:gd name="T1" fmla="*/ 164740 h 458"/>
              <a:gd name="T2" fmla="*/ 66899 w 213"/>
              <a:gd name="T3" fmla="*/ 164740 h 458"/>
              <a:gd name="T4" fmla="*/ 57597 w 213"/>
              <a:gd name="T5" fmla="*/ 161495 h 458"/>
              <a:gd name="T6" fmla="*/ 2862 w 213"/>
              <a:gd name="T7" fmla="*/ 94806 h 458"/>
              <a:gd name="T8" fmla="*/ 6082 w 213"/>
              <a:gd name="T9" fmla="*/ 79306 h 458"/>
              <a:gd name="T10" fmla="*/ 21107 w 213"/>
              <a:gd name="T11" fmla="*/ 79306 h 458"/>
              <a:gd name="T12" fmla="*/ 54735 w 213"/>
              <a:gd name="T13" fmla="*/ 125447 h 458"/>
              <a:gd name="T14" fmla="*/ 54735 w 213"/>
              <a:gd name="T15" fmla="*/ 107063 h 458"/>
              <a:gd name="T16" fmla="*/ 8944 w 213"/>
              <a:gd name="T17" fmla="*/ 18024 h 458"/>
              <a:gd name="T18" fmla="*/ 15025 w 213"/>
              <a:gd name="T19" fmla="*/ 2884 h 458"/>
              <a:gd name="T20" fmla="*/ 27189 w 213"/>
              <a:gd name="T21" fmla="*/ 9012 h 458"/>
              <a:gd name="T22" fmla="*/ 75842 w 213"/>
              <a:gd name="T23" fmla="*/ 100934 h 458"/>
              <a:gd name="T24" fmla="*/ 75842 w 213"/>
              <a:gd name="T25" fmla="*/ 103818 h 458"/>
              <a:gd name="T26" fmla="*/ 75842 w 213"/>
              <a:gd name="T27" fmla="*/ 155728 h 458"/>
              <a:gd name="T28" fmla="*/ 69761 w 213"/>
              <a:gd name="T29" fmla="*/ 164740 h 458"/>
              <a:gd name="T30" fmla="*/ 66899 w 213"/>
              <a:gd name="T31" fmla="*/ 164740 h 4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13" h="458">
                <a:moveTo>
                  <a:pt x="187" y="457"/>
                </a:moveTo>
                <a:lnTo>
                  <a:pt x="187" y="457"/>
                </a:lnTo>
                <a:cubicBezTo>
                  <a:pt x="178" y="457"/>
                  <a:pt x="170" y="457"/>
                  <a:pt x="161" y="448"/>
                </a:cubicBezTo>
                <a:cubicBezTo>
                  <a:pt x="8" y="263"/>
                  <a:pt x="8" y="263"/>
                  <a:pt x="8" y="263"/>
                </a:cubicBezTo>
                <a:cubicBezTo>
                  <a:pt x="0" y="246"/>
                  <a:pt x="8" y="229"/>
                  <a:pt x="17" y="220"/>
                </a:cubicBezTo>
                <a:cubicBezTo>
                  <a:pt x="25" y="212"/>
                  <a:pt x="51" y="212"/>
                  <a:pt x="59" y="220"/>
                </a:cubicBezTo>
                <a:cubicBezTo>
                  <a:pt x="153" y="348"/>
                  <a:pt x="153" y="348"/>
                  <a:pt x="153" y="348"/>
                </a:cubicBezTo>
                <a:cubicBezTo>
                  <a:pt x="153" y="297"/>
                  <a:pt x="153" y="297"/>
                  <a:pt x="153" y="297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34"/>
                  <a:pt x="25" y="17"/>
                  <a:pt x="42" y="8"/>
                </a:cubicBezTo>
                <a:cubicBezTo>
                  <a:pt x="59" y="0"/>
                  <a:pt x="76" y="8"/>
                  <a:pt x="76" y="25"/>
                </a:cubicBezTo>
                <a:cubicBezTo>
                  <a:pt x="212" y="280"/>
                  <a:pt x="212" y="280"/>
                  <a:pt x="212" y="280"/>
                </a:cubicBezTo>
                <a:lnTo>
                  <a:pt x="212" y="288"/>
                </a:lnTo>
                <a:cubicBezTo>
                  <a:pt x="212" y="432"/>
                  <a:pt x="212" y="432"/>
                  <a:pt x="212" y="432"/>
                </a:cubicBezTo>
                <a:cubicBezTo>
                  <a:pt x="212" y="440"/>
                  <a:pt x="204" y="448"/>
                  <a:pt x="195" y="457"/>
                </a:cubicBezTo>
                <a:cubicBezTo>
                  <a:pt x="187" y="457"/>
                  <a:pt x="187" y="457"/>
                  <a:pt x="187" y="457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2" name="Freeform 968">
            <a:extLst>
              <a:ext uri="{FF2B5EF4-FFF2-40B4-BE49-F238E27FC236}">
                <a16:creationId xmlns:a16="http://schemas.microsoft.com/office/drawing/2014/main" id="{B65F1AA9-E852-4BF4-8125-BAB18721D1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387466" y="7400718"/>
            <a:ext cx="147978" cy="341523"/>
          </a:xfrm>
          <a:custGeom>
            <a:avLst/>
            <a:gdLst>
              <a:gd name="T0" fmla="*/ 8909 w 196"/>
              <a:gd name="T1" fmla="*/ 161565 h 450"/>
              <a:gd name="T2" fmla="*/ 8909 w 196"/>
              <a:gd name="T3" fmla="*/ 161565 h 450"/>
              <a:gd name="T4" fmla="*/ 6058 w 196"/>
              <a:gd name="T5" fmla="*/ 161565 h 450"/>
              <a:gd name="T6" fmla="*/ 0 w 196"/>
              <a:gd name="T7" fmla="*/ 152569 h 450"/>
              <a:gd name="T8" fmla="*/ 0 w 196"/>
              <a:gd name="T9" fmla="*/ 100753 h 450"/>
              <a:gd name="T10" fmla="*/ 0 w 196"/>
              <a:gd name="T11" fmla="*/ 97875 h 450"/>
              <a:gd name="T12" fmla="*/ 45260 w 196"/>
              <a:gd name="T13" fmla="*/ 9356 h 450"/>
              <a:gd name="T14" fmla="*/ 57377 w 196"/>
              <a:gd name="T15" fmla="*/ 3239 h 450"/>
              <a:gd name="T16" fmla="*/ 63435 w 196"/>
              <a:gd name="T17" fmla="*/ 18352 h 450"/>
              <a:gd name="T18" fmla="*/ 18175 w 196"/>
              <a:gd name="T19" fmla="*/ 103992 h 450"/>
              <a:gd name="T20" fmla="*/ 18175 w 196"/>
              <a:gd name="T21" fmla="*/ 122343 h 450"/>
              <a:gd name="T22" fmla="*/ 51318 w 196"/>
              <a:gd name="T23" fmla="*/ 82402 h 450"/>
              <a:gd name="T24" fmla="*/ 63435 w 196"/>
              <a:gd name="T25" fmla="*/ 79523 h 450"/>
              <a:gd name="T26" fmla="*/ 66643 w 196"/>
              <a:gd name="T27" fmla="*/ 94636 h 450"/>
              <a:gd name="T28" fmla="*/ 18175 w 196"/>
              <a:gd name="T29" fmla="*/ 158327 h 450"/>
              <a:gd name="T30" fmla="*/ 8909 w 196"/>
              <a:gd name="T31" fmla="*/ 161565 h 4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6" h="450">
                <a:moveTo>
                  <a:pt x="25" y="449"/>
                </a:moveTo>
                <a:lnTo>
                  <a:pt x="25" y="449"/>
                </a:lnTo>
                <a:lnTo>
                  <a:pt x="17" y="449"/>
                </a:lnTo>
                <a:cubicBezTo>
                  <a:pt x="8" y="440"/>
                  <a:pt x="0" y="432"/>
                  <a:pt x="0" y="424"/>
                </a:cubicBezTo>
                <a:cubicBezTo>
                  <a:pt x="0" y="280"/>
                  <a:pt x="0" y="280"/>
                  <a:pt x="0" y="280"/>
                </a:cubicBezTo>
                <a:lnTo>
                  <a:pt x="0" y="272"/>
                </a:lnTo>
                <a:cubicBezTo>
                  <a:pt x="127" y="26"/>
                  <a:pt x="127" y="26"/>
                  <a:pt x="127" y="26"/>
                </a:cubicBezTo>
                <a:cubicBezTo>
                  <a:pt x="127" y="9"/>
                  <a:pt x="144" y="0"/>
                  <a:pt x="161" y="9"/>
                </a:cubicBezTo>
                <a:cubicBezTo>
                  <a:pt x="178" y="17"/>
                  <a:pt x="178" y="34"/>
                  <a:pt x="178" y="51"/>
                </a:cubicBezTo>
                <a:cubicBezTo>
                  <a:pt x="51" y="289"/>
                  <a:pt x="51" y="289"/>
                  <a:pt x="51" y="289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144" y="229"/>
                  <a:pt x="144" y="229"/>
                  <a:pt x="144" y="229"/>
                </a:cubicBezTo>
                <a:cubicBezTo>
                  <a:pt x="153" y="212"/>
                  <a:pt x="170" y="212"/>
                  <a:pt x="178" y="221"/>
                </a:cubicBezTo>
                <a:cubicBezTo>
                  <a:pt x="195" y="238"/>
                  <a:pt x="195" y="255"/>
                  <a:pt x="187" y="263"/>
                </a:cubicBezTo>
                <a:cubicBezTo>
                  <a:pt x="51" y="440"/>
                  <a:pt x="51" y="440"/>
                  <a:pt x="51" y="440"/>
                </a:cubicBezTo>
                <a:cubicBezTo>
                  <a:pt x="42" y="449"/>
                  <a:pt x="34" y="449"/>
                  <a:pt x="25" y="449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3" name="Freeform 969">
            <a:extLst>
              <a:ext uri="{FF2B5EF4-FFF2-40B4-BE49-F238E27FC236}">
                <a16:creationId xmlns:a16="http://schemas.microsoft.com/office/drawing/2014/main" id="{BF2A7272-F818-4738-984B-B5409FB1C7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48896" y="7568129"/>
            <a:ext cx="137890" cy="83708"/>
          </a:xfrm>
          <a:custGeom>
            <a:avLst/>
            <a:gdLst>
              <a:gd name="T0" fmla="*/ 55325 w 180"/>
              <a:gd name="T1" fmla="*/ 39330 h 111"/>
              <a:gd name="T2" fmla="*/ 55325 w 180"/>
              <a:gd name="T3" fmla="*/ 39330 h 111"/>
              <a:gd name="T4" fmla="*/ 9402 w 180"/>
              <a:gd name="T5" fmla="*/ 39330 h 111"/>
              <a:gd name="T6" fmla="*/ 0 w 180"/>
              <a:gd name="T7" fmla="*/ 30392 h 111"/>
              <a:gd name="T8" fmla="*/ 0 w 180"/>
              <a:gd name="T9" fmla="*/ 8939 h 111"/>
              <a:gd name="T10" fmla="*/ 9402 w 180"/>
              <a:gd name="T11" fmla="*/ 0 h 111"/>
              <a:gd name="T12" fmla="*/ 55325 w 180"/>
              <a:gd name="T13" fmla="*/ 0 h 111"/>
              <a:gd name="T14" fmla="*/ 64726 w 180"/>
              <a:gd name="T15" fmla="*/ 8939 h 111"/>
              <a:gd name="T16" fmla="*/ 64726 w 180"/>
              <a:gd name="T17" fmla="*/ 30392 h 111"/>
              <a:gd name="T18" fmla="*/ 55325 w 180"/>
              <a:gd name="T19" fmla="*/ 39330 h 111"/>
              <a:gd name="T20" fmla="*/ 18442 w 180"/>
              <a:gd name="T21" fmla="*/ 21095 h 111"/>
              <a:gd name="T22" fmla="*/ 18442 w 180"/>
              <a:gd name="T23" fmla="*/ 21095 h 111"/>
              <a:gd name="T24" fmla="*/ 45923 w 180"/>
              <a:gd name="T25" fmla="*/ 21095 h 111"/>
              <a:gd name="T26" fmla="*/ 45923 w 180"/>
              <a:gd name="T27" fmla="*/ 21095 h 111"/>
              <a:gd name="T28" fmla="*/ 18442 w 180"/>
              <a:gd name="T29" fmla="*/ 21095 h 11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0" h="111">
                <a:moveTo>
                  <a:pt x="153" y="110"/>
                </a:moveTo>
                <a:lnTo>
                  <a:pt x="153" y="110"/>
                </a:lnTo>
                <a:cubicBezTo>
                  <a:pt x="26" y="110"/>
                  <a:pt x="26" y="110"/>
                  <a:pt x="26" y="110"/>
                </a:cubicBezTo>
                <a:cubicBezTo>
                  <a:pt x="9" y="110"/>
                  <a:pt x="0" y="102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70" y="0"/>
                  <a:pt x="179" y="8"/>
                  <a:pt x="179" y="25"/>
                </a:cubicBezTo>
                <a:cubicBezTo>
                  <a:pt x="179" y="85"/>
                  <a:pt x="179" y="85"/>
                  <a:pt x="179" y="85"/>
                </a:cubicBezTo>
                <a:cubicBezTo>
                  <a:pt x="179" y="102"/>
                  <a:pt x="170" y="110"/>
                  <a:pt x="153" y="110"/>
                </a:cubicBezTo>
                <a:close/>
                <a:moveTo>
                  <a:pt x="51" y="59"/>
                </a:moveTo>
                <a:lnTo>
                  <a:pt x="51" y="59"/>
                </a:lnTo>
                <a:cubicBezTo>
                  <a:pt x="127" y="59"/>
                  <a:pt x="127" y="59"/>
                  <a:pt x="127" y="59"/>
                </a:cubicBezTo>
                <a:cubicBezTo>
                  <a:pt x="51" y="59"/>
                  <a:pt x="51" y="59"/>
                  <a:pt x="51" y="59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4" name="Freeform 970">
            <a:extLst>
              <a:ext uri="{FF2B5EF4-FFF2-40B4-BE49-F238E27FC236}">
                <a16:creationId xmlns:a16="http://schemas.microsoft.com/office/drawing/2014/main" id="{6C5E4509-8C8D-414C-88C5-5798DB3879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55622" y="7052498"/>
            <a:ext cx="124437" cy="123887"/>
          </a:xfrm>
          <a:custGeom>
            <a:avLst/>
            <a:gdLst>
              <a:gd name="T0" fmla="*/ 30819 w 162"/>
              <a:gd name="T1" fmla="*/ 58375 h 162"/>
              <a:gd name="T2" fmla="*/ 30819 w 162"/>
              <a:gd name="T3" fmla="*/ 58375 h 162"/>
              <a:gd name="T4" fmla="*/ 0 w 162"/>
              <a:gd name="T5" fmla="*/ 27556 h 162"/>
              <a:gd name="T6" fmla="*/ 30819 w 162"/>
              <a:gd name="T7" fmla="*/ 0 h 162"/>
              <a:gd name="T8" fmla="*/ 58375 w 162"/>
              <a:gd name="T9" fmla="*/ 27556 h 162"/>
              <a:gd name="T10" fmla="*/ 30819 w 162"/>
              <a:gd name="T11" fmla="*/ 58375 h 162"/>
              <a:gd name="T12" fmla="*/ 30819 w 162"/>
              <a:gd name="T13" fmla="*/ 18492 h 162"/>
              <a:gd name="T14" fmla="*/ 30819 w 162"/>
              <a:gd name="T15" fmla="*/ 18492 h 162"/>
              <a:gd name="T16" fmla="*/ 18492 w 162"/>
              <a:gd name="T17" fmla="*/ 27556 h 162"/>
              <a:gd name="T18" fmla="*/ 30819 w 162"/>
              <a:gd name="T19" fmla="*/ 39884 h 162"/>
              <a:gd name="T20" fmla="*/ 39884 w 162"/>
              <a:gd name="T21" fmla="*/ 27556 h 162"/>
              <a:gd name="T22" fmla="*/ 30819 w 162"/>
              <a:gd name="T23" fmla="*/ 18492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2" h="162">
                <a:moveTo>
                  <a:pt x="85" y="161"/>
                </a:moveTo>
                <a:lnTo>
                  <a:pt x="85" y="161"/>
                </a:lnTo>
                <a:cubicBezTo>
                  <a:pt x="34" y="161"/>
                  <a:pt x="0" y="127"/>
                  <a:pt x="0" y="76"/>
                </a:cubicBezTo>
                <a:cubicBezTo>
                  <a:pt x="0" y="34"/>
                  <a:pt x="34" y="0"/>
                  <a:pt x="85" y="0"/>
                </a:cubicBezTo>
                <a:cubicBezTo>
                  <a:pt x="127" y="0"/>
                  <a:pt x="161" y="34"/>
                  <a:pt x="161" y="76"/>
                </a:cubicBezTo>
                <a:cubicBezTo>
                  <a:pt x="161" y="127"/>
                  <a:pt x="127" y="161"/>
                  <a:pt x="85" y="161"/>
                </a:cubicBezTo>
                <a:close/>
                <a:moveTo>
                  <a:pt x="85" y="51"/>
                </a:moveTo>
                <a:lnTo>
                  <a:pt x="85" y="51"/>
                </a:lnTo>
                <a:cubicBezTo>
                  <a:pt x="68" y="51"/>
                  <a:pt x="51" y="68"/>
                  <a:pt x="51" y="76"/>
                </a:cubicBezTo>
                <a:cubicBezTo>
                  <a:pt x="51" y="93"/>
                  <a:pt x="68" y="110"/>
                  <a:pt x="85" y="110"/>
                </a:cubicBezTo>
                <a:cubicBezTo>
                  <a:pt x="93" y="110"/>
                  <a:pt x="110" y="93"/>
                  <a:pt x="110" y="76"/>
                </a:cubicBezTo>
                <a:cubicBezTo>
                  <a:pt x="110" y="68"/>
                  <a:pt x="93" y="51"/>
                  <a:pt x="85" y="51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5" name="Freeform 971">
            <a:extLst>
              <a:ext uri="{FF2B5EF4-FFF2-40B4-BE49-F238E27FC236}">
                <a16:creationId xmlns:a16="http://schemas.microsoft.com/office/drawing/2014/main" id="{C5694439-A9C1-4665-8ABB-C32C0DD8B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92617" y="7407412"/>
            <a:ext cx="47083" cy="334827"/>
          </a:xfrm>
          <a:custGeom>
            <a:avLst/>
            <a:gdLst>
              <a:gd name="T0" fmla="*/ 9260 w 60"/>
              <a:gd name="T1" fmla="*/ 158390 h 441"/>
              <a:gd name="T2" fmla="*/ 9260 w 60"/>
              <a:gd name="T3" fmla="*/ 158390 h 441"/>
              <a:gd name="T4" fmla="*/ 0 w 60"/>
              <a:gd name="T5" fmla="*/ 149391 h 441"/>
              <a:gd name="T6" fmla="*/ 0 w 60"/>
              <a:gd name="T7" fmla="*/ 8999 h 441"/>
              <a:gd name="T8" fmla="*/ 9260 w 60"/>
              <a:gd name="T9" fmla="*/ 0 h 441"/>
              <a:gd name="T10" fmla="*/ 21855 w 60"/>
              <a:gd name="T11" fmla="*/ 8999 h 441"/>
              <a:gd name="T12" fmla="*/ 21855 w 60"/>
              <a:gd name="T13" fmla="*/ 149391 h 441"/>
              <a:gd name="T14" fmla="*/ 9260 w 60"/>
              <a:gd name="T15" fmla="*/ 158390 h 4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0" h="441">
                <a:moveTo>
                  <a:pt x="25" y="440"/>
                </a:moveTo>
                <a:lnTo>
                  <a:pt x="25" y="440"/>
                </a:lnTo>
                <a:cubicBezTo>
                  <a:pt x="17" y="440"/>
                  <a:pt x="0" y="431"/>
                  <a:pt x="0" y="4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17" y="0"/>
                  <a:pt x="25" y="0"/>
                </a:cubicBezTo>
                <a:cubicBezTo>
                  <a:pt x="42" y="0"/>
                  <a:pt x="59" y="8"/>
                  <a:pt x="59" y="25"/>
                </a:cubicBezTo>
                <a:cubicBezTo>
                  <a:pt x="59" y="415"/>
                  <a:pt x="59" y="415"/>
                  <a:pt x="59" y="415"/>
                </a:cubicBezTo>
                <a:cubicBezTo>
                  <a:pt x="59" y="431"/>
                  <a:pt x="42" y="440"/>
                  <a:pt x="25" y="440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46" name="Gráfico 445" descr="Aperto de mão com preenchimento sólido">
            <a:extLst>
              <a:ext uri="{FF2B5EF4-FFF2-40B4-BE49-F238E27FC236}">
                <a16:creationId xmlns:a16="http://schemas.microsoft.com/office/drawing/2014/main" id="{6F55FA37-6204-4165-90A9-D0143AB983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85633" y="1674421"/>
            <a:ext cx="988700" cy="984331"/>
          </a:xfrm>
          <a:prstGeom prst="rect">
            <a:avLst/>
          </a:prstGeom>
        </p:spPr>
      </p:pic>
      <p:grpSp>
        <p:nvGrpSpPr>
          <p:cNvPr id="447" name="Agrupar 446">
            <a:extLst>
              <a:ext uri="{FF2B5EF4-FFF2-40B4-BE49-F238E27FC236}">
                <a16:creationId xmlns:a16="http://schemas.microsoft.com/office/drawing/2014/main" id="{08D28F02-F404-4873-AE71-671FC4960EF0}"/>
              </a:ext>
            </a:extLst>
          </p:cNvPr>
          <p:cNvGrpSpPr/>
          <p:nvPr userDrawn="1"/>
        </p:nvGrpSpPr>
        <p:grpSpPr>
          <a:xfrm>
            <a:off x="8008212" y="1469505"/>
            <a:ext cx="1197273" cy="1191982"/>
            <a:chOff x="12445208" y="734178"/>
            <a:chExt cx="810923" cy="810923"/>
          </a:xfrm>
        </p:grpSpPr>
        <p:sp>
          <p:nvSpPr>
            <p:cNvPr id="448" name="Freeform 741">
              <a:extLst>
                <a:ext uri="{FF2B5EF4-FFF2-40B4-BE49-F238E27FC236}">
                  <a16:creationId xmlns:a16="http://schemas.microsoft.com/office/drawing/2014/main" id="{D425A1DB-BDC9-4D91-9A2E-88AACE4B9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5208" y="734178"/>
              <a:ext cx="810923" cy="810923"/>
            </a:xfrm>
            <a:custGeom>
              <a:avLst/>
              <a:gdLst>
                <a:gd name="T0" fmla="*/ 510075 w 1570"/>
                <a:gd name="T1" fmla="*/ 564790 h 1571"/>
                <a:gd name="T2" fmla="*/ 510075 w 1570"/>
                <a:gd name="T3" fmla="*/ 564790 h 1571"/>
                <a:gd name="T4" fmla="*/ 52195 w 1570"/>
                <a:gd name="T5" fmla="*/ 564790 h 1571"/>
                <a:gd name="T6" fmla="*/ 0 w 1570"/>
                <a:gd name="T7" fmla="*/ 509750 h 1571"/>
                <a:gd name="T8" fmla="*/ 0 w 1570"/>
                <a:gd name="T9" fmla="*/ 55040 h 1571"/>
                <a:gd name="T10" fmla="*/ 52195 w 1570"/>
                <a:gd name="T11" fmla="*/ 0 h 1571"/>
                <a:gd name="T12" fmla="*/ 510075 w 1570"/>
                <a:gd name="T13" fmla="*/ 0 h 1571"/>
                <a:gd name="T14" fmla="*/ 564790 w 1570"/>
                <a:gd name="T15" fmla="*/ 55040 h 1571"/>
                <a:gd name="T16" fmla="*/ 564790 w 1570"/>
                <a:gd name="T17" fmla="*/ 509750 h 1571"/>
                <a:gd name="T18" fmla="*/ 510075 w 1570"/>
                <a:gd name="T19" fmla="*/ 564790 h 15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70" h="1571">
                  <a:moveTo>
                    <a:pt x="1417" y="1570"/>
                  </a:moveTo>
                  <a:lnTo>
                    <a:pt x="1417" y="1570"/>
                  </a:lnTo>
                  <a:cubicBezTo>
                    <a:pt x="145" y="1570"/>
                    <a:pt x="145" y="1570"/>
                    <a:pt x="145" y="1570"/>
                  </a:cubicBezTo>
                  <a:cubicBezTo>
                    <a:pt x="68" y="1570"/>
                    <a:pt x="0" y="1502"/>
                    <a:pt x="0" y="141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68"/>
                    <a:pt x="68" y="0"/>
                    <a:pt x="145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502" y="0"/>
                    <a:pt x="1569" y="68"/>
                    <a:pt x="1569" y="153"/>
                  </a:cubicBezTo>
                  <a:cubicBezTo>
                    <a:pt x="1569" y="1417"/>
                    <a:pt x="1569" y="1417"/>
                    <a:pt x="1569" y="1417"/>
                  </a:cubicBezTo>
                  <a:cubicBezTo>
                    <a:pt x="1569" y="1502"/>
                    <a:pt x="1502" y="1570"/>
                    <a:pt x="1417" y="1570"/>
                  </a:cubicBezTo>
                </a:path>
              </a:pathLst>
            </a:custGeom>
            <a:solidFill>
              <a:srgbClr val="FFFFFF"/>
            </a:solidFill>
            <a:ln w="38100" cap="flat">
              <a:solidFill>
                <a:srgbClr val="8AABCA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pic>
          <p:nvPicPr>
            <p:cNvPr id="449" name="Gráfico 448" descr="Sementes brotando com preenchimento sólido">
              <a:extLst>
                <a:ext uri="{FF2B5EF4-FFF2-40B4-BE49-F238E27FC236}">
                  <a16:creationId xmlns:a16="http://schemas.microsoft.com/office/drawing/2014/main" id="{8BBE1393-B066-4A26-9802-74539168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491024" y="745537"/>
              <a:ext cx="732960" cy="732960"/>
            </a:xfrm>
            <a:prstGeom prst="rect">
              <a:avLst/>
            </a:prstGeom>
          </p:spPr>
        </p:pic>
      </p:grpSp>
      <p:pic>
        <p:nvPicPr>
          <p:cNvPr id="450" name="Gráfico 449" descr="Reunião com preenchimento sólido">
            <a:extLst>
              <a:ext uri="{FF2B5EF4-FFF2-40B4-BE49-F238E27FC236}">
                <a16:creationId xmlns:a16="http://schemas.microsoft.com/office/drawing/2014/main" id="{5768EC7E-B931-4C08-ABA0-F648AE4111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91665" y="1647232"/>
            <a:ext cx="874159" cy="870295"/>
          </a:xfrm>
          <a:prstGeom prst="rect">
            <a:avLst/>
          </a:prstGeom>
        </p:spPr>
      </p:pic>
      <p:pic>
        <p:nvPicPr>
          <p:cNvPr id="451" name="Imagem 450">
            <a:extLst>
              <a:ext uri="{FF2B5EF4-FFF2-40B4-BE49-F238E27FC236}">
                <a16:creationId xmlns:a16="http://schemas.microsoft.com/office/drawing/2014/main" id="{F7D2F15D-932C-471B-B9AA-B115EABA7AB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9742" y="9162644"/>
            <a:ext cx="2198950" cy="6343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2" name="Espaço Reservado para Conteúdo 2">
            <a:extLst>
              <a:ext uri="{FF2B5EF4-FFF2-40B4-BE49-F238E27FC236}">
                <a16:creationId xmlns:a16="http://schemas.microsoft.com/office/drawing/2014/main" id="{5F6FE98F-4F92-4B5C-BEFC-D4A9F4D63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2409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3" name="Espaço Reservado para Conteúdo 2">
            <a:extLst>
              <a:ext uri="{FF2B5EF4-FFF2-40B4-BE49-F238E27FC236}">
                <a16:creationId xmlns:a16="http://schemas.microsoft.com/office/drawing/2014/main" id="{F73C517F-BE08-4C22-8E46-C737249F842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285017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4" name="Espaço Reservado para Conteúdo 2">
            <a:extLst>
              <a:ext uri="{FF2B5EF4-FFF2-40B4-BE49-F238E27FC236}">
                <a16:creationId xmlns:a16="http://schemas.microsoft.com/office/drawing/2014/main" id="{AEE5D094-F050-4211-9E7D-9101EC64725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436706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5" name="Espaço Reservado para Conteúdo 2">
            <a:extLst>
              <a:ext uri="{FF2B5EF4-FFF2-40B4-BE49-F238E27FC236}">
                <a16:creationId xmlns:a16="http://schemas.microsoft.com/office/drawing/2014/main" id="{7AFEFE9E-5F00-471C-9F1F-407B24D96E1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3072911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6" name="Espaço Reservado para Conteúdo 2">
            <a:extLst>
              <a:ext uri="{FF2B5EF4-FFF2-40B4-BE49-F238E27FC236}">
                <a16:creationId xmlns:a16="http://schemas.microsoft.com/office/drawing/2014/main" id="{CFCCF986-0667-465D-B0BA-0AD74A493C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0165519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7" name="Espaço Reservado para Conteúdo 2">
            <a:extLst>
              <a:ext uri="{FF2B5EF4-FFF2-40B4-BE49-F238E27FC236}">
                <a16:creationId xmlns:a16="http://schemas.microsoft.com/office/drawing/2014/main" id="{44894242-CE24-4CC7-B27A-6EE5AF4B1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7208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8" name="Espaço Reservado para Conteúdo 2">
            <a:extLst>
              <a:ext uri="{FF2B5EF4-FFF2-40B4-BE49-F238E27FC236}">
                <a16:creationId xmlns:a16="http://schemas.microsoft.com/office/drawing/2014/main" id="{A66E5C75-438F-401E-A0FF-03C647D6413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267160" y="5595639"/>
            <a:ext cx="4050149" cy="648767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pt-BR" sz="2342" dirty="0" smtClean="0">
                <a:solidFill>
                  <a:schemeClr val="bg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7138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34397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4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5293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r>
              <a:rPr lang="pt-BR"/>
              <a:t>AUDITORIA INTERNA - ATI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49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400840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4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5293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r>
              <a:rPr lang="pt-BR"/>
              <a:t>AUDITORIA INTERNA - ATI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49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235107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m_Som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5">
            <a:extLst>
              <a:ext uri="{FF2B5EF4-FFF2-40B4-BE49-F238E27FC236}">
                <a16:creationId xmlns:a16="http://schemas.microsoft.com/office/drawing/2014/main" id="{B002C482-A3E0-4CFC-905A-FAAE5373B20B}"/>
              </a:ext>
            </a:extLst>
          </p:cNvPr>
          <p:cNvSpPr/>
          <p:nvPr userDrawn="1"/>
        </p:nvSpPr>
        <p:spPr>
          <a:xfrm>
            <a:off x="5338271" y="1889351"/>
            <a:ext cx="7019975" cy="6855167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34"/>
          </a:p>
        </p:txBody>
      </p:sp>
      <p:sp>
        <p:nvSpPr>
          <p:cNvPr id="7" name="Rounded Rectangular Callout 151">
            <a:extLst>
              <a:ext uri="{FF2B5EF4-FFF2-40B4-BE49-F238E27FC236}">
                <a16:creationId xmlns:a16="http://schemas.microsoft.com/office/drawing/2014/main" id="{505FC901-74FC-4A9F-AE10-427CB07CBDCE}"/>
              </a:ext>
            </a:extLst>
          </p:cNvPr>
          <p:cNvSpPr/>
          <p:nvPr userDrawn="1"/>
        </p:nvSpPr>
        <p:spPr>
          <a:xfrm flipH="1">
            <a:off x="1931865" y="2294757"/>
            <a:ext cx="5581424" cy="1740360"/>
          </a:xfrm>
          <a:prstGeom prst="wedgeRoundRectCallout">
            <a:avLst>
              <a:gd name="adj1" fmla="val -64283"/>
              <a:gd name="adj2" fmla="val 4034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4148E2DE-AEFB-41E1-B36D-5BEE64BAC034}"/>
              </a:ext>
            </a:extLst>
          </p:cNvPr>
          <p:cNvGrpSpPr/>
          <p:nvPr userDrawn="1"/>
        </p:nvGrpSpPr>
        <p:grpSpPr>
          <a:xfrm rot="5400000">
            <a:off x="6838232" y="2467517"/>
            <a:ext cx="4077883" cy="5596623"/>
            <a:chOff x="3471863" y="4257675"/>
            <a:chExt cx="528637" cy="722313"/>
          </a:xfrm>
        </p:grpSpPr>
        <p:sp>
          <p:nvSpPr>
            <p:cNvPr id="9" name="Freeform 316">
              <a:extLst>
                <a:ext uri="{FF2B5EF4-FFF2-40B4-BE49-F238E27FC236}">
                  <a16:creationId xmlns:a16="http://schemas.microsoft.com/office/drawing/2014/main" id="{018DD262-AF02-4483-AA2D-77AFEE74A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805363"/>
              <a:ext cx="130175" cy="95250"/>
            </a:xfrm>
            <a:custGeom>
              <a:avLst/>
              <a:gdLst>
                <a:gd name="T0" fmla="*/ 0 w 363"/>
                <a:gd name="T1" fmla="*/ 0 h 263"/>
                <a:gd name="T2" fmla="*/ 362 w 363"/>
                <a:gd name="T3" fmla="*/ 0 h 263"/>
                <a:gd name="T4" fmla="*/ 362 w 363"/>
                <a:gd name="T5" fmla="*/ 262 h 263"/>
                <a:gd name="T6" fmla="*/ 0 w 363"/>
                <a:gd name="T7" fmla="*/ 262 h 263"/>
                <a:gd name="T8" fmla="*/ 0 w 363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63">
                  <a:moveTo>
                    <a:pt x="0" y="0"/>
                  </a:moveTo>
                  <a:lnTo>
                    <a:pt x="362" y="0"/>
                  </a:lnTo>
                  <a:lnTo>
                    <a:pt x="362" y="262"/>
                  </a:lnTo>
                  <a:lnTo>
                    <a:pt x="0" y="262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:a16="http://schemas.microsoft.com/office/drawing/2014/main" id="{94A4C75F-E6C8-42FD-98ED-15C632F63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338638"/>
              <a:ext cx="130175" cy="98425"/>
            </a:xfrm>
            <a:custGeom>
              <a:avLst/>
              <a:gdLst>
                <a:gd name="T0" fmla="*/ 0 w 363"/>
                <a:gd name="T1" fmla="*/ 0 h 275"/>
                <a:gd name="T2" fmla="*/ 362 w 363"/>
                <a:gd name="T3" fmla="*/ 0 h 275"/>
                <a:gd name="T4" fmla="*/ 362 w 363"/>
                <a:gd name="T5" fmla="*/ 274 h 275"/>
                <a:gd name="T6" fmla="*/ 0 w 363"/>
                <a:gd name="T7" fmla="*/ 274 h 275"/>
                <a:gd name="T8" fmla="*/ 0 w 363"/>
                <a:gd name="T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0" y="0"/>
                  </a:moveTo>
                  <a:lnTo>
                    <a:pt x="362" y="0"/>
                  </a:lnTo>
                  <a:lnTo>
                    <a:pt x="362" y="274"/>
                  </a:lnTo>
                  <a:lnTo>
                    <a:pt x="0" y="274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1" name="Freeform 319">
              <a:extLst>
                <a:ext uri="{FF2B5EF4-FFF2-40B4-BE49-F238E27FC236}">
                  <a16:creationId xmlns:a16="http://schemas.microsoft.com/office/drawing/2014/main" id="{EE42F1CC-1FB4-4B60-B560-93702AA0A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4557713"/>
              <a:ext cx="125412" cy="122237"/>
            </a:xfrm>
            <a:custGeom>
              <a:avLst/>
              <a:gdLst>
                <a:gd name="T0" fmla="*/ 0 w 350"/>
                <a:gd name="T1" fmla="*/ 0 h 338"/>
                <a:gd name="T2" fmla="*/ 349 w 350"/>
                <a:gd name="T3" fmla="*/ 0 h 338"/>
                <a:gd name="T4" fmla="*/ 349 w 350"/>
                <a:gd name="T5" fmla="*/ 337 h 338"/>
                <a:gd name="T6" fmla="*/ 0 w 350"/>
                <a:gd name="T7" fmla="*/ 337 h 338"/>
                <a:gd name="T8" fmla="*/ 0 w 350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38">
                  <a:moveTo>
                    <a:pt x="0" y="0"/>
                  </a:moveTo>
                  <a:lnTo>
                    <a:pt x="349" y="0"/>
                  </a:lnTo>
                  <a:lnTo>
                    <a:pt x="349" y="337"/>
                  </a:lnTo>
                  <a:lnTo>
                    <a:pt x="0" y="337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2" name="Freeform 320">
              <a:extLst>
                <a:ext uri="{FF2B5EF4-FFF2-40B4-BE49-F238E27FC236}">
                  <a16:creationId xmlns:a16="http://schemas.microsoft.com/office/drawing/2014/main" id="{5381B95A-D9AE-4463-B8B8-23BBA8A700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025" y="4410075"/>
              <a:ext cx="350838" cy="417513"/>
            </a:xfrm>
            <a:custGeom>
              <a:avLst/>
              <a:gdLst>
                <a:gd name="T0" fmla="*/ 972 w 973"/>
                <a:gd name="T1" fmla="*/ 0 h 1161"/>
                <a:gd name="T2" fmla="*/ 972 w 973"/>
                <a:gd name="T3" fmla="*/ 0 h 1161"/>
                <a:gd name="T4" fmla="*/ 972 w 973"/>
                <a:gd name="T5" fmla="*/ 1123 h 1161"/>
                <a:gd name="T6" fmla="*/ 922 w 973"/>
                <a:gd name="T7" fmla="*/ 1160 h 1161"/>
                <a:gd name="T8" fmla="*/ 37 w 973"/>
                <a:gd name="T9" fmla="*/ 1160 h 1161"/>
                <a:gd name="T10" fmla="*/ 0 w 973"/>
                <a:gd name="T11" fmla="*/ 1123 h 1161"/>
                <a:gd name="T12" fmla="*/ 0 w 973"/>
                <a:gd name="T13" fmla="*/ 38 h 1161"/>
                <a:gd name="T14" fmla="*/ 37 w 973"/>
                <a:gd name="T15" fmla="*/ 0 h 1161"/>
                <a:gd name="T16" fmla="*/ 972 w 973"/>
                <a:gd name="T17" fmla="*/ 0 h 1161"/>
                <a:gd name="T18" fmla="*/ 972 w 973"/>
                <a:gd name="T19" fmla="*/ 0 h 1161"/>
                <a:gd name="T20" fmla="*/ 972 w 973"/>
                <a:gd name="T21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3" h="1161">
                  <a:moveTo>
                    <a:pt x="972" y="0"/>
                  </a:moveTo>
                  <a:lnTo>
                    <a:pt x="972" y="0"/>
                  </a:lnTo>
                  <a:cubicBezTo>
                    <a:pt x="972" y="1123"/>
                    <a:pt x="972" y="1123"/>
                    <a:pt x="972" y="1123"/>
                  </a:cubicBezTo>
                  <a:cubicBezTo>
                    <a:pt x="972" y="1147"/>
                    <a:pt x="946" y="1160"/>
                    <a:pt x="922" y="1160"/>
                  </a:cubicBezTo>
                  <a:cubicBezTo>
                    <a:pt x="37" y="1160"/>
                    <a:pt x="37" y="1160"/>
                    <a:pt x="37" y="1160"/>
                  </a:cubicBezTo>
                  <a:cubicBezTo>
                    <a:pt x="13" y="1160"/>
                    <a:pt x="0" y="1147"/>
                    <a:pt x="0" y="112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2"/>
                    <a:pt x="13" y="0"/>
                    <a:pt x="37" y="0"/>
                  </a:cubicBezTo>
                  <a:lnTo>
                    <a:pt x="972" y="0"/>
                  </a:lnTo>
                  <a:close/>
                  <a:moveTo>
                    <a:pt x="972" y="0"/>
                  </a:moveTo>
                  <a:lnTo>
                    <a:pt x="972" y="0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3" name="Freeform 321">
              <a:extLst>
                <a:ext uri="{FF2B5EF4-FFF2-40B4-BE49-F238E27FC236}">
                  <a16:creationId xmlns:a16="http://schemas.microsoft.com/office/drawing/2014/main" id="{61ED6D30-1CF3-4F09-BDC6-BC231684D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775" y="4410075"/>
              <a:ext cx="63500" cy="417513"/>
            </a:xfrm>
            <a:custGeom>
              <a:avLst/>
              <a:gdLst>
                <a:gd name="T0" fmla="*/ 175 w 176"/>
                <a:gd name="T1" fmla="*/ 0 h 1161"/>
                <a:gd name="T2" fmla="*/ 175 w 176"/>
                <a:gd name="T3" fmla="*/ 0 h 1161"/>
                <a:gd name="T4" fmla="*/ 175 w 176"/>
                <a:gd name="T5" fmla="*/ 1123 h 1161"/>
                <a:gd name="T6" fmla="*/ 125 w 176"/>
                <a:gd name="T7" fmla="*/ 1160 h 1161"/>
                <a:gd name="T8" fmla="*/ 0 w 176"/>
                <a:gd name="T9" fmla="*/ 1160 h 1161"/>
                <a:gd name="T10" fmla="*/ 37 w 176"/>
                <a:gd name="T11" fmla="*/ 1097 h 1161"/>
                <a:gd name="T12" fmla="*/ 37 w 176"/>
                <a:gd name="T13" fmla="*/ 62 h 1161"/>
                <a:gd name="T14" fmla="*/ 13 w 176"/>
                <a:gd name="T15" fmla="*/ 0 h 1161"/>
                <a:gd name="T16" fmla="*/ 0 w 176"/>
                <a:gd name="T17" fmla="*/ 0 h 1161"/>
                <a:gd name="T18" fmla="*/ 175 w 176"/>
                <a:gd name="T19" fmla="*/ 0 h 1161"/>
                <a:gd name="T20" fmla="*/ 175 w 176"/>
                <a:gd name="T21" fmla="*/ 0 h 1161"/>
                <a:gd name="T22" fmla="*/ 175 w 176"/>
                <a:gd name="T23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161">
                  <a:moveTo>
                    <a:pt x="175" y="0"/>
                  </a:moveTo>
                  <a:lnTo>
                    <a:pt x="175" y="0"/>
                  </a:lnTo>
                  <a:cubicBezTo>
                    <a:pt x="175" y="1123"/>
                    <a:pt x="175" y="1123"/>
                    <a:pt x="175" y="1123"/>
                  </a:cubicBezTo>
                  <a:cubicBezTo>
                    <a:pt x="175" y="1147"/>
                    <a:pt x="149" y="1160"/>
                    <a:pt x="125" y="1160"/>
                  </a:cubicBezTo>
                  <a:cubicBezTo>
                    <a:pt x="0" y="1160"/>
                    <a:pt x="0" y="1160"/>
                    <a:pt x="0" y="1160"/>
                  </a:cubicBezTo>
                  <a:cubicBezTo>
                    <a:pt x="25" y="1147"/>
                    <a:pt x="37" y="1123"/>
                    <a:pt x="37" y="109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38"/>
                    <a:pt x="25" y="1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5" y="0"/>
                  </a:lnTo>
                  <a:close/>
                  <a:moveTo>
                    <a:pt x="175" y="0"/>
                  </a:moveTo>
                  <a:lnTo>
                    <a:pt x="175" y="0"/>
                  </a:lnTo>
                  <a:close/>
                </a:path>
              </a:pathLst>
            </a:custGeom>
            <a:solidFill>
              <a:srgbClr val="75787B">
                <a:alpha val="2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4" name="Freeform 326">
              <a:extLst>
                <a:ext uri="{FF2B5EF4-FFF2-40B4-BE49-F238E27FC236}">
                  <a16:creationId xmlns:a16="http://schemas.microsoft.com/office/drawing/2014/main" id="{38FFEEE4-A334-4B58-B6B0-3790E42C5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4527550"/>
              <a:ext cx="90488" cy="184150"/>
            </a:xfrm>
            <a:custGeom>
              <a:avLst/>
              <a:gdLst>
                <a:gd name="T0" fmla="*/ 250 w 251"/>
                <a:gd name="T1" fmla="*/ 124 h 512"/>
                <a:gd name="T2" fmla="*/ 250 w 251"/>
                <a:gd name="T3" fmla="*/ 124 h 512"/>
                <a:gd name="T4" fmla="*/ 250 w 251"/>
                <a:gd name="T5" fmla="*/ 386 h 512"/>
                <a:gd name="T6" fmla="*/ 125 w 251"/>
                <a:gd name="T7" fmla="*/ 511 h 512"/>
                <a:gd name="T8" fmla="*/ 88 w 251"/>
                <a:gd name="T9" fmla="*/ 511 h 512"/>
                <a:gd name="T10" fmla="*/ 62 w 251"/>
                <a:gd name="T11" fmla="*/ 511 h 512"/>
                <a:gd name="T12" fmla="*/ 0 w 251"/>
                <a:gd name="T13" fmla="*/ 436 h 512"/>
                <a:gd name="T14" fmla="*/ 0 w 251"/>
                <a:gd name="T15" fmla="*/ 74 h 512"/>
                <a:gd name="T16" fmla="*/ 62 w 251"/>
                <a:gd name="T17" fmla="*/ 0 h 512"/>
                <a:gd name="T18" fmla="*/ 88 w 251"/>
                <a:gd name="T19" fmla="*/ 0 h 512"/>
                <a:gd name="T20" fmla="*/ 125 w 251"/>
                <a:gd name="T21" fmla="*/ 0 h 512"/>
                <a:gd name="T22" fmla="*/ 250 w 251"/>
                <a:gd name="T23" fmla="*/ 124 h 512"/>
                <a:gd name="T24" fmla="*/ 250 w 251"/>
                <a:gd name="T25" fmla="*/ 124 h 512"/>
                <a:gd name="T26" fmla="*/ 250 w 251"/>
                <a:gd name="T27" fmla="*/ 1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512">
                  <a:moveTo>
                    <a:pt x="250" y="124"/>
                  </a:moveTo>
                  <a:lnTo>
                    <a:pt x="250" y="124"/>
                  </a:lnTo>
                  <a:cubicBezTo>
                    <a:pt x="250" y="386"/>
                    <a:pt x="250" y="386"/>
                    <a:pt x="250" y="386"/>
                  </a:cubicBezTo>
                  <a:cubicBezTo>
                    <a:pt x="250" y="461"/>
                    <a:pt x="187" y="511"/>
                    <a:pt x="125" y="511"/>
                  </a:cubicBezTo>
                  <a:cubicBezTo>
                    <a:pt x="88" y="511"/>
                    <a:pt x="88" y="511"/>
                    <a:pt x="88" y="511"/>
                  </a:cubicBezTo>
                  <a:cubicBezTo>
                    <a:pt x="75" y="511"/>
                    <a:pt x="62" y="511"/>
                    <a:pt x="62" y="511"/>
                  </a:cubicBezTo>
                  <a:cubicBezTo>
                    <a:pt x="25" y="498"/>
                    <a:pt x="0" y="473"/>
                    <a:pt x="0" y="4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7"/>
                    <a:pt x="25" y="12"/>
                    <a:pt x="62" y="0"/>
                  </a:cubicBezTo>
                  <a:cubicBezTo>
                    <a:pt x="62" y="0"/>
                    <a:pt x="75" y="0"/>
                    <a:pt x="8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87" y="0"/>
                    <a:pt x="250" y="49"/>
                    <a:pt x="250" y="124"/>
                  </a:cubicBezTo>
                  <a:close/>
                  <a:moveTo>
                    <a:pt x="250" y="124"/>
                  </a:moveTo>
                  <a:lnTo>
                    <a:pt x="250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5" name="Freeform 328">
              <a:extLst>
                <a:ext uri="{FF2B5EF4-FFF2-40B4-BE49-F238E27FC236}">
                  <a16:creationId xmlns:a16="http://schemas.microsoft.com/office/drawing/2014/main" id="{59A90E96-F095-4FAA-B389-4EA923D22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1863" y="4579938"/>
              <a:ext cx="85725" cy="76200"/>
            </a:xfrm>
            <a:custGeom>
              <a:avLst/>
              <a:gdLst>
                <a:gd name="T0" fmla="*/ 236 w 237"/>
                <a:gd name="T1" fmla="*/ 99 h 213"/>
                <a:gd name="T2" fmla="*/ 236 w 237"/>
                <a:gd name="T3" fmla="*/ 99 h 213"/>
                <a:gd name="T4" fmla="*/ 236 w 237"/>
                <a:gd name="T5" fmla="*/ 112 h 213"/>
                <a:gd name="T6" fmla="*/ 136 w 237"/>
                <a:gd name="T7" fmla="*/ 212 h 213"/>
                <a:gd name="T8" fmla="*/ 74 w 237"/>
                <a:gd name="T9" fmla="*/ 212 h 213"/>
                <a:gd name="T10" fmla="*/ 62 w 237"/>
                <a:gd name="T11" fmla="*/ 212 h 213"/>
                <a:gd name="T12" fmla="*/ 0 w 237"/>
                <a:gd name="T13" fmla="*/ 137 h 213"/>
                <a:gd name="T14" fmla="*/ 0 w 237"/>
                <a:gd name="T15" fmla="*/ 75 h 213"/>
                <a:gd name="T16" fmla="*/ 62 w 237"/>
                <a:gd name="T17" fmla="*/ 12 h 213"/>
                <a:gd name="T18" fmla="*/ 74 w 237"/>
                <a:gd name="T19" fmla="*/ 0 h 213"/>
                <a:gd name="T20" fmla="*/ 136 w 237"/>
                <a:gd name="T21" fmla="*/ 0 h 213"/>
                <a:gd name="T22" fmla="*/ 236 w 237"/>
                <a:gd name="T23" fmla="*/ 99 h 213"/>
                <a:gd name="T24" fmla="*/ 236 w 237"/>
                <a:gd name="T25" fmla="*/ 99 h 213"/>
                <a:gd name="T26" fmla="*/ 236 w 237"/>
                <a:gd name="T27" fmla="*/ 9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7" h="213">
                  <a:moveTo>
                    <a:pt x="236" y="99"/>
                  </a:moveTo>
                  <a:lnTo>
                    <a:pt x="236" y="99"/>
                  </a:lnTo>
                  <a:cubicBezTo>
                    <a:pt x="236" y="112"/>
                    <a:pt x="236" y="112"/>
                    <a:pt x="236" y="112"/>
                  </a:cubicBezTo>
                  <a:cubicBezTo>
                    <a:pt x="236" y="162"/>
                    <a:pt x="186" y="212"/>
                    <a:pt x="136" y="212"/>
                  </a:cubicBezTo>
                  <a:cubicBezTo>
                    <a:pt x="74" y="212"/>
                    <a:pt x="74" y="212"/>
                    <a:pt x="74" y="212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24" y="200"/>
                    <a:pt x="0" y="174"/>
                    <a:pt x="0" y="13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37"/>
                    <a:pt x="24" y="12"/>
                    <a:pt x="62" y="12"/>
                  </a:cubicBezTo>
                  <a:cubicBezTo>
                    <a:pt x="62" y="0"/>
                    <a:pt x="62" y="0"/>
                    <a:pt x="7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86" y="0"/>
                    <a:pt x="236" y="50"/>
                    <a:pt x="236" y="99"/>
                  </a:cubicBezTo>
                  <a:close/>
                  <a:moveTo>
                    <a:pt x="236" y="99"/>
                  </a:moveTo>
                  <a:lnTo>
                    <a:pt x="236" y="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6" name="Freeform 330">
              <a:extLst>
                <a:ext uri="{FF2B5EF4-FFF2-40B4-BE49-F238E27FC236}">
                  <a16:creationId xmlns:a16="http://schemas.microsoft.com/office/drawing/2014/main" id="{968B7C9C-B8E3-447A-98E8-5CC9ECBFD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867275"/>
              <a:ext cx="184150" cy="85725"/>
            </a:xfrm>
            <a:custGeom>
              <a:avLst/>
              <a:gdLst>
                <a:gd name="T0" fmla="*/ 511 w 512"/>
                <a:gd name="T1" fmla="*/ 125 h 238"/>
                <a:gd name="T2" fmla="*/ 511 w 512"/>
                <a:gd name="T3" fmla="*/ 125 h 238"/>
                <a:gd name="T4" fmla="*/ 511 w 512"/>
                <a:gd name="T5" fmla="*/ 162 h 238"/>
                <a:gd name="T6" fmla="*/ 437 w 512"/>
                <a:gd name="T7" fmla="*/ 237 h 238"/>
                <a:gd name="T8" fmla="*/ 75 w 512"/>
                <a:gd name="T9" fmla="*/ 237 h 238"/>
                <a:gd name="T10" fmla="*/ 0 w 512"/>
                <a:gd name="T11" fmla="*/ 162 h 238"/>
                <a:gd name="T12" fmla="*/ 0 w 512"/>
                <a:gd name="T13" fmla="*/ 125 h 238"/>
                <a:gd name="T14" fmla="*/ 125 w 512"/>
                <a:gd name="T15" fmla="*/ 0 h 238"/>
                <a:gd name="T16" fmla="*/ 387 w 512"/>
                <a:gd name="T17" fmla="*/ 0 h 238"/>
                <a:gd name="T18" fmla="*/ 511 w 512"/>
                <a:gd name="T19" fmla="*/ 125 h 238"/>
                <a:gd name="T20" fmla="*/ 511 w 512"/>
                <a:gd name="T21" fmla="*/ 125 h 238"/>
                <a:gd name="T22" fmla="*/ 511 w 512"/>
                <a:gd name="T23" fmla="*/ 12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2" h="238">
                  <a:moveTo>
                    <a:pt x="511" y="125"/>
                  </a:moveTo>
                  <a:lnTo>
                    <a:pt x="511" y="125"/>
                  </a:lnTo>
                  <a:cubicBezTo>
                    <a:pt x="511" y="162"/>
                    <a:pt x="511" y="162"/>
                    <a:pt x="511" y="162"/>
                  </a:cubicBezTo>
                  <a:cubicBezTo>
                    <a:pt x="511" y="212"/>
                    <a:pt x="474" y="237"/>
                    <a:pt x="437" y="237"/>
                  </a:cubicBezTo>
                  <a:cubicBezTo>
                    <a:pt x="75" y="237"/>
                    <a:pt x="75" y="237"/>
                    <a:pt x="75" y="237"/>
                  </a:cubicBezTo>
                  <a:cubicBezTo>
                    <a:pt x="38" y="237"/>
                    <a:pt x="0" y="212"/>
                    <a:pt x="0" y="16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0"/>
                    <a:pt x="63" y="0"/>
                    <a:pt x="125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62" y="0"/>
                    <a:pt x="511" y="50"/>
                    <a:pt x="511" y="125"/>
                  </a:cubicBezTo>
                  <a:close/>
                  <a:moveTo>
                    <a:pt x="511" y="125"/>
                  </a:moveTo>
                  <a:lnTo>
                    <a:pt x="511" y="1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7" name="Freeform 332">
              <a:extLst>
                <a:ext uri="{FF2B5EF4-FFF2-40B4-BE49-F238E27FC236}">
                  <a16:creationId xmlns:a16="http://schemas.microsoft.com/office/drawing/2014/main" id="{265F8020-554A-4849-B4FF-2BD4C513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899025"/>
              <a:ext cx="73025" cy="80963"/>
            </a:xfrm>
            <a:custGeom>
              <a:avLst/>
              <a:gdLst>
                <a:gd name="T0" fmla="*/ 200 w 201"/>
                <a:gd name="T1" fmla="*/ 100 h 226"/>
                <a:gd name="T2" fmla="*/ 200 w 201"/>
                <a:gd name="T3" fmla="*/ 100 h 226"/>
                <a:gd name="T4" fmla="*/ 200 w 201"/>
                <a:gd name="T5" fmla="*/ 163 h 226"/>
                <a:gd name="T6" fmla="*/ 125 w 201"/>
                <a:gd name="T7" fmla="*/ 225 h 226"/>
                <a:gd name="T8" fmla="*/ 63 w 201"/>
                <a:gd name="T9" fmla="*/ 225 h 226"/>
                <a:gd name="T10" fmla="*/ 50 w 201"/>
                <a:gd name="T11" fmla="*/ 225 h 226"/>
                <a:gd name="T12" fmla="*/ 0 w 201"/>
                <a:gd name="T13" fmla="*/ 163 h 226"/>
                <a:gd name="T14" fmla="*/ 0 w 201"/>
                <a:gd name="T15" fmla="*/ 100 h 226"/>
                <a:gd name="T16" fmla="*/ 50 w 201"/>
                <a:gd name="T17" fmla="*/ 13 h 226"/>
                <a:gd name="T18" fmla="*/ 88 w 201"/>
                <a:gd name="T19" fmla="*/ 0 h 226"/>
                <a:gd name="T20" fmla="*/ 100 w 201"/>
                <a:gd name="T21" fmla="*/ 0 h 226"/>
                <a:gd name="T22" fmla="*/ 200 w 201"/>
                <a:gd name="T23" fmla="*/ 100 h 226"/>
                <a:gd name="T24" fmla="*/ 200 w 201"/>
                <a:gd name="T25" fmla="*/ 100 h 226"/>
                <a:gd name="T26" fmla="*/ 200 w 201"/>
                <a:gd name="T27" fmla="*/ 10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100"/>
                  </a:moveTo>
                  <a:lnTo>
                    <a:pt x="200" y="100"/>
                  </a:lnTo>
                  <a:cubicBezTo>
                    <a:pt x="200" y="163"/>
                    <a:pt x="200" y="163"/>
                    <a:pt x="200" y="163"/>
                  </a:cubicBezTo>
                  <a:cubicBezTo>
                    <a:pt x="200" y="200"/>
                    <a:pt x="162" y="225"/>
                    <a:pt x="125" y="225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3" y="225"/>
                    <a:pt x="63" y="225"/>
                    <a:pt x="50" y="225"/>
                  </a:cubicBezTo>
                  <a:cubicBezTo>
                    <a:pt x="26" y="225"/>
                    <a:pt x="0" y="200"/>
                    <a:pt x="0" y="16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63"/>
                    <a:pt x="26" y="25"/>
                    <a:pt x="50" y="13"/>
                  </a:cubicBezTo>
                  <a:cubicBezTo>
                    <a:pt x="63" y="0"/>
                    <a:pt x="75" y="0"/>
                    <a:pt x="8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0" y="0"/>
                    <a:pt x="200" y="50"/>
                    <a:pt x="200" y="100"/>
                  </a:cubicBezTo>
                  <a:close/>
                  <a:moveTo>
                    <a:pt x="200" y="100"/>
                  </a:moveTo>
                  <a:lnTo>
                    <a:pt x="200" y="100"/>
                  </a:lnTo>
                  <a:close/>
                </a:path>
              </a:pathLst>
            </a:custGeom>
            <a:solidFill>
              <a:srgbClr val="C4D6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8" name="Freeform 334">
              <a:extLst>
                <a:ext uri="{FF2B5EF4-FFF2-40B4-BE49-F238E27FC236}">
                  <a16:creationId xmlns:a16="http://schemas.microsoft.com/office/drawing/2014/main" id="{DB5260A3-3B9B-43AC-AE15-4E9931477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475" y="4468813"/>
              <a:ext cx="93663" cy="117475"/>
            </a:xfrm>
            <a:custGeom>
              <a:avLst/>
              <a:gdLst>
                <a:gd name="T0" fmla="*/ 261 w 262"/>
                <a:gd name="T1" fmla="*/ 13 h 325"/>
                <a:gd name="T2" fmla="*/ 261 w 262"/>
                <a:gd name="T3" fmla="*/ 13 h 325"/>
                <a:gd name="T4" fmla="*/ 261 w 262"/>
                <a:gd name="T5" fmla="*/ 312 h 325"/>
                <a:gd name="T6" fmla="*/ 237 w 262"/>
                <a:gd name="T7" fmla="*/ 324 h 325"/>
                <a:gd name="T8" fmla="*/ 24 w 262"/>
                <a:gd name="T9" fmla="*/ 324 h 325"/>
                <a:gd name="T10" fmla="*/ 0 w 262"/>
                <a:gd name="T11" fmla="*/ 312 h 325"/>
                <a:gd name="T12" fmla="*/ 0 w 262"/>
                <a:gd name="T13" fmla="*/ 13 h 325"/>
                <a:gd name="T14" fmla="*/ 24 w 262"/>
                <a:gd name="T15" fmla="*/ 0 h 325"/>
                <a:gd name="T16" fmla="*/ 237 w 262"/>
                <a:gd name="T17" fmla="*/ 0 h 325"/>
                <a:gd name="T18" fmla="*/ 261 w 262"/>
                <a:gd name="T19" fmla="*/ 13 h 325"/>
                <a:gd name="T20" fmla="*/ 261 w 262"/>
                <a:gd name="T21" fmla="*/ 13 h 325"/>
                <a:gd name="T22" fmla="*/ 261 w 262"/>
                <a:gd name="T23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325">
                  <a:moveTo>
                    <a:pt x="261" y="13"/>
                  </a:moveTo>
                  <a:lnTo>
                    <a:pt x="261" y="13"/>
                  </a:lnTo>
                  <a:cubicBezTo>
                    <a:pt x="261" y="312"/>
                    <a:pt x="261" y="312"/>
                    <a:pt x="261" y="312"/>
                  </a:cubicBezTo>
                  <a:cubicBezTo>
                    <a:pt x="261" y="324"/>
                    <a:pt x="249" y="324"/>
                    <a:pt x="237" y="324"/>
                  </a:cubicBezTo>
                  <a:cubicBezTo>
                    <a:pt x="24" y="324"/>
                    <a:pt x="24" y="324"/>
                    <a:pt x="24" y="324"/>
                  </a:cubicBezTo>
                  <a:cubicBezTo>
                    <a:pt x="12" y="324"/>
                    <a:pt x="0" y="324"/>
                    <a:pt x="0" y="3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12" y="0"/>
                    <a:pt x="24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9" y="0"/>
                    <a:pt x="261" y="0"/>
                    <a:pt x="261" y="13"/>
                  </a:cubicBezTo>
                  <a:close/>
                  <a:moveTo>
                    <a:pt x="261" y="13"/>
                  </a:moveTo>
                  <a:lnTo>
                    <a:pt x="261" y="1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9" name="Freeform 335">
              <a:extLst>
                <a:ext uri="{FF2B5EF4-FFF2-40B4-BE49-F238E27FC236}">
                  <a16:creationId xmlns:a16="http://schemas.microsoft.com/office/drawing/2014/main" id="{331C7D23-830E-4472-8CAF-0DB30DCC9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0" y="4468813"/>
              <a:ext cx="41275" cy="117475"/>
            </a:xfrm>
            <a:custGeom>
              <a:avLst/>
              <a:gdLst>
                <a:gd name="T0" fmla="*/ 112 w 113"/>
                <a:gd name="T1" fmla="*/ 13 h 325"/>
                <a:gd name="T2" fmla="*/ 112 w 113"/>
                <a:gd name="T3" fmla="*/ 13 h 325"/>
                <a:gd name="T4" fmla="*/ 112 w 113"/>
                <a:gd name="T5" fmla="*/ 312 h 325"/>
                <a:gd name="T6" fmla="*/ 88 w 113"/>
                <a:gd name="T7" fmla="*/ 324 h 325"/>
                <a:gd name="T8" fmla="*/ 0 w 113"/>
                <a:gd name="T9" fmla="*/ 324 h 325"/>
                <a:gd name="T10" fmla="*/ 25 w 113"/>
                <a:gd name="T11" fmla="*/ 299 h 325"/>
                <a:gd name="T12" fmla="*/ 25 w 113"/>
                <a:gd name="T13" fmla="*/ 0 h 325"/>
                <a:gd name="T14" fmla="*/ 88 w 113"/>
                <a:gd name="T15" fmla="*/ 0 h 325"/>
                <a:gd name="T16" fmla="*/ 112 w 113"/>
                <a:gd name="T17" fmla="*/ 13 h 325"/>
                <a:gd name="T18" fmla="*/ 112 w 113"/>
                <a:gd name="T19" fmla="*/ 13 h 325"/>
                <a:gd name="T20" fmla="*/ 112 w 113"/>
                <a:gd name="T21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325">
                  <a:moveTo>
                    <a:pt x="112" y="13"/>
                  </a:moveTo>
                  <a:lnTo>
                    <a:pt x="112" y="13"/>
                  </a:lnTo>
                  <a:cubicBezTo>
                    <a:pt x="112" y="312"/>
                    <a:pt x="112" y="312"/>
                    <a:pt x="112" y="312"/>
                  </a:cubicBezTo>
                  <a:cubicBezTo>
                    <a:pt x="112" y="324"/>
                    <a:pt x="100" y="324"/>
                    <a:pt x="88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3" y="324"/>
                    <a:pt x="25" y="312"/>
                    <a:pt x="25" y="299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0" y="0"/>
                    <a:pt x="112" y="0"/>
                    <a:pt x="112" y="13"/>
                  </a:cubicBezTo>
                  <a:close/>
                  <a:moveTo>
                    <a:pt x="112" y="13"/>
                  </a:moveTo>
                  <a:lnTo>
                    <a:pt x="112" y="1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0" name="Freeform 336">
              <a:extLst>
                <a:ext uri="{FF2B5EF4-FFF2-40B4-BE49-F238E27FC236}">
                  <a16:creationId xmlns:a16="http://schemas.microsoft.com/office/drawing/2014/main" id="{B41B3E9E-C93F-4020-8B48-3340E43E3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438" y="4630738"/>
              <a:ext cx="95250" cy="122237"/>
            </a:xfrm>
            <a:custGeom>
              <a:avLst/>
              <a:gdLst>
                <a:gd name="T0" fmla="*/ 262 w 263"/>
                <a:gd name="T1" fmla="*/ 0 h 338"/>
                <a:gd name="T2" fmla="*/ 262 w 263"/>
                <a:gd name="T3" fmla="*/ 0 h 338"/>
                <a:gd name="T4" fmla="*/ 262 w 263"/>
                <a:gd name="T5" fmla="*/ 324 h 338"/>
                <a:gd name="T6" fmla="*/ 237 w 263"/>
                <a:gd name="T7" fmla="*/ 337 h 338"/>
                <a:gd name="T8" fmla="*/ 25 w 263"/>
                <a:gd name="T9" fmla="*/ 337 h 338"/>
                <a:gd name="T10" fmla="*/ 0 w 263"/>
                <a:gd name="T11" fmla="*/ 324 h 338"/>
                <a:gd name="T12" fmla="*/ 0 w 263"/>
                <a:gd name="T13" fmla="*/ 25 h 338"/>
                <a:gd name="T14" fmla="*/ 25 w 263"/>
                <a:gd name="T15" fmla="*/ 0 h 338"/>
                <a:gd name="T16" fmla="*/ 262 w 263"/>
                <a:gd name="T17" fmla="*/ 0 h 338"/>
                <a:gd name="T18" fmla="*/ 262 w 263"/>
                <a:gd name="T19" fmla="*/ 0 h 338"/>
                <a:gd name="T20" fmla="*/ 262 w 263"/>
                <a:gd name="T2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38">
                  <a:moveTo>
                    <a:pt x="262" y="0"/>
                  </a:moveTo>
                  <a:lnTo>
                    <a:pt x="262" y="0"/>
                  </a:lnTo>
                  <a:cubicBezTo>
                    <a:pt x="262" y="324"/>
                    <a:pt x="262" y="324"/>
                    <a:pt x="262" y="324"/>
                  </a:cubicBezTo>
                  <a:cubicBezTo>
                    <a:pt x="262" y="337"/>
                    <a:pt x="249" y="337"/>
                    <a:pt x="237" y="337"/>
                  </a:cubicBezTo>
                  <a:cubicBezTo>
                    <a:pt x="25" y="337"/>
                    <a:pt x="25" y="337"/>
                    <a:pt x="25" y="337"/>
                  </a:cubicBezTo>
                  <a:cubicBezTo>
                    <a:pt x="13" y="337"/>
                    <a:pt x="0" y="337"/>
                    <a:pt x="0" y="3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3"/>
                    <a:pt x="13" y="0"/>
                    <a:pt x="25" y="0"/>
                  </a:cubicBez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2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1" name="Freeform 337">
              <a:extLst>
                <a:ext uri="{FF2B5EF4-FFF2-40B4-BE49-F238E27FC236}">
                  <a16:creationId xmlns:a16="http://schemas.microsoft.com/office/drawing/2014/main" id="{DFC3E9BE-C9EA-44EC-8E78-1CF6B0BE2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175" y="4630738"/>
              <a:ext cx="36513" cy="122237"/>
            </a:xfrm>
            <a:custGeom>
              <a:avLst/>
              <a:gdLst>
                <a:gd name="T0" fmla="*/ 100 w 101"/>
                <a:gd name="T1" fmla="*/ 0 h 338"/>
                <a:gd name="T2" fmla="*/ 100 w 101"/>
                <a:gd name="T3" fmla="*/ 0 h 338"/>
                <a:gd name="T4" fmla="*/ 100 w 101"/>
                <a:gd name="T5" fmla="*/ 324 h 338"/>
                <a:gd name="T6" fmla="*/ 75 w 101"/>
                <a:gd name="T7" fmla="*/ 337 h 338"/>
                <a:gd name="T8" fmla="*/ 0 w 101"/>
                <a:gd name="T9" fmla="*/ 337 h 338"/>
                <a:gd name="T10" fmla="*/ 13 w 101"/>
                <a:gd name="T11" fmla="*/ 324 h 338"/>
                <a:gd name="T12" fmla="*/ 13 w 101"/>
                <a:gd name="T13" fmla="*/ 0 h 338"/>
                <a:gd name="T14" fmla="*/ 100 w 101"/>
                <a:gd name="T15" fmla="*/ 0 h 338"/>
                <a:gd name="T16" fmla="*/ 100 w 101"/>
                <a:gd name="T17" fmla="*/ 0 h 338"/>
                <a:gd name="T18" fmla="*/ 100 w 101"/>
                <a:gd name="T1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38">
                  <a:moveTo>
                    <a:pt x="100" y="0"/>
                  </a:moveTo>
                  <a:lnTo>
                    <a:pt x="100" y="0"/>
                  </a:lnTo>
                  <a:cubicBezTo>
                    <a:pt x="100" y="324"/>
                    <a:pt x="100" y="324"/>
                    <a:pt x="100" y="324"/>
                  </a:cubicBezTo>
                  <a:cubicBezTo>
                    <a:pt x="100" y="337"/>
                    <a:pt x="87" y="337"/>
                    <a:pt x="75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24"/>
                    <a:pt x="13" y="324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0" y="0"/>
                  </a:lnTo>
                  <a:close/>
                  <a:moveTo>
                    <a:pt x="100" y="0"/>
                  </a:moveTo>
                  <a:lnTo>
                    <a:pt x="100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2" name="Freeform 338">
              <a:extLst>
                <a:ext uri="{FF2B5EF4-FFF2-40B4-BE49-F238E27FC236}">
                  <a16:creationId xmlns:a16="http://schemas.microsoft.com/office/drawing/2014/main" id="{53FE4CC0-8F98-497A-A988-3744C2434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530725"/>
              <a:ext cx="93662" cy="122238"/>
            </a:xfrm>
            <a:custGeom>
              <a:avLst/>
              <a:gdLst>
                <a:gd name="T0" fmla="*/ 261 w 262"/>
                <a:gd name="T1" fmla="*/ 25 h 338"/>
                <a:gd name="T2" fmla="*/ 261 w 262"/>
                <a:gd name="T3" fmla="*/ 25 h 338"/>
                <a:gd name="T4" fmla="*/ 261 w 262"/>
                <a:gd name="T5" fmla="*/ 324 h 338"/>
                <a:gd name="T6" fmla="*/ 236 w 262"/>
                <a:gd name="T7" fmla="*/ 337 h 338"/>
                <a:gd name="T8" fmla="*/ 0 w 262"/>
                <a:gd name="T9" fmla="*/ 337 h 338"/>
                <a:gd name="T10" fmla="*/ 0 w 262"/>
                <a:gd name="T11" fmla="*/ 25 h 338"/>
                <a:gd name="T12" fmla="*/ 25 w 262"/>
                <a:gd name="T13" fmla="*/ 0 h 338"/>
                <a:gd name="T14" fmla="*/ 236 w 262"/>
                <a:gd name="T15" fmla="*/ 0 h 338"/>
                <a:gd name="T16" fmla="*/ 261 w 262"/>
                <a:gd name="T17" fmla="*/ 25 h 338"/>
                <a:gd name="T18" fmla="*/ 261 w 262"/>
                <a:gd name="T19" fmla="*/ 25 h 338"/>
                <a:gd name="T20" fmla="*/ 261 w 262"/>
                <a:gd name="T21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338">
                  <a:moveTo>
                    <a:pt x="261" y="25"/>
                  </a:moveTo>
                  <a:lnTo>
                    <a:pt x="261" y="25"/>
                  </a:lnTo>
                  <a:cubicBezTo>
                    <a:pt x="261" y="324"/>
                    <a:pt x="261" y="324"/>
                    <a:pt x="261" y="324"/>
                  </a:cubicBezTo>
                  <a:cubicBezTo>
                    <a:pt x="261" y="337"/>
                    <a:pt x="248" y="337"/>
                    <a:pt x="236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2" y="0"/>
                    <a:pt x="25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8" y="0"/>
                    <a:pt x="261" y="12"/>
                    <a:pt x="261" y="25"/>
                  </a:cubicBezTo>
                  <a:close/>
                  <a:moveTo>
                    <a:pt x="261" y="25"/>
                  </a:moveTo>
                  <a:lnTo>
                    <a:pt x="261" y="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3" name="Freeform 339">
              <a:extLst>
                <a:ext uri="{FF2B5EF4-FFF2-40B4-BE49-F238E27FC236}">
                  <a16:creationId xmlns:a16="http://schemas.microsoft.com/office/drawing/2014/main" id="{6A60FC3C-09F6-4C0B-8330-1E5CA4E64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388" y="4530725"/>
              <a:ext cx="41275" cy="122238"/>
            </a:xfrm>
            <a:custGeom>
              <a:avLst/>
              <a:gdLst>
                <a:gd name="T0" fmla="*/ 112 w 113"/>
                <a:gd name="T1" fmla="*/ 25 h 338"/>
                <a:gd name="T2" fmla="*/ 112 w 113"/>
                <a:gd name="T3" fmla="*/ 25 h 338"/>
                <a:gd name="T4" fmla="*/ 112 w 113"/>
                <a:gd name="T5" fmla="*/ 324 h 338"/>
                <a:gd name="T6" fmla="*/ 87 w 113"/>
                <a:gd name="T7" fmla="*/ 337 h 338"/>
                <a:gd name="T8" fmla="*/ 0 w 113"/>
                <a:gd name="T9" fmla="*/ 337 h 338"/>
                <a:gd name="T10" fmla="*/ 13 w 113"/>
                <a:gd name="T11" fmla="*/ 337 h 338"/>
                <a:gd name="T12" fmla="*/ 13 w 113"/>
                <a:gd name="T13" fmla="*/ 311 h 338"/>
                <a:gd name="T14" fmla="*/ 13 w 113"/>
                <a:gd name="T15" fmla="*/ 37 h 338"/>
                <a:gd name="T16" fmla="*/ 0 w 113"/>
                <a:gd name="T17" fmla="*/ 0 h 338"/>
                <a:gd name="T18" fmla="*/ 87 w 113"/>
                <a:gd name="T19" fmla="*/ 0 h 338"/>
                <a:gd name="T20" fmla="*/ 112 w 113"/>
                <a:gd name="T21" fmla="*/ 25 h 338"/>
                <a:gd name="T22" fmla="*/ 112 w 113"/>
                <a:gd name="T23" fmla="*/ 25 h 338"/>
                <a:gd name="T24" fmla="*/ 112 w 113"/>
                <a:gd name="T25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38">
                  <a:moveTo>
                    <a:pt x="112" y="25"/>
                  </a:moveTo>
                  <a:lnTo>
                    <a:pt x="112" y="25"/>
                  </a:lnTo>
                  <a:cubicBezTo>
                    <a:pt x="112" y="324"/>
                    <a:pt x="112" y="324"/>
                    <a:pt x="112" y="324"/>
                  </a:cubicBezTo>
                  <a:cubicBezTo>
                    <a:pt x="112" y="337"/>
                    <a:pt x="99" y="337"/>
                    <a:pt x="87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37"/>
                    <a:pt x="13" y="337"/>
                  </a:cubicBezTo>
                  <a:cubicBezTo>
                    <a:pt x="13" y="337"/>
                    <a:pt x="13" y="324"/>
                    <a:pt x="13" y="31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25"/>
                    <a:pt x="13" y="12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9" y="0"/>
                    <a:pt x="112" y="12"/>
                    <a:pt x="112" y="25"/>
                  </a:cubicBezTo>
                  <a:close/>
                  <a:moveTo>
                    <a:pt x="112" y="25"/>
                  </a:moveTo>
                  <a:lnTo>
                    <a:pt x="112" y="25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4" name="Freeform 340">
              <a:extLst>
                <a:ext uri="{FF2B5EF4-FFF2-40B4-BE49-F238E27FC236}">
                  <a16:creationId xmlns:a16="http://schemas.microsoft.com/office/drawing/2014/main" id="{092458D7-36D6-4DFE-BE69-C9017EF46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284663"/>
              <a:ext cx="265113" cy="166687"/>
            </a:xfrm>
            <a:custGeom>
              <a:avLst/>
              <a:gdLst>
                <a:gd name="T0" fmla="*/ 735 w 736"/>
                <a:gd name="T1" fmla="*/ 287 h 462"/>
                <a:gd name="T2" fmla="*/ 735 w 736"/>
                <a:gd name="T3" fmla="*/ 287 h 462"/>
                <a:gd name="T4" fmla="*/ 698 w 736"/>
                <a:gd name="T5" fmla="*/ 324 h 462"/>
                <a:gd name="T6" fmla="*/ 673 w 736"/>
                <a:gd name="T7" fmla="*/ 374 h 462"/>
                <a:gd name="T8" fmla="*/ 449 w 736"/>
                <a:gd name="T9" fmla="*/ 225 h 462"/>
                <a:gd name="T10" fmla="*/ 387 w 736"/>
                <a:gd name="T11" fmla="*/ 237 h 462"/>
                <a:gd name="T12" fmla="*/ 125 w 736"/>
                <a:gd name="T13" fmla="*/ 237 h 462"/>
                <a:gd name="T14" fmla="*/ 113 w 736"/>
                <a:gd name="T15" fmla="*/ 461 h 462"/>
                <a:gd name="T16" fmla="*/ 0 w 736"/>
                <a:gd name="T17" fmla="*/ 461 h 462"/>
                <a:gd name="T18" fmla="*/ 0 w 736"/>
                <a:gd name="T19" fmla="*/ 75 h 462"/>
                <a:gd name="T20" fmla="*/ 75 w 736"/>
                <a:gd name="T21" fmla="*/ 0 h 462"/>
                <a:gd name="T22" fmla="*/ 437 w 736"/>
                <a:gd name="T23" fmla="*/ 0 h 462"/>
                <a:gd name="T24" fmla="*/ 511 w 736"/>
                <a:gd name="T25" fmla="*/ 50 h 462"/>
                <a:gd name="T26" fmla="*/ 511 w 736"/>
                <a:gd name="T27" fmla="*/ 50 h 462"/>
                <a:gd name="T28" fmla="*/ 735 w 736"/>
                <a:gd name="T29" fmla="*/ 287 h 462"/>
                <a:gd name="T30" fmla="*/ 735 w 736"/>
                <a:gd name="T31" fmla="*/ 287 h 462"/>
                <a:gd name="T32" fmla="*/ 735 w 736"/>
                <a:gd name="T33" fmla="*/ 287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6" h="462">
                  <a:moveTo>
                    <a:pt x="735" y="287"/>
                  </a:moveTo>
                  <a:lnTo>
                    <a:pt x="735" y="287"/>
                  </a:lnTo>
                  <a:cubicBezTo>
                    <a:pt x="698" y="324"/>
                    <a:pt x="698" y="324"/>
                    <a:pt x="698" y="324"/>
                  </a:cubicBezTo>
                  <a:cubicBezTo>
                    <a:pt x="673" y="374"/>
                    <a:pt x="673" y="374"/>
                    <a:pt x="673" y="374"/>
                  </a:cubicBezTo>
                  <a:cubicBezTo>
                    <a:pt x="449" y="225"/>
                    <a:pt x="449" y="225"/>
                    <a:pt x="449" y="225"/>
                  </a:cubicBezTo>
                  <a:cubicBezTo>
                    <a:pt x="437" y="237"/>
                    <a:pt x="412" y="237"/>
                    <a:pt x="387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13" y="461"/>
                    <a:pt x="113" y="461"/>
                    <a:pt x="113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25"/>
                    <a:pt x="38" y="0"/>
                    <a:pt x="75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74" y="0"/>
                    <a:pt x="498" y="25"/>
                    <a:pt x="511" y="50"/>
                  </a:cubicBezTo>
                  <a:lnTo>
                    <a:pt x="511" y="50"/>
                  </a:lnTo>
                  <a:lnTo>
                    <a:pt x="735" y="287"/>
                  </a:lnTo>
                  <a:close/>
                  <a:moveTo>
                    <a:pt x="735" y="287"/>
                  </a:moveTo>
                  <a:lnTo>
                    <a:pt x="735" y="2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5" name="Freeform 343">
              <a:extLst>
                <a:ext uri="{FF2B5EF4-FFF2-40B4-BE49-F238E27FC236}">
                  <a16:creationId xmlns:a16="http://schemas.microsoft.com/office/drawing/2014/main" id="{4E798978-FA0D-4D1F-B4D2-0CBA0499B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257675"/>
              <a:ext cx="73025" cy="80963"/>
            </a:xfrm>
            <a:custGeom>
              <a:avLst/>
              <a:gdLst>
                <a:gd name="T0" fmla="*/ 200 w 201"/>
                <a:gd name="T1" fmla="*/ 63 h 226"/>
                <a:gd name="T2" fmla="*/ 200 w 201"/>
                <a:gd name="T3" fmla="*/ 63 h 226"/>
                <a:gd name="T4" fmla="*/ 200 w 201"/>
                <a:gd name="T5" fmla="*/ 125 h 226"/>
                <a:gd name="T6" fmla="*/ 100 w 201"/>
                <a:gd name="T7" fmla="*/ 225 h 226"/>
                <a:gd name="T8" fmla="*/ 88 w 201"/>
                <a:gd name="T9" fmla="*/ 225 h 226"/>
                <a:gd name="T10" fmla="*/ 50 w 201"/>
                <a:gd name="T11" fmla="*/ 212 h 226"/>
                <a:gd name="T12" fmla="*/ 0 w 201"/>
                <a:gd name="T13" fmla="*/ 125 h 226"/>
                <a:gd name="T14" fmla="*/ 0 w 201"/>
                <a:gd name="T15" fmla="*/ 63 h 226"/>
                <a:gd name="T16" fmla="*/ 50 w 201"/>
                <a:gd name="T17" fmla="*/ 0 h 226"/>
                <a:gd name="T18" fmla="*/ 63 w 201"/>
                <a:gd name="T19" fmla="*/ 0 h 226"/>
                <a:gd name="T20" fmla="*/ 125 w 201"/>
                <a:gd name="T21" fmla="*/ 0 h 226"/>
                <a:gd name="T22" fmla="*/ 200 w 201"/>
                <a:gd name="T23" fmla="*/ 63 h 226"/>
                <a:gd name="T24" fmla="*/ 200 w 201"/>
                <a:gd name="T25" fmla="*/ 63 h 226"/>
                <a:gd name="T26" fmla="*/ 200 w 201"/>
                <a:gd name="T27" fmla="*/ 6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63"/>
                  </a:moveTo>
                  <a:lnTo>
                    <a:pt x="200" y="63"/>
                  </a:lnTo>
                  <a:cubicBezTo>
                    <a:pt x="200" y="125"/>
                    <a:pt x="200" y="125"/>
                    <a:pt x="200" y="125"/>
                  </a:cubicBezTo>
                  <a:cubicBezTo>
                    <a:pt x="200" y="175"/>
                    <a:pt x="150" y="225"/>
                    <a:pt x="100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75" y="225"/>
                    <a:pt x="63" y="225"/>
                    <a:pt x="50" y="212"/>
                  </a:cubicBezTo>
                  <a:cubicBezTo>
                    <a:pt x="26" y="200"/>
                    <a:pt x="0" y="162"/>
                    <a:pt x="0" y="12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6" y="0"/>
                    <a:pt x="5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62" y="0"/>
                    <a:pt x="200" y="25"/>
                    <a:pt x="200" y="63"/>
                  </a:cubicBezTo>
                  <a:close/>
                  <a:moveTo>
                    <a:pt x="200" y="63"/>
                  </a:moveTo>
                  <a:lnTo>
                    <a:pt x="200" y="6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6" name="Freeform 345">
              <a:extLst>
                <a:ext uri="{FF2B5EF4-FFF2-40B4-BE49-F238E27FC236}">
                  <a16:creationId xmlns:a16="http://schemas.microsoft.com/office/drawing/2014/main" id="{F5B42E5D-E9AB-4F4B-97DD-4D04D9D1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449763"/>
              <a:ext cx="41275" cy="41275"/>
            </a:xfrm>
            <a:custGeom>
              <a:avLst/>
              <a:gdLst>
                <a:gd name="T0" fmla="*/ 113 w 114"/>
                <a:gd name="T1" fmla="*/ 0 h 114"/>
                <a:gd name="T2" fmla="*/ 113 w 114"/>
                <a:gd name="T3" fmla="*/ 0 h 114"/>
                <a:gd name="T4" fmla="*/ 100 w 114"/>
                <a:gd name="T5" fmla="*/ 63 h 114"/>
                <a:gd name="T6" fmla="*/ 50 w 114"/>
                <a:gd name="T7" fmla="*/ 113 h 114"/>
                <a:gd name="T8" fmla="*/ 13 w 114"/>
                <a:gd name="T9" fmla="*/ 100 h 114"/>
                <a:gd name="T10" fmla="*/ 0 w 114"/>
                <a:gd name="T11" fmla="*/ 63 h 114"/>
                <a:gd name="T12" fmla="*/ 0 w 114"/>
                <a:gd name="T13" fmla="*/ 0 h 114"/>
                <a:gd name="T14" fmla="*/ 113 w 114"/>
                <a:gd name="T15" fmla="*/ 0 h 114"/>
                <a:gd name="T16" fmla="*/ 113 w 114"/>
                <a:gd name="T17" fmla="*/ 0 h 114"/>
                <a:gd name="T18" fmla="*/ 113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113" y="0"/>
                  </a:moveTo>
                  <a:lnTo>
                    <a:pt x="113" y="0"/>
                  </a:lnTo>
                  <a:cubicBezTo>
                    <a:pt x="100" y="63"/>
                    <a:pt x="100" y="63"/>
                    <a:pt x="100" y="63"/>
                  </a:cubicBezTo>
                  <a:cubicBezTo>
                    <a:pt x="100" y="100"/>
                    <a:pt x="75" y="113"/>
                    <a:pt x="50" y="113"/>
                  </a:cubicBezTo>
                  <a:cubicBezTo>
                    <a:pt x="38" y="113"/>
                    <a:pt x="25" y="113"/>
                    <a:pt x="13" y="100"/>
                  </a:cubicBezTo>
                  <a:cubicBezTo>
                    <a:pt x="13" y="88"/>
                    <a:pt x="0" y="75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13" y="0"/>
                  </a:lnTo>
                  <a:close/>
                  <a:moveTo>
                    <a:pt x="113" y="0"/>
                  </a:moveTo>
                  <a:lnTo>
                    <a:pt x="113" y="0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7" name="Freeform 346">
              <a:extLst>
                <a:ext uri="{FF2B5EF4-FFF2-40B4-BE49-F238E27FC236}">
                  <a16:creationId xmlns:a16="http://schemas.microsoft.com/office/drawing/2014/main" id="{8F93BFBB-203A-40A6-A160-52D6AF40D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1288" y="4387850"/>
              <a:ext cx="49212" cy="44450"/>
            </a:xfrm>
            <a:custGeom>
              <a:avLst/>
              <a:gdLst>
                <a:gd name="T0" fmla="*/ 99 w 138"/>
                <a:gd name="T1" fmla="*/ 124 h 125"/>
                <a:gd name="T2" fmla="*/ 99 w 138"/>
                <a:gd name="T3" fmla="*/ 124 h 125"/>
                <a:gd name="T4" fmla="*/ 75 w 138"/>
                <a:gd name="T5" fmla="*/ 124 h 125"/>
                <a:gd name="T6" fmla="*/ 49 w 138"/>
                <a:gd name="T7" fmla="*/ 124 h 125"/>
                <a:gd name="T8" fmla="*/ 0 w 138"/>
                <a:gd name="T9" fmla="*/ 87 h 125"/>
                <a:gd name="T10" fmla="*/ 62 w 138"/>
                <a:gd name="T11" fmla="*/ 0 h 125"/>
                <a:gd name="T12" fmla="*/ 112 w 138"/>
                <a:gd name="T13" fmla="*/ 50 h 125"/>
                <a:gd name="T14" fmla="*/ 99 w 138"/>
                <a:gd name="T15" fmla="*/ 124 h 125"/>
                <a:gd name="T16" fmla="*/ 99 w 138"/>
                <a:gd name="T17" fmla="*/ 124 h 125"/>
                <a:gd name="T18" fmla="*/ 99 w 138"/>
                <a:gd name="T19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25">
                  <a:moveTo>
                    <a:pt x="99" y="124"/>
                  </a:moveTo>
                  <a:lnTo>
                    <a:pt x="99" y="124"/>
                  </a:lnTo>
                  <a:cubicBezTo>
                    <a:pt x="87" y="124"/>
                    <a:pt x="87" y="124"/>
                    <a:pt x="75" y="124"/>
                  </a:cubicBezTo>
                  <a:cubicBezTo>
                    <a:pt x="62" y="124"/>
                    <a:pt x="62" y="124"/>
                    <a:pt x="49" y="124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37" y="74"/>
                    <a:pt x="124" y="112"/>
                    <a:pt x="99" y="124"/>
                  </a:cubicBezTo>
                  <a:close/>
                  <a:moveTo>
                    <a:pt x="99" y="124"/>
                  </a:moveTo>
                  <a:lnTo>
                    <a:pt x="99" y="124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</p:grpSp>
      <p:sp>
        <p:nvSpPr>
          <p:cNvPr id="28" name="Rounded Rectangular Callout 151">
            <a:extLst>
              <a:ext uri="{FF2B5EF4-FFF2-40B4-BE49-F238E27FC236}">
                <a16:creationId xmlns:a16="http://schemas.microsoft.com/office/drawing/2014/main" id="{8959E838-EBD1-472E-A49E-A5E21C4E365C}"/>
              </a:ext>
            </a:extLst>
          </p:cNvPr>
          <p:cNvSpPr/>
          <p:nvPr userDrawn="1"/>
        </p:nvSpPr>
        <p:spPr>
          <a:xfrm>
            <a:off x="9867340" y="2208694"/>
            <a:ext cx="5581424" cy="1764372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sp>
        <p:nvSpPr>
          <p:cNvPr id="29" name="Rounded Rectangular Callout 156">
            <a:extLst>
              <a:ext uri="{FF2B5EF4-FFF2-40B4-BE49-F238E27FC236}">
                <a16:creationId xmlns:a16="http://schemas.microsoft.com/office/drawing/2014/main" id="{E53F31DF-B4F8-414B-8F1A-98ECAD73204A}"/>
              </a:ext>
            </a:extLst>
          </p:cNvPr>
          <p:cNvSpPr/>
          <p:nvPr userDrawn="1"/>
        </p:nvSpPr>
        <p:spPr>
          <a:xfrm rot="10800000">
            <a:off x="2193740" y="7414975"/>
            <a:ext cx="5660058" cy="1953673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30" name="Group 157">
            <a:extLst>
              <a:ext uri="{FF2B5EF4-FFF2-40B4-BE49-F238E27FC236}">
                <a16:creationId xmlns:a16="http://schemas.microsoft.com/office/drawing/2014/main" id="{8AA0FC53-A2C3-42A9-911D-15175E5F3C47}"/>
              </a:ext>
            </a:extLst>
          </p:cNvPr>
          <p:cNvGrpSpPr/>
          <p:nvPr userDrawn="1"/>
        </p:nvGrpSpPr>
        <p:grpSpPr>
          <a:xfrm>
            <a:off x="10322455" y="2288005"/>
            <a:ext cx="4805369" cy="1502944"/>
            <a:chOff x="8171269" y="10491269"/>
            <a:chExt cx="9384504" cy="2044950"/>
          </a:xfrm>
        </p:grpSpPr>
        <p:sp>
          <p:nvSpPr>
            <p:cNvPr id="31" name="TextBox 158">
              <a:extLst>
                <a:ext uri="{FF2B5EF4-FFF2-40B4-BE49-F238E27FC236}">
                  <a16:creationId xmlns:a16="http://schemas.microsoft.com/office/drawing/2014/main" id="{31E16170-6CA1-456C-8DFE-73E9F7C741D4}"/>
                </a:ext>
              </a:extLst>
            </p:cNvPr>
            <p:cNvSpPr txBox="1"/>
            <p:nvPr/>
          </p:nvSpPr>
          <p:spPr>
            <a:xfrm>
              <a:off x="8171269" y="11306867"/>
              <a:ext cx="9384504" cy="122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valiação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Riscos</a:t>
              </a: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Maior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ao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órgão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overnança</a:t>
              </a:r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2" name="Rectangle 159">
              <a:extLst>
                <a:ext uri="{FF2B5EF4-FFF2-40B4-BE49-F238E27FC236}">
                  <a16:creationId xmlns:a16="http://schemas.microsoft.com/office/drawing/2014/main" id="{A1EC6323-BD12-42E2-8E58-0FC1C7CEC95B}"/>
                </a:ext>
              </a:extLst>
            </p:cNvPr>
            <p:cNvSpPr/>
            <p:nvPr/>
          </p:nvSpPr>
          <p:spPr>
            <a:xfrm>
              <a:off x="8171269" y="10491269"/>
              <a:ext cx="9384500" cy="5546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37846"/>
              <a:r>
                <a:rPr lang="en-US" sz="2049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3ª LINHA</a:t>
              </a:r>
            </a:p>
          </p:txBody>
        </p:sp>
      </p:grpSp>
      <p:grpSp>
        <p:nvGrpSpPr>
          <p:cNvPr id="33" name="Group 160">
            <a:extLst>
              <a:ext uri="{FF2B5EF4-FFF2-40B4-BE49-F238E27FC236}">
                <a16:creationId xmlns:a16="http://schemas.microsoft.com/office/drawing/2014/main" id="{08465304-E26C-4D92-9A4B-E3460F8EF172}"/>
              </a:ext>
            </a:extLst>
          </p:cNvPr>
          <p:cNvGrpSpPr/>
          <p:nvPr userDrawn="1"/>
        </p:nvGrpSpPr>
        <p:grpSpPr>
          <a:xfrm>
            <a:off x="2614659" y="7450913"/>
            <a:ext cx="4805369" cy="2192310"/>
            <a:chOff x="8171269" y="10313469"/>
            <a:chExt cx="9384504" cy="2982918"/>
          </a:xfrm>
        </p:grpSpPr>
        <p:sp>
          <p:nvSpPr>
            <p:cNvPr id="34" name="TextBox 161">
              <a:extLst>
                <a:ext uri="{FF2B5EF4-FFF2-40B4-BE49-F238E27FC236}">
                  <a16:creationId xmlns:a16="http://schemas.microsoft.com/office/drawing/2014/main" id="{DFF8D03F-6E8B-4324-BC16-26DF6B92A341}"/>
                </a:ext>
              </a:extLst>
            </p:cNvPr>
            <p:cNvSpPr txBox="1"/>
            <p:nvPr/>
          </p:nvSpPr>
          <p:spPr>
            <a:xfrm>
              <a:off x="8171269" y="11699131"/>
              <a:ext cx="9384504" cy="15972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Limitad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</a:t>
              </a: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primariamente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à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erênci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 </a:t>
              </a:r>
            </a:p>
            <a:p>
              <a:pPr defTabSz="1337846"/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defTabSz="1337846"/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5" name="Rectangle 162">
              <a:extLst>
                <a:ext uri="{FF2B5EF4-FFF2-40B4-BE49-F238E27FC236}">
                  <a16:creationId xmlns:a16="http://schemas.microsoft.com/office/drawing/2014/main" id="{A28857FF-94BC-4073-BD0D-8D0EFE165BDB}"/>
                </a:ext>
              </a:extLst>
            </p:cNvPr>
            <p:cNvSpPr/>
            <p:nvPr/>
          </p:nvSpPr>
          <p:spPr>
            <a:xfrm>
              <a:off x="8281125" y="10313469"/>
              <a:ext cx="8927241" cy="5546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37846"/>
              <a:r>
                <a:rPr lang="en-US" sz="2049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2ª LINHA</a:t>
              </a:r>
              <a:endParaRPr lang="en-US" sz="2927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sp>
        <p:nvSpPr>
          <p:cNvPr id="36" name="TextBox 163">
            <a:extLst>
              <a:ext uri="{FF2B5EF4-FFF2-40B4-BE49-F238E27FC236}">
                <a16:creationId xmlns:a16="http://schemas.microsoft.com/office/drawing/2014/main" id="{BB82A0A6-E268-42BE-9730-71D44CFA86AE}"/>
              </a:ext>
            </a:extLst>
          </p:cNvPr>
          <p:cNvSpPr txBox="1"/>
          <p:nvPr userDrawn="1"/>
        </p:nvSpPr>
        <p:spPr>
          <a:xfrm>
            <a:off x="2401901" y="2980429"/>
            <a:ext cx="4539369" cy="903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São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o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oprietário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store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Riscos. </a:t>
            </a:r>
          </a:p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a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endParaRPr lang="en-US" sz="1757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terno</a:t>
            </a:r>
            <a:endParaRPr lang="en-US" sz="1757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7" name="TextBox 164">
            <a:extLst>
              <a:ext uri="{FF2B5EF4-FFF2-40B4-BE49-F238E27FC236}">
                <a16:creationId xmlns:a16="http://schemas.microsoft.com/office/drawing/2014/main" id="{46A46D57-17C2-4AD1-954C-122B26875916}"/>
              </a:ext>
            </a:extLst>
          </p:cNvPr>
          <p:cNvSpPr txBox="1"/>
          <p:nvPr userDrawn="1"/>
        </p:nvSpPr>
        <p:spPr>
          <a:xfrm>
            <a:off x="12380367" y="6880345"/>
            <a:ext cx="3234972" cy="2641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37846">
              <a:spcBef>
                <a:spcPts val="878"/>
              </a:spcBef>
            </a:pP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ção e Consultoria </a:t>
            </a:r>
            <a:r>
              <a:rPr lang="pt-BR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forma independente e objetiva para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trazer benefícios à unidade </a:t>
            </a:r>
            <a:r>
              <a:rPr lang="pt-BR" sz="1757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e melhorar </a:t>
            </a:r>
            <a:r>
              <a:rPr lang="pt-BR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s operações auxiliando-a a alcançar seus objetivos</a:t>
            </a:r>
            <a:r>
              <a:rPr lang="pt-BR" sz="1757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algn="r" defTabSz="1337846">
              <a:spcBef>
                <a:spcPts val="878"/>
              </a:spcBef>
            </a:pP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r e melhorar </a:t>
            </a:r>
            <a:r>
              <a:rPr lang="pt-BR" sz="1757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 eficácia do gerenciamento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riscos, controle</a:t>
            </a:r>
            <a:r>
              <a:rPr lang="pt-BR" sz="1757" b="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pt-BR" sz="1757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</p:txBody>
      </p:sp>
      <p:sp>
        <p:nvSpPr>
          <p:cNvPr id="38" name="Gráfico 216">
            <a:extLst>
              <a:ext uri="{FF2B5EF4-FFF2-40B4-BE49-F238E27FC236}">
                <a16:creationId xmlns:a16="http://schemas.microsoft.com/office/drawing/2014/main" id="{1716FBB9-C4BA-4FED-9EE6-3DD2E017D2AE}"/>
              </a:ext>
            </a:extLst>
          </p:cNvPr>
          <p:cNvSpPr/>
          <p:nvPr userDrawn="1"/>
        </p:nvSpPr>
        <p:spPr>
          <a:xfrm>
            <a:off x="14632425" y="5786280"/>
            <a:ext cx="746283" cy="742985"/>
          </a:xfrm>
          <a:custGeom>
            <a:avLst/>
            <a:gdLst>
              <a:gd name="connsiteX0" fmla="*/ 285416 w 570831"/>
              <a:gd name="connsiteY0" fmla="*/ 0 h 570831"/>
              <a:gd name="connsiteX1" fmla="*/ 0 w 570831"/>
              <a:gd name="connsiteY1" fmla="*/ 285416 h 570831"/>
              <a:gd name="connsiteX2" fmla="*/ 285416 w 570831"/>
              <a:gd name="connsiteY2" fmla="*/ 570831 h 570831"/>
              <a:gd name="connsiteX3" fmla="*/ 570831 w 570831"/>
              <a:gd name="connsiteY3" fmla="*/ 285416 h 570831"/>
              <a:gd name="connsiteX4" fmla="*/ 285416 w 570831"/>
              <a:gd name="connsiteY4" fmla="*/ 0 h 570831"/>
              <a:gd name="connsiteX5" fmla="*/ 285416 w 570831"/>
              <a:gd name="connsiteY5" fmla="*/ 83247 h 570831"/>
              <a:gd name="connsiteX6" fmla="*/ 422177 w 570831"/>
              <a:gd name="connsiteY6" fmla="*/ 220009 h 570831"/>
              <a:gd name="connsiteX7" fmla="*/ 285416 w 570831"/>
              <a:gd name="connsiteY7" fmla="*/ 356769 h 570831"/>
              <a:gd name="connsiteX8" fmla="*/ 148654 w 570831"/>
              <a:gd name="connsiteY8" fmla="*/ 220007 h 570831"/>
              <a:gd name="connsiteX9" fmla="*/ 285416 w 570831"/>
              <a:gd name="connsiteY9" fmla="*/ 83247 h 570831"/>
              <a:gd name="connsiteX10" fmla="*/ 285416 w 570831"/>
              <a:gd name="connsiteY10" fmla="*/ 523261 h 570831"/>
              <a:gd name="connsiteX11" fmla="*/ 95354 w 570831"/>
              <a:gd name="connsiteY11" fmla="*/ 427809 h 570831"/>
              <a:gd name="connsiteX12" fmla="*/ 285416 w 570831"/>
              <a:gd name="connsiteY12" fmla="*/ 380554 h 570831"/>
              <a:gd name="connsiteX13" fmla="*/ 475478 w 570831"/>
              <a:gd name="connsiteY13" fmla="*/ 427807 h 570831"/>
              <a:gd name="connsiteX14" fmla="*/ 285416 w 570831"/>
              <a:gd name="connsiteY14" fmla="*/ 523261 h 57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0831" h="570831">
                <a:moveTo>
                  <a:pt x="285416" y="0"/>
                </a:moveTo>
                <a:cubicBezTo>
                  <a:pt x="128040" y="0"/>
                  <a:pt x="0" y="128040"/>
                  <a:pt x="0" y="285416"/>
                </a:cubicBezTo>
                <a:cubicBezTo>
                  <a:pt x="0" y="442791"/>
                  <a:pt x="128040" y="570831"/>
                  <a:pt x="285416" y="570831"/>
                </a:cubicBezTo>
                <a:cubicBezTo>
                  <a:pt x="442791" y="570831"/>
                  <a:pt x="570831" y="442791"/>
                  <a:pt x="570831" y="285416"/>
                </a:cubicBezTo>
                <a:cubicBezTo>
                  <a:pt x="570831" y="128040"/>
                  <a:pt x="442791" y="0"/>
                  <a:pt x="285416" y="0"/>
                </a:cubicBezTo>
                <a:close/>
                <a:moveTo>
                  <a:pt x="285416" y="83247"/>
                </a:moveTo>
                <a:cubicBezTo>
                  <a:pt x="360822" y="83247"/>
                  <a:pt x="422177" y="144601"/>
                  <a:pt x="422177" y="220009"/>
                </a:cubicBezTo>
                <a:cubicBezTo>
                  <a:pt x="422177" y="295416"/>
                  <a:pt x="360822" y="356769"/>
                  <a:pt x="285416" y="356769"/>
                </a:cubicBezTo>
                <a:cubicBezTo>
                  <a:pt x="210009" y="356769"/>
                  <a:pt x="148654" y="295415"/>
                  <a:pt x="148654" y="220007"/>
                </a:cubicBezTo>
                <a:cubicBezTo>
                  <a:pt x="148654" y="144600"/>
                  <a:pt x="210009" y="83247"/>
                  <a:pt x="285416" y="83247"/>
                </a:cubicBezTo>
                <a:close/>
                <a:moveTo>
                  <a:pt x="285416" y="523261"/>
                </a:moveTo>
                <a:cubicBezTo>
                  <a:pt x="207699" y="523261"/>
                  <a:pt x="138783" y="485628"/>
                  <a:pt x="95354" y="427809"/>
                </a:cubicBezTo>
                <a:cubicBezTo>
                  <a:pt x="142934" y="404915"/>
                  <a:pt x="210882" y="380554"/>
                  <a:pt x="285416" y="380554"/>
                </a:cubicBezTo>
                <a:cubicBezTo>
                  <a:pt x="359955" y="380554"/>
                  <a:pt x="427908" y="404919"/>
                  <a:pt x="475478" y="427807"/>
                </a:cubicBezTo>
                <a:cubicBezTo>
                  <a:pt x="432049" y="485627"/>
                  <a:pt x="363133" y="523261"/>
                  <a:pt x="285416" y="523261"/>
                </a:cubicBezTo>
                <a:close/>
              </a:path>
            </a:pathLst>
          </a:custGeom>
          <a:solidFill>
            <a:srgbClr val="004165"/>
          </a:solidFill>
          <a:ln w="1098" cap="flat">
            <a:noFill/>
            <a:prstDash val="solid"/>
            <a:miter/>
          </a:ln>
        </p:spPr>
        <p:txBody>
          <a:bodyPr rtlCol="0" anchor="ctr"/>
          <a:lstStyle/>
          <a:p>
            <a:pPr defTabSz="1337846"/>
            <a:endParaRPr lang="es-MX" sz="2634">
              <a:solidFill>
                <a:srgbClr val="999999"/>
              </a:solidFill>
              <a:latin typeface="Trebuchet"/>
            </a:endParaRPr>
          </a:p>
        </p:txBody>
      </p:sp>
      <p:sp>
        <p:nvSpPr>
          <p:cNvPr id="39" name="Rectangle 162">
            <a:extLst>
              <a:ext uri="{FF2B5EF4-FFF2-40B4-BE49-F238E27FC236}">
                <a16:creationId xmlns:a16="http://schemas.microsoft.com/office/drawing/2014/main" id="{31A87DFC-D532-49C0-AEBD-3A7B23367726}"/>
              </a:ext>
            </a:extLst>
          </p:cNvPr>
          <p:cNvSpPr/>
          <p:nvPr userDrawn="1"/>
        </p:nvSpPr>
        <p:spPr>
          <a:xfrm>
            <a:off x="2401899" y="2319839"/>
            <a:ext cx="3234972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1ª LINHA </a:t>
            </a:r>
          </a:p>
        </p:txBody>
      </p:sp>
      <p:sp>
        <p:nvSpPr>
          <p:cNvPr id="40" name="Rectangle 162">
            <a:extLst>
              <a:ext uri="{FF2B5EF4-FFF2-40B4-BE49-F238E27FC236}">
                <a16:creationId xmlns:a16="http://schemas.microsoft.com/office/drawing/2014/main" id="{D30B2F69-91E9-45D3-AC96-13F14AB1F77D}"/>
              </a:ext>
            </a:extLst>
          </p:cNvPr>
          <p:cNvSpPr/>
          <p:nvPr userDrawn="1"/>
        </p:nvSpPr>
        <p:spPr>
          <a:xfrm>
            <a:off x="2401899" y="2581069"/>
            <a:ext cx="3234972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Gestore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e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Equipes</a:t>
            </a:r>
            <a:endParaRPr lang="en-US" sz="2049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1" name="Rectangle 162">
            <a:extLst>
              <a:ext uri="{FF2B5EF4-FFF2-40B4-BE49-F238E27FC236}">
                <a16:creationId xmlns:a16="http://schemas.microsoft.com/office/drawing/2014/main" id="{F40BB129-6BB8-4200-9F33-4D2B13198FA8}"/>
              </a:ext>
            </a:extLst>
          </p:cNvPr>
          <p:cNvSpPr/>
          <p:nvPr userDrawn="1"/>
        </p:nvSpPr>
        <p:spPr>
          <a:xfrm>
            <a:off x="2608329" y="7736027"/>
            <a:ext cx="5060704" cy="72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Riscos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formidade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trole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Interno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Ouvidoria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SI e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demai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funçõe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rporativas</a:t>
            </a:r>
            <a:endParaRPr lang="en-US" sz="2049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2" name="Rectangle 162">
            <a:extLst>
              <a:ext uri="{FF2B5EF4-FFF2-40B4-BE49-F238E27FC236}">
                <a16:creationId xmlns:a16="http://schemas.microsoft.com/office/drawing/2014/main" id="{86F5A0C9-AACA-483D-A123-2854B916C8FF}"/>
              </a:ext>
            </a:extLst>
          </p:cNvPr>
          <p:cNvSpPr/>
          <p:nvPr userDrawn="1"/>
        </p:nvSpPr>
        <p:spPr>
          <a:xfrm>
            <a:off x="10285551" y="2542027"/>
            <a:ext cx="4707315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Auditoria Interna</a:t>
            </a:r>
          </a:p>
        </p:txBody>
      </p:sp>
      <p:sp>
        <p:nvSpPr>
          <p:cNvPr id="43" name="Rectangle 162">
            <a:extLst>
              <a:ext uri="{FF2B5EF4-FFF2-40B4-BE49-F238E27FC236}">
                <a16:creationId xmlns:a16="http://schemas.microsoft.com/office/drawing/2014/main" id="{11E498B7-EA2B-46F3-A34C-5767B92574F4}"/>
              </a:ext>
            </a:extLst>
          </p:cNvPr>
          <p:cNvSpPr/>
          <p:nvPr userDrawn="1"/>
        </p:nvSpPr>
        <p:spPr>
          <a:xfrm>
            <a:off x="13997855" y="6458763"/>
            <a:ext cx="1617486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Nosso</a:t>
            </a:r>
            <a:r>
              <a:rPr lang="en-US" sz="2049" i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Papel</a:t>
            </a:r>
            <a:endParaRPr lang="en-US" sz="2049" i="1">
              <a:solidFill>
                <a:schemeClr val="tx1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29D24922-E087-44E3-AF98-6A7C7504C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600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B6105FF7-EA5F-4A69-9C5A-D2AA690E2764}"/>
              </a:ext>
            </a:extLst>
          </p:cNvPr>
          <p:cNvSpPr txBox="1">
            <a:spLocks/>
          </p:cNvSpPr>
          <p:nvPr userDrawn="1"/>
        </p:nvSpPr>
        <p:spPr>
          <a:xfrm>
            <a:off x="693776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34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Como podemos ajudar?</a:t>
            </a:r>
          </a:p>
        </p:txBody>
      </p:sp>
      <p:sp>
        <p:nvSpPr>
          <p:cNvPr id="46" name="Título 3">
            <a:extLst>
              <a:ext uri="{FF2B5EF4-FFF2-40B4-BE49-F238E27FC236}">
                <a16:creationId xmlns:a16="http://schemas.microsoft.com/office/drawing/2014/main" id="{BA5866AF-84B6-41E3-A175-15F30D5C106B}"/>
              </a:ext>
            </a:extLst>
          </p:cNvPr>
          <p:cNvSpPr txBox="1">
            <a:spLocks/>
          </p:cNvSpPr>
          <p:nvPr userDrawn="1"/>
        </p:nvSpPr>
        <p:spPr>
          <a:xfrm>
            <a:off x="693776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6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Interna</a:t>
            </a:r>
          </a:p>
        </p:txBody>
      </p:sp>
      <p:cxnSp>
        <p:nvCxnSpPr>
          <p:cNvPr id="47" name="Straight Connector 16">
            <a:extLst>
              <a:ext uri="{FF2B5EF4-FFF2-40B4-BE49-F238E27FC236}">
                <a16:creationId xmlns:a16="http://schemas.microsoft.com/office/drawing/2014/main" id="{D43F4610-E35C-41FD-9E78-A553103604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Triângulo isósceles 47">
            <a:extLst>
              <a:ext uri="{FF2B5EF4-FFF2-40B4-BE49-F238E27FC236}">
                <a16:creationId xmlns:a16="http://schemas.microsoft.com/office/drawing/2014/main" id="{31EC1649-4CF2-459C-9FA5-AA6795C32379}"/>
              </a:ext>
            </a:extLst>
          </p:cNvPr>
          <p:cNvSpPr/>
          <p:nvPr userDrawn="1"/>
        </p:nvSpPr>
        <p:spPr>
          <a:xfrm rot="5400000">
            <a:off x="7552231" y="2850597"/>
            <a:ext cx="942931" cy="1266922"/>
          </a:xfrm>
          <a:prstGeom prst="triangle">
            <a:avLst>
              <a:gd name="adj" fmla="val 10000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34"/>
          </a:p>
        </p:txBody>
      </p:sp>
    </p:spTree>
    <p:extLst>
      <p:ext uri="{BB962C8B-B14F-4D97-AF65-F5344CB8AC3E}">
        <p14:creationId xmlns:p14="http://schemas.microsoft.com/office/powerpoint/2010/main" val="304955543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898962" y="2080941"/>
            <a:ext cx="16158496" cy="7237164"/>
            <a:chOff x="636583" y="1415694"/>
            <a:chExt cx="10944285" cy="4923551"/>
          </a:xfrm>
        </p:grpSpPr>
        <p:sp>
          <p:nvSpPr>
            <p:cNvPr id="8" name="Arrow: Pentagon 41">
              <a:extLst>
                <a:ext uri="{FF2B5EF4-FFF2-40B4-BE49-F238E27FC236}">
                  <a16:creationId xmlns:a16="http://schemas.microsoft.com/office/drawing/2014/main" id="{E1B57547-62A5-48B9-AE4B-DD9ABEE3CF2D}"/>
                </a:ext>
              </a:extLst>
            </p:cNvPr>
            <p:cNvSpPr/>
            <p:nvPr/>
          </p:nvSpPr>
          <p:spPr>
            <a:xfrm>
              <a:off x="636583" y="1415694"/>
              <a:ext cx="7252173" cy="4923550"/>
            </a:xfrm>
            <a:prstGeom prst="homePlate">
              <a:avLst>
                <a:gd name="adj" fmla="val 33357"/>
              </a:avLst>
            </a:prstGeom>
            <a:gradFill>
              <a:gsLst>
                <a:gs pos="100000">
                  <a:schemeClr val="bg1">
                    <a:lumMod val="85000"/>
                    <a:alpha val="0"/>
                  </a:schemeClr>
                </a:gs>
                <a:gs pos="50000">
                  <a:schemeClr val="bg1">
                    <a:lumMod val="85000"/>
                    <a:alpha val="50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lin ang="10800000" scaled="0"/>
            </a:gradFill>
            <a:ln w="19050">
              <a:noFill/>
              <a:prstDash val="dot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9" name="Arrow: Pentagon 42">
              <a:extLst>
                <a:ext uri="{FF2B5EF4-FFF2-40B4-BE49-F238E27FC236}">
                  <a16:creationId xmlns:a16="http://schemas.microsoft.com/office/drawing/2014/main" id="{21C7AEED-BA51-4C67-B63B-FC4651969188}"/>
                </a:ext>
              </a:extLst>
            </p:cNvPr>
            <p:cNvSpPr/>
            <p:nvPr/>
          </p:nvSpPr>
          <p:spPr>
            <a:xfrm>
              <a:off x="636588" y="2415485"/>
              <a:ext cx="7252172" cy="2923969"/>
            </a:xfrm>
            <a:prstGeom prst="homePlate">
              <a:avLst>
                <a:gd name="adj" fmla="val 55929"/>
              </a:avLst>
            </a:prstGeom>
            <a:gradFill>
              <a:gsLst>
                <a:gs pos="100000">
                  <a:schemeClr val="bg1">
                    <a:lumMod val="65000"/>
                    <a:alpha val="0"/>
                  </a:schemeClr>
                </a:gs>
                <a:gs pos="50000">
                  <a:schemeClr val="bg1">
                    <a:lumMod val="65000"/>
                    <a:alpha val="5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10800000" scaled="0"/>
            </a:gradFill>
            <a:ln w="762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0" name="Arrow: Pentagon 43">
              <a:extLst>
                <a:ext uri="{FF2B5EF4-FFF2-40B4-BE49-F238E27FC236}">
                  <a16:creationId xmlns:a16="http://schemas.microsoft.com/office/drawing/2014/main" id="{5F916D27-85A1-4179-BE03-007629CE41FB}"/>
                </a:ext>
              </a:extLst>
            </p:cNvPr>
            <p:cNvSpPr/>
            <p:nvPr/>
          </p:nvSpPr>
          <p:spPr>
            <a:xfrm>
              <a:off x="636589" y="3385065"/>
              <a:ext cx="6674810" cy="984809"/>
            </a:xfrm>
            <a:prstGeom prst="homePlate">
              <a:avLst>
                <a:gd name="adj" fmla="val 107567"/>
              </a:avLst>
            </a:prstGeom>
            <a:gradFill>
              <a:gsLst>
                <a:gs pos="10000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  <a:alpha val="30000"/>
                  </a:schemeClr>
                </a:gs>
                <a:gs pos="0">
                  <a:schemeClr val="bg1">
                    <a:lumMod val="50000"/>
                    <a:alpha val="75000"/>
                  </a:schemeClr>
                </a:gs>
              </a:gsLst>
              <a:lin ang="10800000" scaled="0"/>
            </a:gradFill>
            <a:ln w="76200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3093B7C9-666A-44C0-AC21-A8BBDED28908}"/>
                </a:ext>
              </a:extLst>
            </p:cNvPr>
            <p:cNvSpPr/>
            <p:nvPr/>
          </p:nvSpPr>
          <p:spPr>
            <a:xfrm rot="5400000">
              <a:off x="4603754" y="3054243"/>
              <a:ext cx="4923551" cy="1646453"/>
            </a:xfrm>
            <a:prstGeom prst="trapezoid">
              <a:avLst>
                <a:gd name="adj" fmla="val 149404"/>
              </a:avLst>
            </a:prstGeom>
            <a:solidFill>
              <a:schemeClr val="tx1">
                <a:alpha val="38000"/>
              </a:schemeClr>
            </a:solidFill>
            <a:ln w="19050">
              <a:noFill/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2634">
                <a:latin typeface="Trebuchet"/>
              </a:endParaRPr>
            </a:p>
          </p:txBody>
        </p:sp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AF01824D-60ED-49F9-BEC8-22035A8E9E65}"/>
                </a:ext>
              </a:extLst>
            </p:cNvPr>
            <p:cNvSpPr/>
            <p:nvPr/>
          </p:nvSpPr>
          <p:spPr>
            <a:xfrm>
              <a:off x="6910409" y="2157672"/>
              <a:ext cx="4670459" cy="3439594"/>
            </a:xfrm>
            <a:prstGeom prst="roundRect">
              <a:avLst>
                <a:gd name="adj" fmla="val 9146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  <a:prstDash val="solid"/>
              <a:headEnd type="none" w="med" len="med"/>
              <a:tailEnd type="oval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bliqueTopRight"/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algn="ctr"/>
              <a:endParaRPr lang="pt-BR" sz="1757">
                <a:latin typeface="Trebuchet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415233" y="1467755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RISCOS E PROCESSOS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no que é relevante para a Companhia.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97907" y="2445398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TEMPESTIVIDADE E QUALIDADE NAS ENTREGAS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presentação Intermediária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ntecipação da definição dos planos de ação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ntribuição na identificação da causa raiz  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082DD9F7-4820-4ECC-9C6A-0EE7CCB48C67}"/>
                </a:ext>
              </a:extLst>
            </p:cNvPr>
            <p:cNvSpPr txBox="1"/>
            <p:nvPr/>
          </p:nvSpPr>
          <p:spPr>
            <a:xfrm>
              <a:off x="2397907" y="5424242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NSIFICAÇÃO NA COMUNICAÇÃO E FEEDBACK</a:t>
              </a:r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Comunicação </a:t>
              </a:r>
              <a:r>
                <a:rPr lang="pt-BR" sz="1757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Teams</a:t>
              </a: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/</a:t>
              </a:r>
              <a:r>
                <a:rPr lang="pt-BR" sz="1757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Planner</a:t>
              </a:r>
              <a:endParaRPr lang="pt-BR" sz="1757">
                <a:solidFill>
                  <a:schemeClr val="tx2"/>
                </a:solidFill>
                <a:latin typeface="Trebuchet"/>
                <a:ea typeface="Lato Light" panose="020F0502020204030203" pitchFamily="34" charset="0"/>
                <a:cs typeface="Poppins Light" pitchFamily="2" charset="77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 Reunião Semanal/Checkpoint  (30 minutos) 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97907" y="343834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GREGAR VALOR PARA O PROCESSO </a:t>
              </a:r>
            </a:p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E PARA COMPANHI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97907" y="4431294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UNIÕES PERIÓDICAS (diárias e semanais</a:t>
              </a: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)</a:t>
              </a:r>
              <a:endParaRPr lang="pt-BR" sz="1757" b="1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tarefas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8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34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Uma nova perspectiva de atuação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4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6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06"/>
              <a:t>Á</a:t>
            </a:r>
            <a:r>
              <a:rPr kumimoji="0" lang="pt-BR" sz="3806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06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2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00FCAC0D-88BC-456F-A60A-B17A4D5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270" y="8091280"/>
            <a:ext cx="1965362" cy="782671"/>
          </a:xfrm>
          <a:prstGeom prst="rect">
            <a:avLst/>
          </a:prstGeom>
        </p:spPr>
      </p:pic>
      <p:pic>
        <p:nvPicPr>
          <p:cNvPr id="23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C90A394-A971-4D39-86BE-9701AC1A30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t="20444" r="18519" b="19588"/>
          <a:stretch/>
        </p:blipFill>
        <p:spPr>
          <a:xfrm>
            <a:off x="12552314" y="3416214"/>
            <a:ext cx="2430876" cy="574015"/>
          </a:xfrm>
          <a:prstGeom prst="rect">
            <a:avLst/>
          </a:prstGeom>
        </p:spPr>
      </p:pic>
      <p:sp>
        <p:nvSpPr>
          <p:cNvPr id="27" name="TextBox 31">
            <a:extLst>
              <a:ext uri="{FF2B5EF4-FFF2-40B4-BE49-F238E27FC236}">
                <a16:creationId xmlns:a16="http://schemas.microsoft.com/office/drawing/2014/main" id="{15109616-6170-430F-852D-FEA70A09E75A}"/>
              </a:ext>
            </a:extLst>
          </p:cNvPr>
          <p:cNvSpPr txBox="1"/>
          <p:nvPr userDrawn="1"/>
        </p:nvSpPr>
        <p:spPr>
          <a:xfrm>
            <a:off x="10942550" y="3719104"/>
            <a:ext cx="5650404" cy="129718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Sistema para acompanhamento d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relatório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,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ponto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 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açõe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. </a:t>
            </a:r>
          </a:p>
          <a:p>
            <a:endParaRPr lang="pt-BR" sz="1757">
              <a:solidFill>
                <a:schemeClr val="tx2">
                  <a:lumMod val="75000"/>
                </a:schemeClr>
              </a:solidFill>
              <a:latin typeface="Trebuchet"/>
            </a:endParaRPr>
          </a:p>
        </p:txBody>
      </p: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782466" y="6666085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1471899" y="51739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640089" y="3900599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625534" y="2389132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048220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scopo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5B44F0-271B-45CC-91D2-7D50BF2E18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7528" y="2572258"/>
            <a:ext cx="10265638" cy="578876"/>
          </a:xfrm>
          <a:noFill/>
        </p:spPr>
        <p:txBody>
          <a:bodyPr wrap="square" rtlCol="0">
            <a:spAutoFit/>
          </a:bodyPr>
          <a:lstStyle>
            <a:lvl1pPr>
              <a:defRPr lang="pt-BR" sz="3513" b="1" dirty="0">
                <a:solidFill>
                  <a:srgbClr val="353E48"/>
                </a:solidFill>
                <a:latin typeface="Trebuchet"/>
                <a:ea typeface="Lato" charset="0"/>
                <a:cs typeface="Lato" charset="0"/>
              </a:defRPr>
            </a:lvl1pPr>
          </a:lstStyle>
          <a:p>
            <a:pPr marL="0" lvl="0" defTabSz="1337846"/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484FB6-ACEE-4243-85EA-A8CBCE8E1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37528" y="3253842"/>
            <a:ext cx="10265638" cy="376129"/>
          </a:xfrm>
        </p:spPr>
        <p:txBody>
          <a:bodyPr wrap="square">
            <a:spAutoFit/>
          </a:bodyPr>
          <a:lstStyle>
            <a:lvl1pPr marL="0" indent="0">
              <a:buNone/>
              <a:defRPr lang="pt-BR" sz="2049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7138"/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395CA4-1FB1-4D0B-A0BF-999DBC955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E0FC89-32FC-4C64-B469-D4C68916EE8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25774C-4955-4DDF-9DC2-298E1978E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170">
            <a:extLst>
              <a:ext uri="{FF2B5EF4-FFF2-40B4-BE49-F238E27FC236}">
                <a16:creationId xmlns:a16="http://schemas.microsoft.com/office/drawing/2014/main" id="{C69E9B0E-7CE8-4E01-AC82-F030DBBB9C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-1001025"/>
            <a:ext cx="3879539" cy="3725113"/>
          </a:xfrm>
          <a:custGeom>
            <a:avLst/>
            <a:gdLst>
              <a:gd name="T0" fmla="*/ 386932365 w 3038"/>
              <a:gd name="T1" fmla="*/ 165421609 h 3029"/>
              <a:gd name="T2" fmla="*/ 386932365 w 3038"/>
              <a:gd name="T3" fmla="*/ 165421609 h 3029"/>
              <a:gd name="T4" fmla="*/ 358285057 w 3038"/>
              <a:gd name="T5" fmla="*/ 165421609 h 3029"/>
              <a:gd name="T6" fmla="*/ 333008041 w 3038"/>
              <a:gd name="T7" fmla="*/ 104749880 h 3029"/>
              <a:gd name="T8" fmla="*/ 353877862 w 3038"/>
              <a:gd name="T9" fmla="*/ 83748128 h 3029"/>
              <a:gd name="T10" fmla="*/ 353877862 w 3038"/>
              <a:gd name="T11" fmla="*/ 76099082 h 3029"/>
              <a:gd name="T12" fmla="*/ 317582678 w 3038"/>
              <a:gd name="T13" fmla="*/ 39669976 h 3029"/>
              <a:gd name="T14" fmla="*/ 309805190 w 3038"/>
              <a:gd name="T15" fmla="*/ 39669976 h 3029"/>
              <a:gd name="T16" fmla="*/ 288935369 w 3038"/>
              <a:gd name="T17" fmla="*/ 59505145 h 3029"/>
              <a:gd name="T18" fmla="*/ 228270819 w 3038"/>
              <a:gd name="T19" fmla="*/ 34225198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225198 h 3029"/>
              <a:gd name="T30" fmla="*/ 104737582 w 3038"/>
              <a:gd name="T31" fmla="*/ 59505145 h 3029"/>
              <a:gd name="T32" fmla="*/ 83738148 w 3038"/>
              <a:gd name="T33" fmla="*/ 39669976 h 3029"/>
              <a:gd name="T34" fmla="*/ 76090273 w 3038"/>
              <a:gd name="T35" fmla="*/ 39669976 h 3029"/>
              <a:gd name="T36" fmla="*/ 39665477 w 3038"/>
              <a:gd name="T37" fmla="*/ 76099082 h 3029"/>
              <a:gd name="T38" fmla="*/ 39665477 w 3038"/>
              <a:gd name="T39" fmla="*/ 83748128 h 3029"/>
              <a:gd name="T40" fmla="*/ 59498035 w 3038"/>
              <a:gd name="T41" fmla="*/ 104749880 h 3029"/>
              <a:gd name="T42" fmla="*/ 35258281 w 3038"/>
              <a:gd name="T43" fmla="*/ 165421609 h 3029"/>
              <a:gd name="T44" fmla="*/ 5444098 w 3038"/>
              <a:gd name="T45" fmla="*/ 165421609 h 3029"/>
              <a:gd name="T46" fmla="*/ 0 w 3038"/>
              <a:gd name="T47" fmla="*/ 170866747 h 3029"/>
              <a:gd name="T48" fmla="*/ 0 w 3038"/>
              <a:gd name="T49" fmla="*/ 222723206 h 3029"/>
              <a:gd name="T50" fmla="*/ 5444098 w 3038"/>
              <a:gd name="T51" fmla="*/ 228297605 h 3029"/>
              <a:gd name="T52" fmla="*/ 35258281 w 3038"/>
              <a:gd name="T53" fmla="*/ 228297605 h 3029"/>
              <a:gd name="T54" fmla="*/ 59498035 w 3038"/>
              <a:gd name="T55" fmla="*/ 288840073 h 3029"/>
              <a:gd name="T56" fmla="*/ 39665477 w 3038"/>
              <a:gd name="T57" fmla="*/ 309841825 h 3029"/>
              <a:gd name="T58" fmla="*/ 39665477 w 3038"/>
              <a:gd name="T59" fmla="*/ 317620132 h 3029"/>
              <a:gd name="T60" fmla="*/ 76090273 w 3038"/>
              <a:gd name="T61" fmla="*/ 353919617 h 3029"/>
              <a:gd name="T62" fmla="*/ 83738148 w 3038"/>
              <a:gd name="T63" fmla="*/ 353919617 h 3029"/>
              <a:gd name="T64" fmla="*/ 104737582 w 3038"/>
              <a:gd name="T65" fmla="*/ 333047485 h 3029"/>
              <a:gd name="T66" fmla="*/ 165402132 w 3038"/>
              <a:gd name="T67" fmla="*/ 358327432 h 3029"/>
              <a:gd name="T68" fmla="*/ 165402132 w 3038"/>
              <a:gd name="T69" fmla="*/ 387107851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7107851 h 3029"/>
              <a:gd name="T76" fmla="*/ 228270819 w 3038"/>
              <a:gd name="T77" fmla="*/ 358327432 h 3029"/>
              <a:gd name="T78" fmla="*/ 288935369 w 3038"/>
              <a:gd name="T79" fmla="*/ 333047485 h 3029"/>
              <a:gd name="T80" fmla="*/ 309805190 w 3038"/>
              <a:gd name="T81" fmla="*/ 353919617 h 3029"/>
              <a:gd name="T82" fmla="*/ 317582678 w 3038"/>
              <a:gd name="T83" fmla="*/ 353919617 h 3029"/>
              <a:gd name="T84" fmla="*/ 353877862 w 3038"/>
              <a:gd name="T85" fmla="*/ 317620132 h 3029"/>
              <a:gd name="T86" fmla="*/ 353877862 w 3038"/>
              <a:gd name="T87" fmla="*/ 309841825 h 3029"/>
              <a:gd name="T88" fmla="*/ 333008041 w 3038"/>
              <a:gd name="T89" fmla="*/ 288840073 h 3029"/>
              <a:gd name="T90" fmla="*/ 358285057 w 3038"/>
              <a:gd name="T91" fmla="*/ 228297605 h 3029"/>
              <a:gd name="T92" fmla="*/ 386932365 w 3038"/>
              <a:gd name="T93" fmla="*/ 228297605 h 3029"/>
              <a:gd name="T94" fmla="*/ 393672951 w 3038"/>
              <a:gd name="T95" fmla="*/ 222723206 h 3029"/>
              <a:gd name="T96" fmla="*/ 393672951 w 3038"/>
              <a:gd name="T97" fmla="*/ 170866747 h 3029"/>
              <a:gd name="T98" fmla="*/ 386932365 w 3038"/>
              <a:gd name="T99" fmla="*/ 165421609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28345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89"/>
                  <a:pt x="2407" y="289"/>
                  <a:pt x="2390" y="306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59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89"/>
                  <a:pt x="604" y="289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6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8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4"/>
                  <a:pt x="25" y="1761"/>
                  <a:pt x="42" y="1761"/>
                </a:cubicBezTo>
                <a:cubicBezTo>
                  <a:pt x="272" y="1761"/>
                  <a:pt x="272" y="1761"/>
                  <a:pt x="272" y="1761"/>
                </a:cubicBezTo>
                <a:cubicBezTo>
                  <a:pt x="306" y="1931"/>
                  <a:pt x="366" y="2093"/>
                  <a:pt x="459" y="2228"/>
                </a:cubicBezTo>
                <a:cubicBezTo>
                  <a:pt x="306" y="2390"/>
                  <a:pt x="306" y="2390"/>
                  <a:pt x="306" y="2390"/>
                </a:cubicBezTo>
                <a:cubicBezTo>
                  <a:pt x="289" y="2399"/>
                  <a:pt x="289" y="2433"/>
                  <a:pt x="306" y="2450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9"/>
                  <a:pt x="808" y="2569"/>
                  <a:pt x="808" y="2569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6"/>
                  <a:pt x="1276" y="2986"/>
                  <a:pt x="1276" y="2986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6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9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50"/>
                  <a:pt x="2730" y="2450"/>
                  <a:pt x="2730" y="2450"/>
                </a:cubicBezTo>
                <a:cubicBezTo>
                  <a:pt x="2747" y="2433"/>
                  <a:pt x="2747" y="2399"/>
                  <a:pt x="2730" y="2390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3"/>
                  <a:pt x="2730" y="1931"/>
                  <a:pt x="2764" y="1761"/>
                </a:cubicBezTo>
                <a:cubicBezTo>
                  <a:pt x="2985" y="1761"/>
                  <a:pt x="2985" y="1761"/>
                  <a:pt x="2985" y="1761"/>
                </a:cubicBezTo>
                <a:cubicBezTo>
                  <a:pt x="3011" y="1761"/>
                  <a:pt x="3037" y="1744"/>
                  <a:pt x="3037" y="1718"/>
                </a:cubicBezTo>
                <a:cubicBezTo>
                  <a:pt x="3037" y="1318"/>
                  <a:pt x="3037" y="1318"/>
                  <a:pt x="3037" y="1318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7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7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8" name="Freeform 171">
            <a:extLst>
              <a:ext uri="{FF2B5EF4-FFF2-40B4-BE49-F238E27FC236}">
                <a16:creationId xmlns:a16="http://schemas.microsoft.com/office/drawing/2014/main" id="{D6F0CBF4-56DE-4795-9534-0C0D44C331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891353"/>
            <a:ext cx="3868273" cy="3725119"/>
          </a:xfrm>
          <a:custGeom>
            <a:avLst/>
            <a:gdLst>
              <a:gd name="T0" fmla="*/ 387107851 w 3029"/>
              <a:gd name="T1" fmla="*/ 164276553 h 3030"/>
              <a:gd name="T2" fmla="*/ 387107851 w 3029"/>
              <a:gd name="T3" fmla="*/ 164276553 h 3030"/>
              <a:gd name="T4" fmla="*/ 358457052 w 3029"/>
              <a:gd name="T5" fmla="*/ 164276553 h 3030"/>
              <a:gd name="T6" fmla="*/ 333047485 w 3029"/>
              <a:gd name="T7" fmla="*/ 103644589 h 3030"/>
              <a:gd name="T8" fmla="*/ 354049237 w 3029"/>
              <a:gd name="T9" fmla="*/ 82786165 h 3030"/>
              <a:gd name="T10" fmla="*/ 354049237 w 3029"/>
              <a:gd name="T11" fmla="*/ 75012578 h 3030"/>
              <a:gd name="T12" fmla="*/ 316583168 w 3029"/>
              <a:gd name="T13" fmla="*/ 38607700 h 3030"/>
              <a:gd name="T14" fmla="*/ 308804501 w 3029"/>
              <a:gd name="T15" fmla="*/ 38607700 h 3030"/>
              <a:gd name="T16" fmla="*/ 288969693 w 3029"/>
              <a:gd name="T17" fmla="*/ 59595702 h 3030"/>
              <a:gd name="T18" fmla="*/ 228297605 w 3029"/>
              <a:gd name="T19" fmla="*/ 34202775 h 3030"/>
              <a:gd name="T20" fmla="*/ 228297605 w 3029"/>
              <a:gd name="T21" fmla="*/ 5570765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5 h 3030"/>
              <a:gd name="T28" fmla="*/ 164384645 w 3029"/>
              <a:gd name="T29" fmla="*/ 34202775 h 3030"/>
              <a:gd name="T30" fmla="*/ 103712556 w 3029"/>
              <a:gd name="T31" fmla="*/ 59595702 h 3030"/>
              <a:gd name="T32" fmla="*/ 83877748 w 3029"/>
              <a:gd name="T33" fmla="*/ 38607700 h 3030"/>
              <a:gd name="T34" fmla="*/ 76099082 w 3029"/>
              <a:gd name="T35" fmla="*/ 38607700 h 3030"/>
              <a:gd name="T36" fmla="*/ 38633013 w 3029"/>
              <a:gd name="T37" fmla="*/ 75012578 h 3030"/>
              <a:gd name="T38" fmla="*/ 38633013 w 3029"/>
              <a:gd name="T39" fmla="*/ 82786165 h 3030"/>
              <a:gd name="T40" fmla="*/ 59505145 w 3029"/>
              <a:gd name="T41" fmla="*/ 103644589 h 3030"/>
              <a:gd name="T42" fmla="*/ 34225198 w 3029"/>
              <a:gd name="T43" fmla="*/ 164276553 h 3030"/>
              <a:gd name="T44" fmla="*/ 5574399 w 3029"/>
              <a:gd name="T45" fmla="*/ 164276553 h 3030"/>
              <a:gd name="T46" fmla="*/ 0 w 3029"/>
              <a:gd name="T47" fmla="*/ 169847317 h 3030"/>
              <a:gd name="T48" fmla="*/ 0 w 3029"/>
              <a:gd name="T49" fmla="*/ 221539854 h 3030"/>
              <a:gd name="T50" fmla="*/ 5574399 w 3029"/>
              <a:gd name="T51" fmla="*/ 227110979 h 3030"/>
              <a:gd name="T52" fmla="*/ 34225198 w 3029"/>
              <a:gd name="T53" fmla="*/ 227110979 h 3030"/>
              <a:gd name="T54" fmla="*/ 59505145 w 3029"/>
              <a:gd name="T55" fmla="*/ 287742943 h 3030"/>
              <a:gd name="T56" fmla="*/ 38633013 w 3029"/>
              <a:gd name="T57" fmla="*/ 308601366 h 3030"/>
              <a:gd name="T58" fmla="*/ 38633013 w 3029"/>
              <a:gd name="T59" fmla="*/ 316374593 h 3030"/>
              <a:gd name="T60" fmla="*/ 76099082 w 3029"/>
              <a:gd name="T61" fmla="*/ 352650253 h 3030"/>
              <a:gd name="T62" fmla="*/ 83877748 w 3029"/>
              <a:gd name="T63" fmla="*/ 352650253 h 3030"/>
              <a:gd name="T64" fmla="*/ 103712556 w 3029"/>
              <a:gd name="T65" fmla="*/ 332828092 h 3030"/>
              <a:gd name="T66" fmla="*/ 164384645 w 3029"/>
              <a:gd name="T67" fmla="*/ 357055178 h 3030"/>
              <a:gd name="T68" fmla="*/ 164384645 w 3029"/>
              <a:gd name="T69" fmla="*/ 386853029 h 3030"/>
              <a:gd name="T70" fmla="*/ 169829424 w 3029"/>
              <a:gd name="T71" fmla="*/ 392423794 h 3030"/>
              <a:gd name="T72" fmla="*/ 222723206 w 3029"/>
              <a:gd name="T73" fmla="*/ 392423794 h 3030"/>
              <a:gd name="T74" fmla="*/ 228297605 w 3029"/>
              <a:gd name="T75" fmla="*/ 386853029 h 3030"/>
              <a:gd name="T76" fmla="*/ 228297605 w 3029"/>
              <a:gd name="T77" fmla="*/ 357055178 h 3030"/>
              <a:gd name="T78" fmla="*/ 288969693 w 3029"/>
              <a:gd name="T79" fmla="*/ 332828092 h 3030"/>
              <a:gd name="T80" fmla="*/ 308804501 w 3029"/>
              <a:gd name="T81" fmla="*/ 352650253 h 3030"/>
              <a:gd name="T82" fmla="*/ 316583168 w 3029"/>
              <a:gd name="T83" fmla="*/ 352650253 h 3030"/>
              <a:gd name="T84" fmla="*/ 354049237 w 3029"/>
              <a:gd name="T85" fmla="*/ 316374593 h 3030"/>
              <a:gd name="T86" fmla="*/ 354049237 w 3029"/>
              <a:gd name="T87" fmla="*/ 308601366 h 3030"/>
              <a:gd name="T88" fmla="*/ 333047485 w 3029"/>
              <a:gd name="T89" fmla="*/ 287742943 h 3030"/>
              <a:gd name="T90" fmla="*/ 358457052 w 3029"/>
              <a:gd name="T91" fmla="*/ 227110979 h 3030"/>
              <a:gd name="T92" fmla="*/ 387107851 w 3029"/>
              <a:gd name="T93" fmla="*/ 227110979 h 3030"/>
              <a:gd name="T94" fmla="*/ 392552629 w 3029"/>
              <a:gd name="T95" fmla="*/ 221539854 h 3030"/>
              <a:gd name="T96" fmla="*/ 392552629 w 3029"/>
              <a:gd name="T97" fmla="*/ 169847317 h 3030"/>
              <a:gd name="T98" fmla="*/ 387107851 w 3029"/>
              <a:gd name="T99" fmla="*/ 164276553 h 3030"/>
              <a:gd name="T100" fmla="*/ 196276315 w 3029"/>
              <a:gd name="T101" fmla="*/ 325184443 h 3030"/>
              <a:gd name="T102" fmla="*/ 196276315 w 3029"/>
              <a:gd name="T103" fmla="*/ 325184443 h 3030"/>
              <a:gd name="T104" fmla="*/ 67283451 w 3029"/>
              <a:gd name="T105" fmla="*/ 196276866 h 3030"/>
              <a:gd name="T106" fmla="*/ 196276315 w 3029"/>
              <a:gd name="T107" fmla="*/ 67368929 h 3030"/>
              <a:gd name="T108" fmla="*/ 325398799 w 3029"/>
              <a:gd name="T109" fmla="*/ 196276866 h 3030"/>
              <a:gd name="T110" fmla="*/ 196276315 w 3029"/>
              <a:gd name="T111" fmla="*/ 325184443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9"/>
                  <a:pt x="2731" y="639"/>
                  <a:pt x="2731" y="639"/>
                </a:cubicBezTo>
                <a:cubicBezTo>
                  <a:pt x="2739" y="622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8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8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2"/>
                  <a:pt x="298" y="639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1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5"/>
                  <a:pt x="459" y="2221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2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40"/>
                  <a:pt x="630" y="2740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40"/>
                  <a:pt x="2424" y="2740"/>
                  <a:pt x="2442" y="2722"/>
                </a:cubicBezTo>
                <a:cubicBezTo>
                  <a:pt x="2731" y="2442"/>
                  <a:pt x="2731" y="2442"/>
                  <a:pt x="2731" y="2442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1"/>
                  <a:pt x="2569" y="2221"/>
                  <a:pt x="2569" y="2221"/>
                </a:cubicBezTo>
                <a:cubicBezTo>
                  <a:pt x="2663" y="2085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1"/>
                  <a:pt x="3028" y="1311"/>
                  <a:pt x="3028" y="1311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5"/>
                </a:cubicBezTo>
                <a:cubicBezTo>
                  <a:pt x="519" y="962"/>
                  <a:pt x="961" y="520"/>
                  <a:pt x="1514" y="520"/>
                </a:cubicBezTo>
                <a:cubicBezTo>
                  <a:pt x="2067" y="520"/>
                  <a:pt x="2510" y="962"/>
                  <a:pt x="2510" y="1515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9" name="Freeform 172">
            <a:extLst>
              <a:ext uri="{FF2B5EF4-FFF2-40B4-BE49-F238E27FC236}">
                <a16:creationId xmlns:a16="http://schemas.microsoft.com/office/drawing/2014/main" id="{B0F8542D-0C63-44C0-9FBD-6212F9CEB2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4920118"/>
            <a:ext cx="3868273" cy="3725113"/>
          </a:xfrm>
          <a:custGeom>
            <a:avLst/>
            <a:gdLst>
              <a:gd name="T0" fmla="*/ 387107851 w 3029"/>
              <a:gd name="T1" fmla="*/ 164276042 h 3030"/>
              <a:gd name="T2" fmla="*/ 387107851 w 3029"/>
              <a:gd name="T3" fmla="*/ 164276042 h 3030"/>
              <a:gd name="T4" fmla="*/ 358457052 w 3029"/>
              <a:gd name="T5" fmla="*/ 164276042 h 3030"/>
              <a:gd name="T6" fmla="*/ 333047485 w 3029"/>
              <a:gd name="T7" fmla="*/ 103644134 h 3030"/>
              <a:gd name="T8" fmla="*/ 354049237 w 3029"/>
              <a:gd name="T9" fmla="*/ 82656152 h 3030"/>
              <a:gd name="T10" fmla="*/ 354049237 w 3029"/>
              <a:gd name="T11" fmla="*/ 75012509 h 3030"/>
              <a:gd name="T12" fmla="*/ 316583168 w 3029"/>
              <a:gd name="T13" fmla="*/ 38607665 h 3030"/>
              <a:gd name="T14" fmla="*/ 308804501 w 3029"/>
              <a:gd name="T15" fmla="*/ 38607665 h 3030"/>
              <a:gd name="T16" fmla="*/ 288969693 w 3029"/>
              <a:gd name="T17" fmla="*/ 59595287 h 3030"/>
              <a:gd name="T18" fmla="*/ 228297605 w 3029"/>
              <a:gd name="T19" fmla="*/ 34202744 h 3030"/>
              <a:gd name="T20" fmla="*/ 228297605 w 3029"/>
              <a:gd name="T21" fmla="*/ 5570760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0 h 3030"/>
              <a:gd name="T28" fmla="*/ 164384645 w 3029"/>
              <a:gd name="T29" fmla="*/ 34202744 h 3030"/>
              <a:gd name="T30" fmla="*/ 103712556 w 3029"/>
              <a:gd name="T31" fmla="*/ 59595287 h 3030"/>
              <a:gd name="T32" fmla="*/ 83877748 w 3029"/>
              <a:gd name="T33" fmla="*/ 38607665 h 3030"/>
              <a:gd name="T34" fmla="*/ 76099082 w 3029"/>
              <a:gd name="T35" fmla="*/ 38607665 h 3030"/>
              <a:gd name="T36" fmla="*/ 38633013 w 3029"/>
              <a:gd name="T37" fmla="*/ 75012509 h 3030"/>
              <a:gd name="T38" fmla="*/ 38633013 w 3029"/>
              <a:gd name="T39" fmla="*/ 82656152 h 3030"/>
              <a:gd name="T40" fmla="*/ 59505145 w 3029"/>
              <a:gd name="T41" fmla="*/ 103644134 h 3030"/>
              <a:gd name="T42" fmla="*/ 34225198 w 3029"/>
              <a:gd name="T43" fmla="*/ 164276042 h 3030"/>
              <a:gd name="T44" fmla="*/ 5574399 w 3029"/>
              <a:gd name="T45" fmla="*/ 164276042 h 3030"/>
              <a:gd name="T46" fmla="*/ 0 w 3029"/>
              <a:gd name="T47" fmla="*/ 169717584 h 3030"/>
              <a:gd name="T48" fmla="*/ 0 w 3029"/>
              <a:gd name="T49" fmla="*/ 221539651 h 3030"/>
              <a:gd name="T50" fmla="*/ 5574399 w 3029"/>
              <a:gd name="T51" fmla="*/ 227110411 h 3030"/>
              <a:gd name="T52" fmla="*/ 34225198 w 3029"/>
              <a:gd name="T53" fmla="*/ 227110411 h 3030"/>
              <a:gd name="T54" fmla="*/ 59505145 w 3029"/>
              <a:gd name="T55" fmla="*/ 287612741 h 3030"/>
              <a:gd name="T56" fmla="*/ 38633013 w 3029"/>
              <a:gd name="T57" fmla="*/ 308600723 h 3030"/>
              <a:gd name="T58" fmla="*/ 38633013 w 3029"/>
              <a:gd name="T59" fmla="*/ 316244726 h 3030"/>
              <a:gd name="T60" fmla="*/ 76099082 w 3029"/>
              <a:gd name="T61" fmla="*/ 352649570 h 3030"/>
              <a:gd name="T62" fmla="*/ 83877748 w 3029"/>
              <a:gd name="T63" fmla="*/ 352649570 h 3030"/>
              <a:gd name="T64" fmla="*/ 103712556 w 3029"/>
              <a:gd name="T65" fmla="*/ 332827787 h 3030"/>
              <a:gd name="T66" fmla="*/ 164384645 w 3029"/>
              <a:gd name="T67" fmla="*/ 357054491 h 3030"/>
              <a:gd name="T68" fmla="*/ 164384645 w 3029"/>
              <a:gd name="T69" fmla="*/ 386852314 h 3030"/>
              <a:gd name="T70" fmla="*/ 169829424 w 3029"/>
              <a:gd name="T71" fmla="*/ 392423074 h 3030"/>
              <a:gd name="T72" fmla="*/ 222723206 w 3029"/>
              <a:gd name="T73" fmla="*/ 392423074 h 3030"/>
              <a:gd name="T74" fmla="*/ 228297605 w 3029"/>
              <a:gd name="T75" fmla="*/ 386852314 h 3030"/>
              <a:gd name="T76" fmla="*/ 228297605 w 3029"/>
              <a:gd name="T77" fmla="*/ 357054491 h 3030"/>
              <a:gd name="T78" fmla="*/ 288969693 w 3029"/>
              <a:gd name="T79" fmla="*/ 332827787 h 3030"/>
              <a:gd name="T80" fmla="*/ 308804501 w 3029"/>
              <a:gd name="T81" fmla="*/ 352649570 h 3030"/>
              <a:gd name="T82" fmla="*/ 316583168 w 3029"/>
              <a:gd name="T83" fmla="*/ 352649570 h 3030"/>
              <a:gd name="T84" fmla="*/ 354049237 w 3029"/>
              <a:gd name="T85" fmla="*/ 316244726 h 3030"/>
              <a:gd name="T86" fmla="*/ 354049237 w 3029"/>
              <a:gd name="T87" fmla="*/ 308600723 h 3030"/>
              <a:gd name="T88" fmla="*/ 333047485 w 3029"/>
              <a:gd name="T89" fmla="*/ 287612741 h 3030"/>
              <a:gd name="T90" fmla="*/ 358457052 w 3029"/>
              <a:gd name="T91" fmla="*/ 227110411 h 3030"/>
              <a:gd name="T92" fmla="*/ 387107851 w 3029"/>
              <a:gd name="T93" fmla="*/ 227110411 h 3030"/>
              <a:gd name="T94" fmla="*/ 392552629 w 3029"/>
              <a:gd name="T95" fmla="*/ 221539651 h 3030"/>
              <a:gd name="T96" fmla="*/ 392552629 w 3029"/>
              <a:gd name="T97" fmla="*/ 169717584 h 3030"/>
              <a:gd name="T98" fmla="*/ 387107851 w 3029"/>
              <a:gd name="T99" fmla="*/ 164276042 h 3030"/>
              <a:gd name="T100" fmla="*/ 196276315 w 3029"/>
              <a:gd name="T101" fmla="*/ 325183785 h 3030"/>
              <a:gd name="T102" fmla="*/ 196276315 w 3029"/>
              <a:gd name="T103" fmla="*/ 325183785 h 3030"/>
              <a:gd name="T104" fmla="*/ 67283451 w 3029"/>
              <a:gd name="T105" fmla="*/ 196146748 h 3030"/>
              <a:gd name="T106" fmla="*/ 196276315 w 3029"/>
              <a:gd name="T107" fmla="*/ 67239289 h 3030"/>
              <a:gd name="T108" fmla="*/ 325398799 w 3029"/>
              <a:gd name="T109" fmla="*/ 196146748 h 3030"/>
              <a:gd name="T110" fmla="*/ 196276315 w 3029"/>
              <a:gd name="T111" fmla="*/ 325183785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8"/>
                  <a:pt x="2731" y="638"/>
                  <a:pt x="2731" y="638"/>
                </a:cubicBezTo>
                <a:cubicBezTo>
                  <a:pt x="2739" y="621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7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1"/>
                  <a:pt x="298" y="638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0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4"/>
                  <a:pt x="459" y="2220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9"/>
                  <a:pt x="630" y="2739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39"/>
                  <a:pt x="2424" y="2739"/>
                  <a:pt x="2442" y="2722"/>
                </a:cubicBezTo>
                <a:cubicBezTo>
                  <a:pt x="2731" y="2441"/>
                  <a:pt x="2731" y="2441"/>
                  <a:pt x="2731" y="2441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3" y="2084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0"/>
                  <a:pt x="3028" y="1310"/>
                  <a:pt x="3028" y="1310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4"/>
                </a:cubicBezTo>
                <a:cubicBezTo>
                  <a:pt x="519" y="962"/>
                  <a:pt x="961" y="519"/>
                  <a:pt x="1514" y="519"/>
                </a:cubicBezTo>
                <a:cubicBezTo>
                  <a:pt x="2067" y="519"/>
                  <a:pt x="2510" y="962"/>
                  <a:pt x="2510" y="1514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0" name="Freeform 173">
            <a:extLst>
              <a:ext uri="{FF2B5EF4-FFF2-40B4-BE49-F238E27FC236}">
                <a16:creationId xmlns:a16="http://schemas.microsoft.com/office/drawing/2014/main" id="{3EE37673-DE62-4542-87FF-72250AED50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2930137"/>
            <a:ext cx="3879539" cy="3725119"/>
          </a:xfrm>
          <a:custGeom>
            <a:avLst/>
            <a:gdLst>
              <a:gd name="T0" fmla="*/ 386932365 w 3038"/>
              <a:gd name="T1" fmla="*/ 165531498 h 3028"/>
              <a:gd name="T2" fmla="*/ 386932365 w 3038"/>
              <a:gd name="T3" fmla="*/ 165531498 h 3028"/>
              <a:gd name="T4" fmla="*/ 358285057 w 3038"/>
              <a:gd name="T5" fmla="*/ 165531498 h 3028"/>
              <a:gd name="T6" fmla="*/ 333008041 w 3038"/>
              <a:gd name="T7" fmla="*/ 104819147 h 3028"/>
              <a:gd name="T8" fmla="*/ 353877862 w 3038"/>
              <a:gd name="T9" fmla="*/ 83933260 h 3028"/>
              <a:gd name="T10" fmla="*/ 353877862 w 3038"/>
              <a:gd name="T11" fmla="*/ 76149495 h 3028"/>
              <a:gd name="T12" fmla="*/ 317582678 w 3038"/>
              <a:gd name="T13" fmla="*/ 39696440 h 3028"/>
              <a:gd name="T14" fmla="*/ 309805190 w 3038"/>
              <a:gd name="T15" fmla="*/ 39696440 h 3028"/>
              <a:gd name="T16" fmla="*/ 288935369 w 3038"/>
              <a:gd name="T17" fmla="*/ 59674324 h 3028"/>
              <a:gd name="T18" fmla="*/ 228270819 w 3038"/>
              <a:gd name="T19" fmla="*/ 34247697 h 3028"/>
              <a:gd name="T20" fmla="*/ 228270819 w 3038"/>
              <a:gd name="T21" fmla="*/ 5578406 h 3028"/>
              <a:gd name="T22" fmla="*/ 222696749 w 3038"/>
              <a:gd name="T23" fmla="*/ 0 h 3028"/>
              <a:gd name="T24" fmla="*/ 170846589 w 3038"/>
              <a:gd name="T25" fmla="*/ 0 h 3028"/>
              <a:gd name="T26" fmla="*/ 165402132 w 3038"/>
              <a:gd name="T27" fmla="*/ 5578406 h 3028"/>
              <a:gd name="T28" fmla="*/ 165402132 w 3038"/>
              <a:gd name="T29" fmla="*/ 34247697 h 3028"/>
              <a:gd name="T30" fmla="*/ 104737582 w 3038"/>
              <a:gd name="T31" fmla="*/ 59674324 h 3028"/>
              <a:gd name="T32" fmla="*/ 83738148 w 3038"/>
              <a:gd name="T33" fmla="*/ 39696440 h 3028"/>
              <a:gd name="T34" fmla="*/ 76090273 w 3038"/>
              <a:gd name="T35" fmla="*/ 39696440 h 3028"/>
              <a:gd name="T36" fmla="*/ 39665477 w 3038"/>
              <a:gd name="T37" fmla="*/ 76149495 h 3028"/>
              <a:gd name="T38" fmla="*/ 39665477 w 3038"/>
              <a:gd name="T39" fmla="*/ 83933260 h 3028"/>
              <a:gd name="T40" fmla="*/ 59498035 w 3038"/>
              <a:gd name="T41" fmla="*/ 104819147 h 3028"/>
              <a:gd name="T42" fmla="*/ 35258281 w 3038"/>
              <a:gd name="T43" fmla="*/ 165531498 h 3028"/>
              <a:gd name="T44" fmla="*/ 5444098 w 3038"/>
              <a:gd name="T45" fmla="*/ 165531498 h 3028"/>
              <a:gd name="T46" fmla="*/ 0 w 3038"/>
              <a:gd name="T47" fmla="*/ 171109544 h 3028"/>
              <a:gd name="T48" fmla="*/ 0 w 3038"/>
              <a:gd name="T49" fmla="*/ 222870440 h 3028"/>
              <a:gd name="T50" fmla="*/ 5444098 w 3038"/>
              <a:gd name="T51" fmla="*/ 228319183 h 3028"/>
              <a:gd name="T52" fmla="*/ 35258281 w 3038"/>
              <a:gd name="T53" fmla="*/ 228319183 h 3028"/>
              <a:gd name="T54" fmla="*/ 59498035 w 3038"/>
              <a:gd name="T55" fmla="*/ 289031174 h 3028"/>
              <a:gd name="T56" fmla="*/ 39665477 w 3038"/>
              <a:gd name="T57" fmla="*/ 308879394 h 3028"/>
              <a:gd name="T58" fmla="*/ 39665477 w 3038"/>
              <a:gd name="T59" fmla="*/ 317700825 h 3028"/>
              <a:gd name="T60" fmla="*/ 76090273 w 3038"/>
              <a:gd name="T61" fmla="*/ 354154241 h 3028"/>
              <a:gd name="T62" fmla="*/ 83738148 w 3038"/>
              <a:gd name="T63" fmla="*/ 354154241 h 3028"/>
              <a:gd name="T64" fmla="*/ 104737582 w 3038"/>
              <a:gd name="T65" fmla="*/ 333138330 h 3028"/>
              <a:gd name="T66" fmla="*/ 165402132 w 3038"/>
              <a:gd name="T67" fmla="*/ 358564956 h 3028"/>
              <a:gd name="T68" fmla="*/ 165402132 w 3038"/>
              <a:gd name="T69" fmla="*/ 387234248 h 3028"/>
              <a:gd name="T70" fmla="*/ 170846589 w 3038"/>
              <a:gd name="T71" fmla="*/ 392682990 h 3028"/>
              <a:gd name="T72" fmla="*/ 222696749 w 3038"/>
              <a:gd name="T73" fmla="*/ 392682990 h 3028"/>
              <a:gd name="T74" fmla="*/ 228270819 w 3038"/>
              <a:gd name="T75" fmla="*/ 387234248 h 3028"/>
              <a:gd name="T76" fmla="*/ 228270819 w 3038"/>
              <a:gd name="T77" fmla="*/ 358564956 h 3028"/>
              <a:gd name="T78" fmla="*/ 288935369 w 3038"/>
              <a:gd name="T79" fmla="*/ 333138330 h 3028"/>
              <a:gd name="T80" fmla="*/ 309805190 w 3038"/>
              <a:gd name="T81" fmla="*/ 354154241 h 3028"/>
              <a:gd name="T82" fmla="*/ 317582678 w 3038"/>
              <a:gd name="T83" fmla="*/ 354154241 h 3028"/>
              <a:gd name="T84" fmla="*/ 353877862 w 3038"/>
              <a:gd name="T85" fmla="*/ 317700825 h 3028"/>
              <a:gd name="T86" fmla="*/ 353877862 w 3038"/>
              <a:gd name="T87" fmla="*/ 308879394 h 3028"/>
              <a:gd name="T88" fmla="*/ 333008041 w 3038"/>
              <a:gd name="T89" fmla="*/ 289031174 h 3028"/>
              <a:gd name="T90" fmla="*/ 358285057 w 3038"/>
              <a:gd name="T91" fmla="*/ 228319183 h 3028"/>
              <a:gd name="T92" fmla="*/ 386932365 w 3038"/>
              <a:gd name="T93" fmla="*/ 228319183 h 3028"/>
              <a:gd name="T94" fmla="*/ 393672951 w 3038"/>
              <a:gd name="T95" fmla="*/ 222870440 h 3028"/>
              <a:gd name="T96" fmla="*/ 393672951 w 3038"/>
              <a:gd name="T97" fmla="*/ 171109544 h 3028"/>
              <a:gd name="T98" fmla="*/ 386932365 w 3038"/>
              <a:gd name="T99" fmla="*/ 165531498 h 3028"/>
              <a:gd name="T100" fmla="*/ 196253218 w 3038"/>
              <a:gd name="T101" fmla="*/ 325484590 h 3028"/>
              <a:gd name="T102" fmla="*/ 196253218 w 3038"/>
              <a:gd name="T103" fmla="*/ 325484590 h 3028"/>
              <a:gd name="T104" fmla="*/ 67275523 w 3038"/>
              <a:gd name="T105" fmla="*/ 196406507 h 3028"/>
              <a:gd name="T106" fmla="*/ 196253218 w 3038"/>
              <a:gd name="T107" fmla="*/ 67328064 h 3028"/>
              <a:gd name="T108" fmla="*/ 325230553 w 3038"/>
              <a:gd name="T109" fmla="*/ 196406507 h 3028"/>
              <a:gd name="T110" fmla="*/ 196253218 w 3038"/>
              <a:gd name="T111" fmla="*/ 325484590 h 302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8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7"/>
                  <a:pt x="2730" y="647"/>
                  <a:pt x="2730" y="647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90"/>
                  <a:pt x="2407" y="290"/>
                  <a:pt x="2390" y="306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3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60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90"/>
                  <a:pt x="604" y="290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7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9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3"/>
                  <a:pt x="25" y="1760"/>
                  <a:pt x="42" y="1760"/>
                </a:cubicBezTo>
                <a:cubicBezTo>
                  <a:pt x="272" y="1760"/>
                  <a:pt x="272" y="1760"/>
                  <a:pt x="272" y="1760"/>
                </a:cubicBezTo>
                <a:cubicBezTo>
                  <a:pt x="306" y="1930"/>
                  <a:pt x="366" y="2092"/>
                  <a:pt x="459" y="2228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32"/>
                  <a:pt x="306" y="2449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1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0"/>
                  <a:pt x="1293" y="3027"/>
                  <a:pt x="1318" y="3027"/>
                </a:cubicBezTo>
                <a:cubicBezTo>
                  <a:pt x="1718" y="3027"/>
                  <a:pt x="1718" y="3027"/>
                  <a:pt x="1718" y="3027"/>
                </a:cubicBezTo>
                <a:cubicBezTo>
                  <a:pt x="1744" y="3027"/>
                  <a:pt x="1761" y="3010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1"/>
                  <a:pt x="2229" y="2568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49"/>
                  <a:pt x="2730" y="2449"/>
                  <a:pt x="2730" y="2449"/>
                </a:cubicBezTo>
                <a:cubicBezTo>
                  <a:pt x="2747" y="2432"/>
                  <a:pt x="2747" y="2398"/>
                  <a:pt x="2730" y="2381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2"/>
                  <a:pt x="2730" y="1930"/>
                  <a:pt x="2764" y="1760"/>
                </a:cubicBezTo>
                <a:cubicBezTo>
                  <a:pt x="2985" y="1760"/>
                  <a:pt x="2985" y="1760"/>
                  <a:pt x="2985" y="1760"/>
                </a:cubicBezTo>
                <a:cubicBezTo>
                  <a:pt x="3011" y="1760"/>
                  <a:pt x="3037" y="1743"/>
                  <a:pt x="3037" y="1718"/>
                </a:cubicBezTo>
                <a:cubicBezTo>
                  <a:pt x="3037" y="1319"/>
                  <a:pt x="3037" y="1319"/>
                  <a:pt x="3037" y="1319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6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6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1" name="Freeform 174">
            <a:extLst>
              <a:ext uri="{FF2B5EF4-FFF2-40B4-BE49-F238E27FC236}">
                <a16:creationId xmlns:a16="http://schemas.microsoft.com/office/drawing/2014/main" id="{6193DDB7-F3B3-494F-88CB-2724563DA2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6969748"/>
            <a:ext cx="3879539" cy="3725113"/>
          </a:xfrm>
          <a:custGeom>
            <a:avLst/>
            <a:gdLst>
              <a:gd name="T0" fmla="*/ 386932365 w 3038"/>
              <a:gd name="T1" fmla="*/ 164255025 h 3029"/>
              <a:gd name="T2" fmla="*/ 386932365 w 3038"/>
              <a:gd name="T3" fmla="*/ 164255025 h 3029"/>
              <a:gd name="T4" fmla="*/ 358285057 w 3038"/>
              <a:gd name="T5" fmla="*/ 164255025 h 3029"/>
              <a:gd name="T6" fmla="*/ 333008041 w 3038"/>
              <a:gd name="T7" fmla="*/ 103582936 h 3029"/>
              <a:gd name="T8" fmla="*/ 353877862 w 3038"/>
              <a:gd name="T9" fmla="*/ 83748128 h 3029"/>
              <a:gd name="T10" fmla="*/ 353877862 w 3038"/>
              <a:gd name="T11" fmla="*/ 75969461 h 3029"/>
              <a:gd name="T12" fmla="*/ 317582678 w 3038"/>
              <a:gd name="T13" fmla="*/ 38503392 h 3029"/>
              <a:gd name="T14" fmla="*/ 309805190 w 3038"/>
              <a:gd name="T15" fmla="*/ 38503392 h 3029"/>
              <a:gd name="T16" fmla="*/ 288935369 w 3038"/>
              <a:gd name="T17" fmla="*/ 59505145 h 3029"/>
              <a:gd name="T18" fmla="*/ 228270819 w 3038"/>
              <a:gd name="T19" fmla="*/ 34095577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095577 h 3029"/>
              <a:gd name="T30" fmla="*/ 104737582 w 3038"/>
              <a:gd name="T31" fmla="*/ 59505145 h 3029"/>
              <a:gd name="T32" fmla="*/ 83738148 w 3038"/>
              <a:gd name="T33" fmla="*/ 38503392 h 3029"/>
              <a:gd name="T34" fmla="*/ 76090273 w 3038"/>
              <a:gd name="T35" fmla="*/ 38503392 h 3029"/>
              <a:gd name="T36" fmla="*/ 39665477 w 3038"/>
              <a:gd name="T37" fmla="*/ 75969461 h 3029"/>
              <a:gd name="T38" fmla="*/ 39665477 w 3038"/>
              <a:gd name="T39" fmla="*/ 83748128 h 3029"/>
              <a:gd name="T40" fmla="*/ 59498035 w 3038"/>
              <a:gd name="T41" fmla="*/ 103582936 h 3029"/>
              <a:gd name="T42" fmla="*/ 35258281 w 3038"/>
              <a:gd name="T43" fmla="*/ 164255025 h 3029"/>
              <a:gd name="T44" fmla="*/ 5444098 w 3038"/>
              <a:gd name="T45" fmla="*/ 164255025 h 3029"/>
              <a:gd name="T46" fmla="*/ 0 w 3038"/>
              <a:gd name="T47" fmla="*/ 169699803 h 3029"/>
              <a:gd name="T48" fmla="*/ 0 w 3038"/>
              <a:gd name="T49" fmla="*/ 221556262 h 3029"/>
              <a:gd name="T50" fmla="*/ 5444098 w 3038"/>
              <a:gd name="T51" fmla="*/ 227130661 h 3029"/>
              <a:gd name="T52" fmla="*/ 35258281 w 3038"/>
              <a:gd name="T53" fmla="*/ 227130661 h 3029"/>
              <a:gd name="T54" fmla="*/ 59498035 w 3038"/>
              <a:gd name="T55" fmla="*/ 287802749 h 3029"/>
              <a:gd name="T56" fmla="*/ 39665477 w 3038"/>
              <a:gd name="T57" fmla="*/ 308674881 h 3029"/>
              <a:gd name="T58" fmla="*/ 39665477 w 3038"/>
              <a:gd name="T59" fmla="*/ 316453548 h 3029"/>
              <a:gd name="T60" fmla="*/ 76090273 w 3038"/>
              <a:gd name="T61" fmla="*/ 352882653 h 3029"/>
              <a:gd name="T62" fmla="*/ 83738148 w 3038"/>
              <a:gd name="T63" fmla="*/ 352882653 h 3029"/>
              <a:gd name="T64" fmla="*/ 104737582 w 3038"/>
              <a:gd name="T65" fmla="*/ 332917864 h 3029"/>
              <a:gd name="T66" fmla="*/ 165402132 w 3038"/>
              <a:gd name="T67" fmla="*/ 358327432 h 3029"/>
              <a:gd name="T68" fmla="*/ 165402132 w 3038"/>
              <a:gd name="T69" fmla="*/ 386978230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6978230 h 3029"/>
              <a:gd name="T76" fmla="*/ 228270819 w 3038"/>
              <a:gd name="T77" fmla="*/ 358327432 h 3029"/>
              <a:gd name="T78" fmla="*/ 288935369 w 3038"/>
              <a:gd name="T79" fmla="*/ 332917864 h 3029"/>
              <a:gd name="T80" fmla="*/ 309805190 w 3038"/>
              <a:gd name="T81" fmla="*/ 352882653 h 3029"/>
              <a:gd name="T82" fmla="*/ 317582678 w 3038"/>
              <a:gd name="T83" fmla="*/ 352882653 h 3029"/>
              <a:gd name="T84" fmla="*/ 353877862 w 3038"/>
              <a:gd name="T85" fmla="*/ 316453548 h 3029"/>
              <a:gd name="T86" fmla="*/ 353877862 w 3038"/>
              <a:gd name="T87" fmla="*/ 308674881 h 3029"/>
              <a:gd name="T88" fmla="*/ 333008041 w 3038"/>
              <a:gd name="T89" fmla="*/ 287802749 h 3029"/>
              <a:gd name="T90" fmla="*/ 358285057 w 3038"/>
              <a:gd name="T91" fmla="*/ 227130661 h 3029"/>
              <a:gd name="T92" fmla="*/ 386932365 w 3038"/>
              <a:gd name="T93" fmla="*/ 227130661 h 3029"/>
              <a:gd name="T94" fmla="*/ 393672951 w 3038"/>
              <a:gd name="T95" fmla="*/ 221556262 h 3029"/>
              <a:gd name="T96" fmla="*/ 393672951 w 3038"/>
              <a:gd name="T97" fmla="*/ 169699803 h 3029"/>
              <a:gd name="T98" fmla="*/ 386932365 w 3038"/>
              <a:gd name="T99" fmla="*/ 164255025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15383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67"/>
                </a:moveTo>
                <a:lnTo>
                  <a:pt x="2985" y="1267"/>
                </a:lnTo>
                <a:cubicBezTo>
                  <a:pt x="2764" y="1267"/>
                  <a:pt x="2764" y="1267"/>
                  <a:pt x="2764" y="1267"/>
                </a:cubicBezTo>
                <a:cubicBezTo>
                  <a:pt x="2730" y="1097"/>
                  <a:pt x="2662" y="944"/>
                  <a:pt x="2569" y="799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29"/>
                  <a:pt x="2747" y="603"/>
                  <a:pt x="2730" y="586"/>
                </a:cubicBezTo>
                <a:cubicBezTo>
                  <a:pt x="2450" y="297"/>
                  <a:pt x="2450" y="297"/>
                  <a:pt x="2450" y="297"/>
                </a:cubicBezTo>
                <a:cubicBezTo>
                  <a:pt x="2433" y="280"/>
                  <a:pt x="2407" y="280"/>
                  <a:pt x="2390" y="297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5"/>
                  <a:pt x="1931" y="297"/>
                  <a:pt x="1761" y="263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3"/>
                  <a:pt x="1276" y="263"/>
                  <a:pt x="1276" y="263"/>
                </a:cubicBezTo>
                <a:cubicBezTo>
                  <a:pt x="1106" y="297"/>
                  <a:pt x="944" y="365"/>
                  <a:pt x="808" y="459"/>
                </a:cubicBezTo>
                <a:cubicBezTo>
                  <a:pt x="646" y="297"/>
                  <a:pt x="646" y="297"/>
                  <a:pt x="646" y="297"/>
                </a:cubicBezTo>
                <a:cubicBezTo>
                  <a:pt x="629" y="280"/>
                  <a:pt x="604" y="280"/>
                  <a:pt x="587" y="297"/>
                </a:cubicBezTo>
                <a:cubicBezTo>
                  <a:pt x="306" y="586"/>
                  <a:pt x="306" y="586"/>
                  <a:pt x="306" y="586"/>
                </a:cubicBezTo>
                <a:cubicBezTo>
                  <a:pt x="289" y="603"/>
                  <a:pt x="289" y="629"/>
                  <a:pt x="306" y="646"/>
                </a:cubicBezTo>
                <a:cubicBezTo>
                  <a:pt x="459" y="799"/>
                  <a:pt x="459" y="799"/>
                  <a:pt x="459" y="799"/>
                </a:cubicBezTo>
                <a:cubicBezTo>
                  <a:pt x="366" y="944"/>
                  <a:pt x="306" y="1097"/>
                  <a:pt x="272" y="1267"/>
                </a:cubicBezTo>
                <a:cubicBezTo>
                  <a:pt x="42" y="1267"/>
                  <a:pt x="42" y="1267"/>
                  <a:pt x="42" y="1267"/>
                </a:cubicBezTo>
                <a:cubicBezTo>
                  <a:pt x="25" y="1267"/>
                  <a:pt x="0" y="1293"/>
                  <a:pt x="0" y="1309"/>
                </a:cubicBezTo>
                <a:cubicBezTo>
                  <a:pt x="0" y="1709"/>
                  <a:pt x="0" y="1709"/>
                  <a:pt x="0" y="1709"/>
                </a:cubicBezTo>
                <a:cubicBezTo>
                  <a:pt x="0" y="1735"/>
                  <a:pt x="25" y="1752"/>
                  <a:pt x="42" y="1752"/>
                </a:cubicBezTo>
                <a:cubicBezTo>
                  <a:pt x="272" y="1752"/>
                  <a:pt x="272" y="1752"/>
                  <a:pt x="272" y="1752"/>
                </a:cubicBezTo>
                <a:cubicBezTo>
                  <a:pt x="306" y="1922"/>
                  <a:pt x="366" y="2084"/>
                  <a:pt x="459" y="2220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24"/>
                  <a:pt x="306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8"/>
                  <a:pt x="629" y="2738"/>
                  <a:pt x="646" y="2722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8"/>
                </a:cubicBezTo>
                <a:cubicBezTo>
                  <a:pt x="2390" y="2722"/>
                  <a:pt x="2390" y="2722"/>
                  <a:pt x="2390" y="2722"/>
                </a:cubicBezTo>
                <a:cubicBezTo>
                  <a:pt x="2407" y="2738"/>
                  <a:pt x="2433" y="2738"/>
                  <a:pt x="2450" y="2722"/>
                </a:cubicBezTo>
                <a:cubicBezTo>
                  <a:pt x="2730" y="2441"/>
                  <a:pt x="2730" y="2441"/>
                  <a:pt x="2730" y="2441"/>
                </a:cubicBezTo>
                <a:cubicBezTo>
                  <a:pt x="2747" y="2424"/>
                  <a:pt x="2747" y="2398"/>
                  <a:pt x="2730" y="2381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2" y="2084"/>
                  <a:pt x="2730" y="1922"/>
                  <a:pt x="2764" y="1752"/>
                </a:cubicBezTo>
                <a:cubicBezTo>
                  <a:pt x="2985" y="1752"/>
                  <a:pt x="2985" y="1752"/>
                  <a:pt x="2985" y="1752"/>
                </a:cubicBezTo>
                <a:cubicBezTo>
                  <a:pt x="3011" y="1752"/>
                  <a:pt x="3037" y="1735"/>
                  <a:pt x="3037" y="1709"/>
                </a:cubicBezTo>
                <a:cubicBezTo>
                  <a:pt x="3037" y="1309"/>
                  <a:pt x="3037" y="1309"/>
                  <a:pt x="3037" y="1309"/>
                </a:cubicBezTo>
                <a:cubicBezTo>
                  <a:pt x="3037" y="1293"/>
                  <a:pt x="3011" y="1267"/>
                  <a:pt x="2985" y="1267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58"/>
                  <a:pt x="519" y="1514"/>
                </a:cubicBezTo>
                <a:cubicBezTo>
                  <a:pt x="519" y="961"/>
                  <a:pt x="970" y="518"/>
                  <a:pt x="1514" y="518"/>
                </a:cubicBezTo>
                <a:cubicBezTo>
                  <a:pt x="2067" y="518"/>
                  <a:pt x="2509" y="961"/>
                  <a:pt x="2509" y="1514"/>
                </a:cubicBezTo>
                <a:cubicBezTo>
                  <a:pt x="2509" y="2058"/>
                  <a:pt x="2067" y="2509"/>
                  <a:pt x="1514" y="2509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2" name="Freeform 396">
            <a:extLst>
              <a:ext uri="{FF2B5EF4-FFF2-40B4-BE49-F238E27FC236}">
                <a16:creationId xmlns:a16="http://schemas.microsoft.com/office/drawing/2014/main" id="{64432B7C-C6CB-4097-9778-D63AC1A5E8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26843" y="338282"/>
            <a:ext cx="1154290" cy="1046505"/>
          </a:xfrm>
          <a:custGeom>
            <a:avLst/>
            <a:gdLst>
              <a:gd name="T0" fmla="*/ 111571192 w 903"/>
              <a:gd name="T1" fmla="*/ 0 h 851"/>
              <a:gd name="T2" fmla="*/ 111571192 w 903"/>
              <a:gd name="T3" fmla="*/ 0 h 851"/>
              <a:gd name="T4" fmla="*/ 111571192 w 903"/>
              <a:gd name="T5" fmla="*/ 0 h 851"/>
              <a:gd name="T6" fmla="*/ 59616959 w 903"/>
              <a:gd name="T7" fmla="*/ 6610924 h 851"/>
              <a:gd name="T8" fmla="*/ 59616959 w 903"/>
              <a:gd name="T9" fmla="*/ 6610924 h 851"/>
              <a:gd name="T10" fmla="*/ 57538919 w 903"/>
              <a:gd name="T11" fmla="*/ 6610924 h 851"/>
              <a:gd name="T12" fmla="*/ 6624067 w 903"/>
              <a:gd name="T13" fmla="*/ 0 h 851"/>
              <a:gd name="T14" fmla="*/ 6624067 w 903"/>
              <a:gd name="T15" fmla="*/ 0 h 851"/>
              <a:gd name="T16" fmla="*/ 1169123 w 903"/>
              <a:gd name="T17" fmla="*/ 6610924 h 851"/>
              <a:gd name="T18" fmla="*/ 1169123 w 903"/>
              <a:gd name="T19" fmla="*/ 17628651 h 851"/>
              <a:gd name="T20" fmla="*/ 0 w 903"/>
              <a:gd name="T21" fmla="*/ 82699918 h 851"/>
              <a:gd name="T22" fmla="*/ 0 w 903"/>
              <a:gd name="T23" fmla="*/ 92551138 h 851"/>
              <a:gd name="T24" fmla="*/ 5585047 w 903"/>
              <a:gd name="T25" fmla="*/ 99162062 h 851"/>
              <a:gd name="T26" fmla="*/ 56370157 w 903"/>
              <a:gd name="T27" fmla="*/ 110180149 h 851"/>
              <a:gd name="T28" fmla="*/ 57538919 w 903"/>
              <a:gd name="T29" fmla="*/ 110180149 h 851"/>
              <a:gd name="T30" fmla="*/ 58577939 w 903"/>
              <a:gd name="T31" fmla="*/ 110180149 h 851"/>
              <a:gd name="T32" fmla="*/ 60786082 w 903"/>
              <a:gd name="T33" fmla="*/ 110180149 h 851"/>
              <a:gd name="T34" fmla="*/ 61955204 w 903"/>
              <a:gd name="T35" fmla="*/ 110180149 h 851"/>
              <a:gd name="T36" fmla="*/ 112739954 w 903"/>
              <a:gd name="T37" fmla="*/ 99162062 h 851"/>
              <a:gd name="T38" fmla="*/ 117156239 w 903"/>
              <a:gd name="T39" fmla="*/ 92551138 h 851"/>
              <a:gd name="T40" fmla="*/ 117156239 w 903"/>
              <a:gd name="T41" fmla="*/ 72718726 h 851"/>
              <a:gd name="T42" fmla="*/ 117156239 w 903"/>
              <a:gd name="T43" fmla="*/ 72718726 h 851"/>
              <a:gd name="T44" fmla="*/ 117156239 w 903"/>
              <a:gd name="T45" fmla="*/ 6610924 h 851"/>
              <a:gd name="T46" fmla="*/ 111571192 w 903"/>
              <a:gd name="T47" fmla="*/ 0 h 851"/>
              <a:gd name="T48" fmla="*/ 8832209 w 903"/>
              <a:gd name="T49" fmla="*/ 82699918 h 851"/>
              <a:gd name="T50" fmla="*/ 8832209 w 903"/>
              <a:gd name="T51" fmla="*/ 82699918 h 851"/>
              <a:gd name="T52" fmla="*/ 10000971 w 903"/>
              <a:gd name="T53" fmla="*/ 17628651 h 851"/>
              <a:gd name="T54" fmla="*/ 10000971 w 903"/>
              <a:gd name="T55" fmla="*/ 17628651 h 851"/>
              <a:gd name="T56" fmla="*/ 10000971 w 903"/>
              <a:gd name="T57" fmla="*/ 9851580 h 851"/>
              <a:gd name="T58" fmla="*/ 54162015 w 903"/>
              <a:gd name="T59" fmla="*/ 15425250 h 851"/>
              <a:gd name="T60" fmla="*/ 55201035 w 903"/>
              <a:gd name="T61" fmla="*/ 38627930 h 851"/>
              <a:gd name="T62" fmla="*/ 55201035 w 903"/>
              <a:gd name="T63" fmla="*/ 101365824 h 851"/>
              <a:gd name="T64" fmla="*/ 8832209 w 903"/>
              <a:gd name="T65" fmla="*/ 90347737 h 851"/>
              <a:gd name="T66" fmla="*/ 8832209 w 903"/>
              <a:gd name="T67" fmla="*/ 82699918 h 851"/>
              <a:gd name="T68" fmla="*/ 108324030 w 903"/>
              <a:gd name="T69" fmla="*/ 72718726 h 851"/>
              <a:gd name="T70" fmla="*/ 108324030 w 903"/>
              <a:gd name="T71" fmla="*/ 72718726 h 851"/>
              <a:gd name="T72" fmla="*/ 108324030 w 903"/>
              <a:gd name="T73" fmla="*/ 90347737 h 851"/>
              <a:gd name="T74" fmla="*/ 64033244 w 903"/>
              <a:gd name="T75" fmla="*/ 101365824 h 851"/>
              <a:gd name="T76" fmla="*/ 64033244 w 903"/>
              <a:gd name="T77" fmla="*/ 38627930 h 851"/>
              <a:gd name="T78" fmla="*/ 64033244 w 903"/>
              <a:gd name="T79" fmla="*/ 18665906 h 851"/>
              <a:gd name="T80" fmla="*/ 64033244 w 903"/>
              <a:gd name="T81" fmla="*/ 17628651 h 851"/>
              <a:gd name="T82" fmla="*/ 62994224 w 903"/>
              <a:gd name="T83" fmla="*/ 15425250 h 851"/>
              <a:gd name="T84" fmla="*/ 108324030 w 903"/>
              <a:gd name="T85" fmla="*/ 9851580 h 851"/>
              <a:gd name="T86" fmla="*/ 108324030 w 903"/>
              <a:gd name="T87" fmla="*/ 72718726 h 85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903" h="851">
                <a:moveTo>
                  <a:pt x="859" y="0"/>
                </a:moveTo>
                <a:lnTo>
                  <a:pt x="859" y="0"/>
                </a:lnTo>
                <a:cubicBezTo>
                  <a:pt x="459" y="51"/>
                  <a:pt x="459" y="51"/>
                  <a:pt x="459" y="51"/>
                </a:cubicBezTo>
                <a:cubicBezTo>
                  <a:pt x="451" y="51"/>
                  <a:pt x="451" y="51"/>
                  <a:pt x="443" y="51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0"/>
                  <a:pt x="9" y="25"/>
                  <a:pt x="9" y="51"/>
                </a:cubicBezTo>
                <a:cubicBezTo>
                  <a:pt x="9" y="136"/>
                  <a:pt x="9" y="136"/>
                  <a:pt x="9" y="136"/>
                </a:cubicBezTo>
                <a:cubicBezTo>
                  <a:pt x="0" y="638"/>
                  <a:pt x="0" y="638"/>
                  <a:pt x="0" y="638"/>
                </a:cubicBezTo>
                <a:cubicBezTo>
                  <a:pt x="0" y="714"/>
                  <a:pt x="0" y="714"/>
                  <a:pt x="0" y="714"/>
                </a:cubicBezTo>
                <a:cubicBezTo>
                  <a:pt x="0" y="740"/>
                  <a:pt x="26" y="757"/>
                  <a:pt x="43" y="765"/>
                </a:cubicBezTo>
                <a:cubicBezTo>
                  <a:pt x="434" y="850"/>
                  <a:pt x="434" y="850"/>
                  <a:pt x="434" y="850"/>
                </a:cubicBezTo>
                <a:cubicBezTo>
                  <a:pt x="443" y="850"/>
                  <a:pt x="443" y="850"/>
                  <a:pt x="443" y="850"/>
                </a:cubicBezTo>
                <a:cubicBezTo>
                  <a:pt x="451" y="850"/>
                  <a:pt x="451" y="850"/>
                  <a:pt x="451" y="850"/>
                </a:cubicBezTo>
                <a:cubicBezTo>
                  <a:pt x="459" y="850"/>
                  <a:pt x="459" y="850"/>
                  <a:pt x="468" y="850"/>
                </a:cubicBezTo>
                <a:cubicBezTo>
                  <a:pt x="468" y="850"/>
                  <a:pt x="468" y="850"/>
                  <a:pt x="477" y="850"/>
                </a:cubicBezTo>
                <a:cubicBezTo>
                  <a:pt x="868" y="765"/>
                  <a:pt x="868" y="765"/>
                  <a:pt x="868" y="765"/>
                </a:cubicBezTo>
                <a:cubicBezTo>
                  <a:pt x="885" y="765"/>
                  <a:pt x="902" y="740"/>
                  <a:pt x="902" y="714"/>
                </a:cubicBezTo>
                <a:cubicBezTo>
                  <a:pt x="902" y="561"/>
                  <a:pt x="902" y="561"/>
                  <a:pt x="902" y="561"/>
                </a:cubicBezTo>
                <a:cubicBezTo>
                  <a:pt x="902" y="51"/>
                  <a:pt x="902" y="51"/>
                  <a:pt x="902" y="51"/>
                </a:cubicBezTo>
                <a:cubicBezTo>
                  <a:pt x="902" y="25"/>
                  <a:pt x="885" y="0"/>
                  <a:pt x="859" y="0"/>
                </a:cubicBezTo>
                <a:close/>
                <a:moveTo>
                  <a:pt x="68" y="638"/>
                </a:moveTo>
                <a:lnTo>
                  <a:pt x="68" y="638"/>
                </a:lnTo>
                <a:cubicBezTo>
                  <a:pt x="77" y="136"/>
                  <a:pt x="77" y="136"/>
                  <a:pt x="77" y="136"/>
                </a:cubicBezTo>
                <a:cubicBezTo>
                  <a:pt x="77" y="76"/>
                  <a:pt x="77" y="76"/>
                  <a:pt x="77" y="76"/>
                </a:cubicBezTo>
                <a:cubicBezTo>
                  <a:pt x="417" y="119"/>
                  <a:pt x="417" y="119"/>
                  <a:pt x="417" y="119"/>
                </a:cubicBezTo>
                <a:cubicBezTo>
                  <a:pt x="425" y="298"/>
                  <a:pt x="425" y="298"/>
                  <a:pt x="425" y="298"/>
                </a:cubicBezTo>
                <a:cubicBezTo>
                  <a:pt x="425" y="782"/>
                  <a:pt x="425" y="782"/>
                  <a:pt x="425" y="782"/>
                </a:cubicBezTo>
                <a:cubicBezTo>
                  <a:pt x="68" y="697"/>
                  <a:pt x="68" y="697"/>
                  <a:pt x="68" y="697"/>
                </a:cubicBezTo>
                <a:lnTo>
                  <a:pt x="68" y="638"/>
                </a:lnTo>
                <a:close/>
                <a:moveTo>
                  <a:pt x="834" y="561"/>
                </a:moveTo>
                <a:lnTo>
                  <a:pt x="834" y="561"/>
                </a:lnTo>
                <a:cubicBezTo>
                  <a:pt x="834" y="697"/>
                  <a:pt x="834" y="697"/>
                  <a:pt x="834" y="697"/>
                </a:cubicBezTo>
                <a:cubicBezTo>
                  <a:pt x="493" y="782"/>
                  <a:pt x="493" y="782"/>
                  <a:pt x="493" y="782"/>
                </a:cubicBezTo>
                <a:cubicBezTo>
                  <a:pt x="493" y="298"/>
                  <a:pt x="493" y="298"/>
                  <a:pt x="493" y="298"/>
                </a:cubicBezTo>
                <a:cubicBezTo>
                  <a:pt x="493" y="144"/>
                  <a:pt x="493" y="144"/>
                  <a:pt x="493" y="144"/>
                </a:cubicBezTo>
                <a:lnTo>
                  <a:pt x="493" y="136"/>
                </a:lnTo>
                <a:cubicBezTo>
                  <a:pt x="485" y="119"/>
                  <a:pt x="485" y="119"/>
                  <a:pt x="485" y="119"/>
                </a:cubicBezTo>
                <a:cubicBezTo>
                  <a:pt x="834" y="76"/>
                  <a:pt x="834" y="76"/>
                  <a:pt x="834" y="76"/>
                </a:cubicBezTo>
                <a:lnTo>
                  <a:pt x="834" y="56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3" name="Freeform 397">
            <a:extLst>
              <a:ext uri="{FF2B5EF4-FFF2-40B4-BE49-F238E27FC236}">
                <a16:creationId xmlns:a16="http://schemas.microsoft.com/office/drawing/2014/main" id="{8867BC3D-D6B1-4645-B979-1EBD2B5240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5078" y="2105947"/>
            <a:ext cx="1238749" cy="1285084"/>
          </a:xfrm>
          <a:custGeom>
            <a:avLst/>
            <a:gdLst>
              <a:gd name="T0" fmla="*/ 125489014 w 971"/>
              <a:gd name="T1" fmla="*/ 15366465 h 1047"/>
              <a:gd name="T2" fmla="*/ 125489014 w 971"/>
              <a:gd name="T3" fmla="*/ 15366465 h 1047"/>
              <a:gd name="T4" fmla="*/ 118891390 w 971"/>
              <a:gd name="T5" fmla="*/ 9943176 h 1047"/>
              <a:gd name="T6" fmla="*/ 106730584 w 971"/>
              <a:gd name="T7" fmla="*/ 9943176 h 1047"/>
              <a:gd name="T8" fmla="*/ 106730584 w 971"/>
              <a:gd name="T9" fmla="*/ 4390521 h 1047"/>
              <a:gd name="T10" fmla="*/ 102331689 w 971"/>
              <a:gd name="T11" fmla="*/ 0 h 1047"/>
              <a:gd name="T12" fmla="*/ 97933153 w 971"/>
              <a:gd name="T13" fmla="*/ 4390521 h 1047"/>
              <a:gd name="T14" fmla="*/ 97933153 w 971"/>
              <a:gd name="T15" fmla="*/ 9943176 h 1047"/>
              <a:gd name="T16" fmla="*/ 27555861 w 971"/>
              <a:gd name="T17" fmla="*/ 9943176 h 1047"/>
              <a:gd name="T18" fmla="*/ 27555861 w 971"/>
              <a:gd name="T19" fmla="*/ 4390521 h 1047"/>
              <a:gd name="T20" fmla="*/ 23157325 w 971"/>
              <a:gd name="T21" fmla="*/ 0 h 1047"/>
              <a:gd name="T22" fmla="*/ 18758789 w 971"/>
              <a:gd name="T23" fmla="*/ 4390521 h 1047"/>
              <a:gd name="T24" fmla="*/ 18758789 w 971"/>
              <a:gd name="T25" fmla="*/ 9943176 h 1047"/>
              <a:gd name="T26" fmla="*/ 6727109 w 971"/>
              <a:gd name="T27" fmla="*/ 9943176 h 1047"/>
              <a:gd name="T28" fmla="*/ 0 w 971"/>
              <a:gd name="T29" fmla="*/ 15366465 h 1047"/>
              <a:gd name="T30" fmla="*/ 0 w 971"/>
              <a:gd name="T31" fmla="*/ 48295016 h 1047"/>
              <a:gd name="T32" fmla="*/ 0 w 971"/>
              <a:gd name="T33" fmla="*/ 49457509 h 1047"/>
              <a:gd name="T34" fmla="*/ 0 w 971"/>
              <a:gd name="T35" fmla="*/ 51652411 h 1047"/>
              <a:gd name="T36" fmla="*/ 0 w 971"/>
              <a:gd name="T37" fmla="*/ 128614822 h 1047"/>
              <a:gd name="T38" fmla="*/ 6727109 w 971"/>
              <a:gd name="T39" fmla="*/ 135071598 h 1047"/>
              <a:gd name="T40" fmla="*/ 118891390 w 971"/>
              <a:gd name="T41" fmla="*/ 135071598 h 1047"/>
              <a:gd name="T42" fmla="*/ 125489014 w 971"/>
              <a:gd name="T43" fmla="*/ 128614822 h 1047"/>
              <a:gd name="T44" fmla="*/ 125489014 w 971"/>
              <a:gd name="T45" fmla="*/ 51652411 h 1047"/>
              <a:gd name="T46" fmla="*/ 125489014 w 971"/>
              <a:gd name="T47" fmla="*/ 49457509 h 1047"/>
              <a:gd name="T48" fmla="*/ 125489014 w 971"/>
              <a:gd name="T49" fmla="*/ 48295016 h 1047"/>
              <a:gd name="T50" fmla="*/ 125489014 w 971"/>
              <a:gd name="T51" fmla="*/ 15366465 h 1047"/>
              <a:gd name="T52" fmla="*/ 8926557 w 971"/>
              <a:gd name="T53" fmla="*/ 18724219 h 1047"/>
              <a:gd name="T54" fmla="*/ 8926557 w 971"/>
              <a:gd name="T55" fmla="*/ 18724219 h 1047"/>
              <a:gd name="T56" fmla="*/ 18758789 w 971"/>
              <a:gd name="T57" fmla="*/ 18724219 h 1047"/>
              <a:gd name="T58" fmla="*/ 18758789 w 971"/>
              <a:gd name="T59" fmla="*/ 24147508 h 1047"/>
              <a:gd name="T60" fmla="*/ 23157325 w 971"/>
              <a:gd name="T61" fmla="*/ 28538030 h 1047"/>
              <a:gd name="T62" fmla="*/ 27555861 w 971"/>
              <a:gd name="T63" fmla="*/ 24147508 h 1047"/>
              <a:gd name="T64" fmla="*/ 27555861 w 971"/>
              <a:gd name="T65" fmla="*/ 18724219 h 1047"/>
              <a:gd name="T66" fmla="*/ 97933153 w 971"/>
              <a:gd name="T67" fmla="*/ 18724219 h 1047"/>
              <a:gd name="T68" fmla="*/ 97933153 w 971"/>
              <a:gd name="T69" fmla="*/ 24147508 h 1047"/>
              <a:gd name="T70" fmla="*/ 102331689 w 971"/>
              <a:gd name="T71" fmla="*/ 28538030 h 1047"/>
              <a:gd name="T72" fmla="*/ 106730584 w 971"/>
              <a:gd name="T73" fmla="*/ 24147508 h 1047"/>
              <a:gd name="T74" fmla="*/ 106730584 w 971"/>
              <a:gd name="T75" fmla="*/ 18724219 h 1047"/>
              <a:gd name="T76" fmla="*/ 116691942 w 971"/>
              <a:gd name="T77" fmla="*/ 18724219 h 1047"/>
              <a:gd name="T78" fmla="*/ 116691942 w 971"/>
              <a:gd name="T79" fmla="*/ 45066988 h 1047"/>
              <a:gd name="T80" fmla="*/ 8926557 w 971"/>
              <a:gd name="T81" fmla="*/ 45066988 h 1047"/>
              <a:gd name="T82" fmla="*/ 8926557 w 971"/>
              <a:gd name="T83" fmla="*/ 18724219 h 1047"/>
              <a:gd name="T84" fmla="*/ 116691942 w 971"/>
              <a:gd name="T85" fmla="*/ 126290555 h 1047"/>
              <a:gd name="T86" fmla="*/ 116691942 w 971"/>
              <a:gd name="T87" fmla="*/ 126290555 h 1047"/>
              <a:gd name="T88" fmla="*/ 8926557 w 971"/>
              <a:gd name="T89" fmla="*/ 126290555 h 1047"/>
              <a:gd name="T90" fmla="*/ 8926557 w 971"/>
              <a:gd name="T91" fmla="*/ 53847671 h 1047"/>
              <a:gd name="T92" fmla="*/ 116691942 w 971"/>
              <a:gd name="T93" fmla="*/ 53847671 h 1047"/>
              <a:gd name="T94" fmla="*/ 116691942 w 971"/>
              <a:gd name="T95" fmla="*/ 126290555 h 104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971" h="1047">
                <a:moveTo>
                  <a:pt x="970" y="119"/>
                </a:moveTo>
                <a:lnTo>
                  <a:pt x="970" y="119"/>
                </a:lnTo>
                <a:cubicBezTo>
                  <a:pt x="970" y="85"/>
                  <a:pt x="945" y="77"/>
                  <a:pt x="919" y="77"/>
                </a:cubicBezTo>
                <a:cubicBezTo>
                  <a:pt x="825" y="77"/>
                  <a:pt x="825" y="77"/>
                  <a:pt x="825" y="77"/>
                </a:cubicBezTo>
                <a:cubicBezTo>
                  <a:pt x="825" y="34"/>
                  <a:pt x="825" y="34"/>
                  <a:pt x="825" y="34"/>
                </a:cubicBezTo>
                <a:cubicBezTo>
                  <a:pt x="825" y="17"/>
                  <a:pt x="809" y="0"/>
                  <a:pt x="791" y="0"/>
                </a:cubicBezTo>
                <a:cubicBezTo>
                  <a:pt x="766" y="0"/>
                  <a:pt x="757" y="17"/>
                  <a:pt x="757" y="34"/>
                </a:cubicBezTo>
                <a:cubicBezTo>
                  <a:pt x="757" y="77"/>
                  <a:pt x="757" y="77"/>
                  <a:pt x="757" y="77"/>
                </a:cubicBezTo>
                <a:cubicBezTo>
                  <a:pt x="213" y="77"/>
                  <a:pt x="213" y="77"/>
                  <a:pt x="213" y="77"/>
                </a:cubicBezTo>
                <a:cubicBezTo>
                  <a:pt x="213" y="34"/>
                  <a:pt x="213" y="34"/>
                  <a:pt x="213" y="34"/>
                </a:cubicBezTo>
                <a:cubicBezTo>
                  <a:pt x="213" y="17"/>
                  <a:pt x="196" y="0"/>
                  <a:pt x="179" y="0"/>
                </a:cubicBezTo>
                <a:cubicBezTo>
                  <a:pt x="162" y="0"/>
                  <a:pt x="145" y="17"/>
                  <a:pt x="145" y="34"/>
                </a:cubicBezTo>
                <a:cubicBezTo>
                  <a:pt x="145" y="77"/>
                  <a:pt x="145" y="77"/>
                  <a:pt x="145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18" y="77"/>
                  <a:pt x="0" y="94"/>
                  <a:pt x="0" y="119"/>
                </a:cubicBezTo>
                <a:cubicBezTo>
                  <a:pt x="0" y="374"/>
                  <a:pt x="0" y="374"/>
                  <a:pt x="0" y="374"/>
                </a:cubicBezTo>
                <a:lnTo>
                  <a:pt x="0" y="383"/>
                </a:lnTo>
                <a:cubicBezTo>
                  <a:pt x="0" y="392"/>
                  <a:pt x="0" y="392"/>
                  <a:pt x="0" y="400"/>
                </a:cubicBezTo>
                <a:cubicBezTo>
                  <a:pt x="0" y="996"/>
                  <a:pt x="0" y="996"/>
                  <a:pt x="0" y="996"/>
                </a:cubicBezTo>
                <a:cubicBezTo>
                  <a:pt x="0" y="1021"/>
                  <a:pt x="18" y="1046"/>
                  <a:pt x="52" y="1046"/>
                </a:cubicBezTo>
                <a:cubicBezTo>
                  <a:pt x="919" y="1046"/>
                  <a:pt x="919" y="1046"/>
                  <a:pt x="919" y="1046"/>
                </a:cubicBezTo>
                <a:cubicBezTo>
                  <a:pt x="953" y="1046"/>
                  <a:pt x="970" y="1021"/>
                  <a:pt x="970" y="996"/>
                </a:cubicBezTo>
                <a:cubicBezTo>
                  <a:pt x="970" y="400"/>
                  <a:pt x="970" y="400"/>
                  <a:pt x="970" y="400"/>
                </a:cubicBezTo>
                <a:cubicBezTo>
                  <a:pt x="970" y="392"/>
                  <a:pt x="970" y="392"/>
                  <a:pt x="970" y="383"/>
                </a:cubicBezTo>
                <a:lnTo>
                  <a:pt x="970" y="374"/>
                </a:lnTo>
                <a:lnTo>
                  <a:pt x="970" y="119"/>
                </a:lnTo>
                <a:close/>
                <a:moveTo>
                  <a:pt x="69" y="145"/>
                </a:moveTo>
                <a:lnTo>
                  <a:pt x="69" y="145"/>
                </a:lnTo>
                <a:cubicBezTo>
                  <a:pt x="145" y="145"/>
                  <a:pt x="145" y="145"/>
                  <a:pt x="145" y="145"/>
                </a:cubicBezTo>
                <a:cubicBezTo>
                  <a:pt x="145" y="187"/>
                  <a:pt x="145" y="187"/>
                  <a:pt x="145" y="187"/>
                </a:cubicBezTo>
                <a:cubicBezTo>
                  <a:pt x="145" y="204"/>
                  <a:pt x="162" y="221"/>
                  <a:pt x="179" y="221"/>
                </a:cubicBezTo>
                <a:cubicBezTo>
                  <a:pt x="196" y="221"/>
                  <a:pt x="213" y="204"/>
                  <a:pt x="213" y="187"/>
                </a:cubicBezTo>
                <a:cubicBezTo>
                  <a:pt x="213" y="145"/>
                  <a:pt x="213" y="145"/>
                  <a:pt x="213" y="145"/>
                </a:cubicBezTo>
                <a:cubicBezTo>
                  <a:pt x="757" y="145"/>
                  <a:pt x="757" y="145"/>
                  <a:pt x="757" y="145"/>
                </a:cubicBezTo>
                <a:cubicBezTo>
                  <a:pt x="757" y="187"/>
                  <a:pt x="757" y="187"/>
                  <a:pt x="757" y="187"/>
                </a:cubicBezTo>
                <a:cubicBezTo>
                  <a:pt x="757" y="204"/>
                  <a:pt x="766" y="221"/>
                  <a:pt x="791" y="221"/>
                </a:cubicBezTo>
                <a:cubicBezTo>
                  <a:pt x="809" y="221"/>
                  <a:pt x="825" y="204"/>
                  <a:pt x="825" y="187"/>
                </a:cubicBezTo>
                <a:cubicBezTo>
                  <a:pt x="825" y="145"/>
                  <a:pt x="825" y="145"/>
                  <a:pt x="825" y="145"/>
                </a:cubicBezTo>
                <a:cubicBezTo>
                  <a:pt x="902" y="145"/>
                  <a:pt x="902" y="145"/>
                  <a:pt x="902" y="145"/>
                </a:cubicBezTo>
                <a:cubicBezTo>
                  <a:pt x="902" y="349"/>
                  <a:pt x="902" y="349"/>
                  <a:pt x="902" y="349"/>
                </a:cubicBezTo>
                <a:cubicBezTo>
                  <a:pt x="69" y="349"/>
                  <a:pt x="69" y="349"/>
                  <a:pt x="69" y="349"/>
                </a:cubicBezTo>
                <a:lnTo>
                  <a:pt x="69" y="145"/>
                </a:lnTo>
                <a:close/>
                <a:moveTo>
                  <a:pt x="902" y="978"/>
                </a:moveTo>
                <a:lnTo>
                  <a:pt x="902" y="978"/>
                </a:lnTo>
                <a:cubicBezTo>
                  <a:pt x="69" y="978"/>
                  <a:pt x="69" y="978"/>
                  <a:pt x="69" y="978"/>
                </a:cubicBezTo>
                <a:cubicBezTo>
                  <a:pt x="69" y="417"/>
                  <a:pt x="69" y="417"/>
                  <a:pt x="69" y="417"/>
                </a:cubicBezTo>
                <a:cubicBezTo>
                  <a:pt x="902" y="417"/>
                  <a:pt x="902" y="417"/>
                  <a:pt x="902" y="417"/>
                </a:cubicBezTo>
                <a:lnTo>
                  <a:pt x="902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4" name="Freeform 398">
            <a:extLst>
              <a:ext uri="{FF2B5EF4-FFF2-40B4-BE49-F238E27FC236}">
                <a16:creationId xmlns:a16="http://schemas.microsoft.com/office/drawing/2014/main" id="{6406EA4E-9A85-43BA-A854-CB56FC3FE9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03592" y="2366220"/>
            <a:ext cx="467350" cy="86757"/>
          </a:xfrm>
          <a:custGeom>
            <a:avLst/>
            <a:gdLst>
              <a:gd name="T0" fmla="*/ 42666080 w 367"/>
              <a:gd name="T1" fmla="*/ 0 h 69"/>
              <a:gd name="T2" fmla="*/ 42666080 w 367"/>
              <a:gd name="T3" fmla="*/ 0 h 69"/>
              <a:gd name="T4" fmla="*/ 4382646 w 367"/>
              <a:gd name="T5" fmla="*/ 0 h 69"/>
              <a:gd name="T6" fmla="*/ 0 w 367"/>
              <a:gd name="T7" fmla="*/ 4607339 h 69"/>
              <a:gd name="T8" fmla="*/ 4382646 w 367"/>
              <a:gd name="T9" fmla="*/ 9214678 h 69"/>
              <a:gd name="T10" fmla="*/ 42666080 w 367"/>
              <a:gd name="T11" fmla="*/ 9214678 h 69"/>
              <a:gd name="T12" fmla="*/ 47177616 w 367"/>
              <a:gd name="T13" fmla="*/ 4607339 h 69"/>
              <a:gd name="T14" fmla="*/ 42666080 w 367"/>
              <a:gd name="T15" fmla="*/ 0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7" h="69">
                <a:moveTo>
                  <a:pt x="331" y="0"/>
                </a:moveTo>
                <a:lnTo>
                  <a:pt x="331" y="0"/>
                </a:lnTo>
                <a:cubicBezTo>
                  <a:pt x="34" y="0"/>
                  <a:pt x="34" y="0"/>
                  <a:pt x="34" y="0"/>
                </a:cubicBezTo>
                <a:cubicBezTo>
                  <a:pt x="17" y="0"/>
                  <a:pt x="0" y="8"/>
                  <a:pt x="0" y="34"/>
                </a:cubicBezTo>
                <a:cubicBezTo>
                  <a:pt x="0" y="51"/>
                  <a:pt x="17" y="68"/>
                  <a:pt x="34" y="68"/>
                </a:cubicBezTo>
                <a:cubicBezTo>
                  <a:pt x="331" y="68"/>
                  <a:pt x="331" y="68"/>
                  <a:pt x="331" y="68"/>
                </a:cubicBezTo>
                <a:cubicBezTo>
                  <a:pt x="348" y="68"/>
                  <a:pt x="366" y="51"/>
                  <a:pt x="366" y="34"/>
                </a:cubicBezTo>
                <a:cubicBezTo>
                  <a:pt x="366" y="8"/>
                  <a:pt x="348" y="0"/>
                  <a:pt x="331" y="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5" name="Freeform 399">
            <a:extLst>
              <a:ext uri="{FF2B5EF4-FFF2-40B4-BE49-F238E27FC236}">
                <a16:creationId xmlns:a16="http://schemas.microsoft.com/office/drawing/2014/main" id="{9158E9B4-9F3C-4789-88A4-10FE1951E8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19134" y="2794579"/>
            <a:ext cx="292796" cy="379559"/>
          </a:xfrm>
          <a:custGeom>
            <a:avLst/>
            <a:gdLst>
              <a:gd name="T0" fmla="*/ 13139448 w 230"/>
              <a:gd name="T1" fmla="*/ 22273866 h 307"/>
              <a:gd name="T2" fmla="*/ 13139448 w 230"/>
              <a:gd name="T3" fmla="*/ 22273866 h 307"/>
              <a:gd name="T4" fmla="*/ 2190087 w 230"/>
              <a:gd name="T5" fmla="*/ 31183412 h 307"/>
              <a:gd name="T6" fmla="*/ 0 w 230"/>
              <a:gd name="T7" fmla="*/ 35638186 h 307"/>
              <a:gd name="T8" fmla="*/ 4379816 w 230"/>
              <a:gd name="T9" fmla="*/ 40092959 h 307"/>
              <a:gd name="T10" fmla="*/ 25119606 w 230"/>
              <a:gd name="T11" fmla="*/ 40092959 h 307"/>
              <a:gd name="T12" fmla="*/ 29499422 w 230"/>
              <a:gd name="T13" fmla="*/ 35638186 h 307"/>
              <a:gd name="T14" fmla="*/ 25119606 w 230"/>
              <a:gd name="T15" fmla="*/ 32231680 h 307"/>
              <a:gd name="T16" fmla="*/ 11980158 w 230"/>
              <a:gd name="T17" fmla="*/ 32231680 h 307"/>
              <a:gd name="T18" fmla="*/ 18549703 w 230"/>
              <a:gd name="T19" fmla="*/ 27776906 h 307"/>
              <a:gd name="T20" fmla="*/ 28468983 w 230"/>
              <a:gd name="T21" fmla="*/ 12185019 h 307"/>
              <a:gd name="T22" fmla="*/ 28468983 w 230"/>
              <a:gd name="T23" fmla="*/ 12185019 h 307"/>
              <a:gd name="T24" fmla="*/ 15329535 w 230"/>
              <a:gd name="T25" fmla="*/ 0 h 307"/>
              <a:gd name="T26" fmla="*/ 3220527 w 230"/>
              <a:gd name="T27" fmla="*/ 5503040 h 307"/>
              <a:gd name="T28" fmla="*/ 2190087 w 230"/>
              <a:gd name="T29" fmla="*/ 8909546 h 307"/>
              <a:gd name="T30" fmla="*/ 5410255 w 230"/>
              <a:gd name="T31" fmla="*/ 12185019 h 307"/>
              <a:gd name="T32" fmla="*/ 8759632 w 230"/>
              <a:gd name="T33" fmla="*/ 11137114 h 307"/>
              <a:gd name="T34" fmla="*/ 14169887 w 230"/>
              <a:gd name="T35" fmla="*/ 7730246 h 307"/>
              <a:gd name="T36" fmla="*/ 19709351 w 230"/>
              <a:gd name="T37" fmla="*/ 13364320 h 307"/>
              <a:gd name="T38" fmla="*/ 13139448 w 230"/>
              <a:gd name="T39" fmla="*/ 22273866 h 3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30" h="307">
                <a:moveTo>
                  <a:pt x="102" y="170"/>
                </a:moveTo>
                <a:lnTo>
                  <a:pt x="102" y="170"/>
                </a:lnTo>
                <a:cubicBezTo>
                  <a:pt x="17" y="238"/>
                  <a:pt x="17" y="238"/>
                  <a:pt x="17" y="238"/>
                </a:cubicBezTo>
                <a:cubicBezTo>
                  <a:pt x="8" y="246"/>
                  <a:pt x="0" y="255"/>
                  <a:pt x="0" y="272"/>
                </a:cubicBezTo>
                <a:cubicBezTo>
                  <a:pt x="0" y="289"/>
                  <a:pt x="17" y="306"/>
                  <a:pt x="34" y="306"/>
                </a:cubicBezTo>
                <a:cubicBezTo>
                  <a:pt x="195" y="306"/>
                  <a:pt x="195" y="306"/>
                  <a:pt x="195" y="306"/>
                </a:cubicBezTo>
                <a:cubicBezTo>
                  <a:pt x="212" y="306"/>
                  <a:pt x="229" y="289"/>
                  <a:pt x="229" y="272"/>
                </a:cubicBezTo>
                <a:cubicBezTo>
                  <a:pt x="229" y="255"/>
                  <a:pt x="212" y="246"/>
                  <a:pt x="195" y="246"/>
                </a:cubicBezTo>
                <a:cubicBezTo>
                  <a:pt x="93" y="246"/>
                  <a:pt x="93" y="246"/>
                  <a:pt x="93" y="246"/>
                </a:cubicBezTo>
                <a:cubicBezTo>
                  <a:pt x="144" y="212"/>
                  <a:pt x="144" y="212"/>
                  <a:pt x="144" y="212"/>
                </a:cubicBezTo>
                <a:cubicBezTo>
                  <a:pt x="195" y="170"/>
                  <a:pt x="221" y="144"/>
                  <a:pt x="221" y="93"/>
                </a:cubicBezTo>
                <a:cubicBezTo>
                  <a:pt x="221" y="34"/>
                  <a:pt x="178" y="0"/>
                  <a:pt x="119" y="0"/>
                </a:cubicBezTo>
                <a:cubicBezTo>
                  <a:pt x="76" y="0"/>
                  <a:pt x="42" y="17"/>
                  <a:pt x="25" y="42"/>
                </a:cubicBezTo>
                <a:cubicBezTo>
                  <a:pt x="17" y="51"/>
                  <a:pt x="17" y="59"/>
                  <a:pt x="17" y="68"/>
                </a:cubicBezTo>
                <a:cubicBezTo>
                  <a:pt x="17" y="85"/>
                  <a:pt x="25" y="93"/>
                  <a:pt x="42" y="93"/>
                </a:cubicBezTo>
                <a:cubicBezTo>
                  <a:pt x="51" y="93"/>
                  <a:pt x="59" y="93"/>
                  <a:pt x="68" y="85"/>
                </a:cubicBezTo>
                <a:cubicBezTo>
                  <a:pt x="85" y="68"/>
                  <a:pt x="93" y="59"/>
                  <a:pt x="110" y="59"/>
                </a:cubicBezTo>
                <a:cubicBezTo>
                  <a:pt x="136" y="59"/>
                  <a:pt x="153" y="76"/>
                  <a:pt x="153" y="102"/>
                </a:cubicBezTo>
                <a:cubicBezTo>
                  <a:pt x="153" y="127"/>
                  <a:pt x="136" y="136"/>
                  <a:pt x="102" y="17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6" name="Freeform 400">
            <a:extLst>
              <a:ext uri="{FF2B5EF4-FFF2-40B4-BE49-F238E27FC236}">
                <a16:creationId xmlns:a16="http://schemas.microsoft.com/office/drawing/2014/main" id="{5300606A-F03A-4A98-ABC9-AB344672EE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235" y="2805426"/>
            <a:ext cx="281535" cy="368716"/>
          </a:xfrm>
          <a:custGeom>
            <a:avLst/>
            <a:gdLst>
              <a:gd name="T0" fmla="*/ 3196095 w 222"/>
              <a:gd name="T1" fmla="*/ 6647770 h 299"/>
              <a:gd name="T2" fmla="*/ 3196095 w 222"/>
              <a:gd name="T3" fmla="*/ 6647770 h 299"/>
              <a:gd name="T4" fmla="*/ 18408564 w 222"/>
              <a:gd name="T5" fmla="*/ 6647770 h 299"/>
              <a:gd name="T6" fmla="*/ 4346675 w 222"/>
              <a:gd name="T7" fmla="*/ 32195817 h 299"/>
              <a:gd name="T8" fmla="*/ 3196095 w 222"/>
              <a:gd name="T9" fmla="*/ 34411861 h 299"/>
              <a:gd name="T10" fmla="*/ 7542413 w 222"/>
              <a:gd name="T11" fmla="*/ 38843587 h 299"/>
              <a:gd name="T12" fmla="*/ 11889088 w 222"/>
              <a:gd name="T13" fmla="*/ 35454535 h 299"/>
              <a:gd name="T14" fmla="*/ 27101914 w 222"/>
              <a:gd name="T15" fmla="*/ 7820779 h 299"/>
              <a:gd name="T16" fmla="*/ 28252137 w 222"/>
              <a:gd name="T17" fmla="*/ 3389052 h 299"/>
              <a:gd name="T18" fmla="*/ 23905819 w 222"/>
              <a:gd name="T19" fmla="*/ 0 h 299"/>
              <a:gd name="T20" fmla="*/ 3196095 w 222"/>
              <a:gd name="T21" fmla="*/ 0 h 299"/>
              <a:gd name="T22" fmla="*/ 0 w 222"/>
              <a:gd name="T23" fmla="*/ 3389052 h 299"/>
              <a:gd name="T24" fmla="*/ 3196095 w 222"/>
              <a:gd name="T25" fmla="*/ 6647770 h 29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22" h="299">
                <a:moveTo>
                  <a:pt x="25" y="51"/>
                </a:moveTo>
                <a:lnTo>
                  <a:pt x="25" y="51"/>
                </a:lnTo>
                <a:cubicBezTo>
                  <a:pt x="144" y="51"/>
                  <a:pt x="144" y="51"/>
                  <a:pt x="144" y="51"/>
                </a:cubicBezTo>
                <a:cubicBezTo>
                  <a:pt x="34" y="247"/>
                  <a:pt x="34" y="247"/>
                  <a:pt x="34" y="247"/>
                </a:cubicBezTo>
                <a:cubicBezTo>
                  <a:pt x="25" y="255"/>
                  <a:pt x="25" y="264"/>
                  <a:pt x="25" y="264"/>
                </a:cubicBezTo>
                <a:cubicBezTo>
                  <a:pt x="25" y="289"/>
                  <a:pt x="42" y="298"/>
                  <a:pt x="59" y="298"/>
                </a:cubicBezTo>
                <a:cubicBezTo>
                  <a:pt x="68" y="298"/>
                  <a:pt x="85" y="289"/>
                  <a:pt x="93" y="272"/>
                </a:cubicBezTo>
                <a:cubicBezTo>
                  <a:pt x="212" y="60"/>
                  <a:pt x="212" y="60"/>
                  <a:pt x="212" y="60"/>
                </a:cubicBezTo>
                <a:cubicBezTo>
                  <a:pt x="212" y="51"/>
                  <a:pt x="221" y="34"/>
                  <a:pt x="221" y="26"/>
                </a:cubicBezTo>
                <a:cubicBezTo>
                  <a:pt x="221" y="9"/>
                  <a:pt x="204" y="0"/>
                  <a:pt x="187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8" y="0"/>
                  <a:pt x="0" y="9"/>
                  <a:pt x="0" y="26"/>
                </a:cubicBezTo>
                <a:cubicBezTo>
                  <a:pt x="0" y="43"/>
                  <a:pt x="8" y="51"/>
                  <a:pt x="25" y="51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7" name="Freeform 401">
            <a:extLst>
              <a:ext uri="{FF2B5EF4-FFF2-40B4-BE49-F238E27FC236}">
                <a16:creationId xmlns:a16="http://schemas.microsoft.com/office/drawing/2014/main" id="{9FE038CA-3556-42B9-95FF-0774E66563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38102" y="4155574"/>
            <a:ext cx="1182444" cy="1285084"/>
          </a:xfrm>
          <a:custGeom>
            <a:avLst/>
            <a:gdLst>
              <a:gd name="T0" fmla="*/ 119632768 w 928"/>
              <a:gd name="T1" fmla="*/ 36285945 h 1047"/>
              <a:gd name="T2" fmla="*/ 119632768 w 928"/>
              <a:gd name="T3" fmla="*/ 36285945 h 1047"/>
              <a:gd name="T4" fmla="*/ 118471344 w 928"/>
              <a:gd name="T5" fmla="*/ 31895424 h 1047"/>
              <a:gd name="T6" fmla="*/ 85562418 w 928"/>
              <a:gd name="T7" fmla="*/ 1162133 h 1047"/>
              <a:gd name="T8" fmla="*/ 85562418 w 928"/>
              <a:gd name="T9" fmla="*/ 1162133 h 1047"/>
              <a:gd name="T10" fmla="*/ 85562418 w 928"/>
              <a:gd name="T11" fmla="*/ 1162133 h 1047"/>
              <a:gd name="T12" fmla="*/ 85562418 w 928"/>
              <a:gd name="T13" fmla="*/ 0 h 1047"/>
              <a:gd name="T14" fmla="*/ 85562418 w 928"/>
              <a:gd name="T15" fmla="*/ 0 h 1047"/>
              <a:gd name="T16" fmla="*/ 84529961 w 928"/>
              <a:gd name="T17" fmla="*/ 0 h 1047"/>
              <a:gd name="T18" fmla="*/ 84529961 w 928"/>
              <a:gd name="T19" fmla="*/ 0 h 1047"/>
              <a:gd name="T20" fmla="*/ 84529961 w 928"/>
              <a:gd name="T21" fmla="*/ 0 h 1047"/>
              <a:gd name="T22" fmla="*/ 84529961 w 928"/>
              <a:gd name="T23" fmla="*/ 0 h 1047"/>
              <a:gd name="T24" fmla="*/ 84529961 w 928"/>
              <a:gd name="T25" fmla="*/ 0 h 1047"/>
              <a:gd name="T26" fmla="*/ 84529961 w 928"/>
              <a:gd name="T27" fmla="*/ 0 h 1047"/>
              <a:gd name="T28" fmla="*/ 83368538 w 928"/>
              <a:gd name="T29" fmla="*/ 0 h 1047"/>
              <a:gd name="T30" fmla="*/ 83368538 w 928"/>
              <a:gd name="T31" fmla="*/ 0 h 1047"/>
              <a:gd name="T32" fmla="*/ 83368538 w 928"/>
              <a:gd name="T33" fmla="*/ 0 h 1047"/>
              <a:gd name="T34" fmla="*/ 83368538 w 928"/>
              <a:gd name="T35" fmla="*/ 0 h 1047"/>
              <a:gd name="T36" fmla="*/ 83368538 w 928"/>
              <a:gd name="T37" fmla="*/ 0 h 1047"/>
              <a:gd name="T38" fmla="*/ 82336081 w 928"/>
              <a:gd name="T39" fmla="*/ 0 h 1047"/>
              <a:gd name="T40" fmla="*/ 7614098 w 928"/>
              <a:gd name="T41" fmla="*/ 0 h 1047"/>
              <a:gd name="T42" fmla="*/ 0 w 928"/>
              <a:gd name="T43" fmla="*/ 7747915 h 1047"/>
              <a:gd name="T44" fmla="*/ 0 w 928"/>
              <a:gd name="T45" fmla="*/ 130681077 h 1047"/>
              <a:gd name="T46" fmla="*/ 4387761 w 928"/>
              <a:gd name="T47" fmla="*/ 135071598 h 1047"/>
              <a:gd name="T48" fmla="*/ 25165502 w 928"/>
              <a:gd name="T49" fmla="*/ 135071598 h 1047"/>
              <a:gd name="T50" fmla="*/ 92144419 w 928"/>
              <a:gd name="T51" fmla="*/ 135071598 h 1047"/>
              <a:gd name="T52" fmla="*/ 115245007 w 928"/>
              <a:gd name="T53" fmla="*/ 135071598 h 1047"/>
              <a:gd name="T54" fmla="*/ 119632768 w 928"/>
              <a:gd name="T55" fmla="*/ 130681077 h 1047"/>
              <a:gd name="T56" fmla="*/ 119632768 w 928"/>
              <a:gd name="T57" fmla="*/ 37448079 h 1047"/>
              <a:gd name="T58" fmla="*/ 119632768 w 928"/>
              <a:gd name="T59" fmla="*/ 36285945 h 1047"/>
              <a:gd name="T60" fmla="*/ 73431592 w 928"/>
              <a:gd name="T61" fmla="*/ 8781043 h 1047"/>
              <a:gd name="T62" fmla="*/ 73431592 w 928"/>
              <a:gd name="T63" fmla="*/ 8781043 h 1047"/>
              <a:gd name="T64" fmla="*/ 73431592 w 928"/>
              <a:gd name="T65" fmla="*/ 33057557 h 1047"/>
              <a:gd name="T66" fmla="*/ 40522665 w 928"/>
              <a:gd name="T67" fmla="*/ 33057557 h 1047"/>
              <a:gd name="T68" fmla="*/ 40522665 w 928"/>
              <a:gd name="T69" fmla="*/ 8781043 h 1047"/>
              <a:gd name="T70" fmla="*/ 73431592 w 928"/>
              <a:gd name="T71" fmla="*/ 8781043 h 1047"/>
              <a:gd name="T72" fmla="*/ 27359382 w 928"/>
              <a:gd name="T73" fmla="*/ 126290555 h 1047"/>
              <a:gd name="T74" fmla="*/ 27359382 w 928"/>
              <a:gd name="T75" fmla="*/ 126290555 h 1047"/>
              <a:gd name="T76" fmla="*/ 27359382 w 928"/>
              <a:gd name="T77" fmla="*/ 82256695 h 1047"/>
              <a:gd name="T78" fmla="*/ 89950179 w 928"/>
              <a:gd name="T79" fmla="*/ 82256695 h 1047"/>
              <a:gd name="T80" fmla="*/ 89950179 w 928"/>
              <a:gd name="T81" fmla="*/ 126290555 h 1047"/>
              <a:gd name="T82" fmla="*/ 27359382 w 928"/>
              <a:gd name="T83" fmla="*/ 126290555 h 1047"/>
              <a:gd name="T84" fmla="*/ 110856887 w 928"/>
              <a:gd name="T85" fmla="*/ 126290555 h 1047"/>
              <a:gd name="T86" fmla="*/ 110856887 w 928"/>
              <a:gd name="T87" fmla="*/ 126290555 h 1047"/>
              <a:gd name="T88" fmla="*/ 98726060 w 928"/>
              <a:gd name="T89" fmla="*/ 126290555 h 1047"/>
              <a:gd name="T90" fmla="*/ 98726060 w 928"/>
              <a:gd name="T91" fmla="*/ 77866173 h 1047"/>
              <a:gd name="T92" fmla="*/ 92144419 w 928"/>
              <a:gd name="T93" fmla="*/ 73475652 h 1047"/>
              <a:gd name="T94" fmla="*/ 25165502 w 928"/>
              <a:gd name="T95" fmla="*/ 73475652 h 1047"/>
              <a:gd name="T96" fmla="*/ 18583860 w 928"/>
              <a:gd name="T97" fmla="*/ 77866173 h 1047"/>
              <a:gd name="T98" fmla="*/ 18583860 w 928"/>
              <a:gd name="T99" fmla="*/ 126290555 h 1047"/>
              <a:gd name="T100" fmla="*/ 8775522 w 928"/>
              <a:gd name="T101" fmla="*/ 126290555 h 1047"/>
              <a:gd name="T102" fmla="*/ 8775522 w 928"/>
              <a:gd name="T103" fmla="*/ 8781043 h 1047"/>
              <a:gd name="T104" fmla="*/ 31747143 w 928"/>
              <a:gd name="T105" fmla="*/ 8781043 h 1047"/>
              <a:gd name="T106" fmla="*/ 31747143 w 928"/>
              <a:gd name="T107" fmla="*/ 36285945 h 1047"/>
              <a:gd name="T108" fmla="*/ 37296328 w 928"/>
              <a:gd name="T109" fmla="*/ 41838600 h 1047"/>
              <a:gd name="T110" fmla="*/ 76786896 w 928"/>
              <a:gd name="T111" fmla="*/ 41838600 h 1047"/>
              <a:gd name="T112" fmla="*/ 82336081 w 928"/>
              <a:gd name="T113" fmla="*/ 36285945 h 1047"/>
              <a:gd name="T114" fmla="*/ 82336081 w 928"/>
              <a:gd name="T115" fmla="*/ 9943176 h 1047"/>
              <a:gd name="T116" fmla="*/ 110856887 w 928"/>
              <a:gd name="T117" fmla="*/ 37448079 h 1047"/>
              <a:gd name="T118" fmla="*/ 110856887 w 928"/>
              <a:gd name="T119" fmla="*/ 37448079 h 1047"/>
              <a:gd name="T120" fmla="*/ 110856887 w 928"/>
              <a:gd name="T121" fmla="*/ 126290555 h 10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28" h="1047">
                <a:moveTo>
                  <a:pt x="927" y="281"/>
                </a:moveTo>
                <a:lnTo>
                  <a:pt x="927" y="281"/>
                </a:lnTo>
                <a:cubicBezTo>
                  <a:pt x="927" y="273"/>
                  <a:pt x="927" y="256"/>
                  <a:pt x="918" y="247"/>
                </a:cubicBezTo>
                <a:cubicBezTo>
                  <a:pt x="663" y="9"/>
                  <a:pt x="663" y="9"/>
                  <a:pt x="663" y="9"/>
                </a:cubicBezTo>
                <a:lnTo>
                  <a:pt x="663" y="0"/>
                </a:lnTo>
                <a:lnTo>
                  <a:pt x="655" y="0"/>
                </a:lnTo>
                <a:cubicBezTo>
                  <a:pt x="646" y="0"/>
                  <a:pt x="646" y="0"/>
                  <a:pt x="646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25" y="0"/>
                  <a:pt x="0" y="26"/>
                  <a:pt x="0" y="60"/>
                </a:cubicBezTo>
                <a:cubicBezTo>
                  <a:pt x="0" y="1012"/>
                  <a:pt x="0" y="1012"/>
                  <a:pt x="0" y="1012"/>
                </a:cubicBezTo>
                <a:cubicBezTo>
                  <a:pt x="0" y="1029"/>
                  <a:pt x="17" y="1046"/>
                  <a:pt x="34" y="1046"/>
                </a:cubicBezTo>
                <a:cubicBezTo>
                  <a:pt x="195" y="1046"/>
                  <a:pt x="195" y="1046"/>
                  <a:pt x="195" y="1046"/>
                </a:cubicBezTo>
                <a:cubicBezTo>
                  <a:pt x="714" y="1046"/>
                  <a:pt x="714" y="1046"/>
                  <a:pt x="714" y="1046"/>
                </a:cubicBezTo>
                <a:cubicBezTo>
                  <a:pt x="893" y="1046"/>
                  <a:pt x="893" y="1046"/>
                  <a:pt x="893" y="1046"/>
                </a:cubicBezTo>
                <a:cubicBezTo>
                  <a:pt x="910" y="1046"/>
                  <a:pt x="927" y="1029"/>
                  <a:pt x="927" y="1012"/>
                </a:cubicBezTo>
                <a:cubicBezTo>
                  <a:pt x="927" y="290"/>
                  <a:pt x="927" y="290"/>
                  <a:pt x="927" y="290"/>
                </a:cubicBezTo>
                <a:cubicBezTo>
                  <a:pt x="927" y="290"/>
                  <a:pt x="927" y="290"/>
                  <a:pt x="927" y="281"/>
                </a:cubicBezTo>
                <a:close/>
                <a:moveTo>
                  <a:pt x="569" y="68"/>
                </a:moveTo>
                <a:lnTo>
                  <a:pt x="569" y="68"/>
                </a:lnTo>
                <a:cubicBezTo>
                  <a:pt x="569" y="256"/>
                  <a:pt x="569" y="256"/>
                  <a:pt x="569" y="256"/>
                </a:cubicBezTo>
                <a:cubicBezTo>
                  <a:pt x="314" y="256"/>
                  <a:pt x="314" y="256"/>
                  <a:pt x="314" y="256"/>
                </a:cubicBezTo>
                <a:cubicBezTo>
                  <a:pt x="314" y="68"/>
                  <a:pt x="314" y="68"/>
                  <a:pt x="314" y="68"/>
                </a:cubicBezTo>
                <a:lnTo>
                  <a:pt x="569" y="68"/>
                </a:lnTo>
                <a:close/>
                <a:moveTo>
                  <a:pt x="212" y="978"/>
                </a:moveTo>
                <a:lnTo>
                  <a:pt x="212" y="978"/>
                </a:lnTo>
                <a:cubicBezTo>
                  <a:pt x="212" y="637"/>
                  <a:pt x="212" y="637"/>
                  <a:pt x="212" y="637"/>
                </a:cubicBezTo>
                <a:cubicBezTo>
                  <a:pt x="697" y="637"/>
                  <a:pt x="697" y="637"/>
                  <a:pt x="697" y="637"/>
                </a:cubicBezTo>
                <a:cubicBezTo>
                  <a:pt x="697" y="978"/>
                  <a:pt x="697" y="978"/>
                  <a:pt x="697" y="978"/>
                </a:cubicBezTo>
                <a:lnTo>
                  <a:pt x="212" y="978"/>
                </a:lnTo>
                <a:close/>
                <a:moveTo>
                  <a:pt x="859" y="978"/>
                </a:moveTo>
                <a:lnTo>
                  <a:pt x="859" y="978"/>
                </a:lnTo>
                <a:cubicBezTo>
                  <a:pt x="765" y="978"/>
                  <a:pt x="765" y="978"/>
                  <a:pt x="765" y="978"/>
                </a:cubicBezTo>
                <a:cubicBezTo>
                  <a:pt x="765" y="603"/>
                  <a:pt x="765" y="603"/>
                  <a:pt x="765" y="603"/>
                </a:cubicBezTo>
                <a:cubicBezTo>
                  <a:pt x="765" y="586"/>
                  <a:pt x="748" y="569"/>
                  <a:pt x="714" y="569"/>
                </a:cubicBezTo>
                <a:cubicBezTo>
                  <a:pt x="195" y="569"/>
                  <a:pt x="195" y="569"/>
                  <a:pt x="195" y="569"/>
                </a:cubicBezTo>
                <a:cubicBezTo>
                  <a:pt x="170" y="569"/>
                  <a:pt x="144" y="586"/>
                  <a:pt x="144" y="603"/>
                </a:cubicBezTo>
                <a:cubicBezTo>
                  <a:pt x="144" y="978"/>
                  <a:pt x="144" y="978"/>
                  <a:pt x="144" y="978"/>
                </a:cubicBezTo>
                <a:cubicBezTo>
                  <a:pt x="68" y="978"/>
                  <a:pt x="68" y="978"/>
                  <a:pt x="68" y="978"/>
                </a:cubicBezTo>
                <a:cubicBezTo>
                  <a:pt x="68" y="68"/>
                  <a:pt x="68" y="68"/>
                  <a:pt x="68" y="68"/>
                </a:cubicBezTo>
                <a:cubicBezTo>
                  <a:pt x="246" y="68"/>
                  <a:pt x="246" y="68"/>
                  <a:pt x="246" y="68"/>
                </a:cubicBezTo>
                <a:cubicBezTo>
                  <a:pt x="246" y="281"/>
                  <a:pt x="246" y="281"/>
                  <a:pt x="246" y="281"/>
                </a:cubicBezTo>
                <a:cubicBezTo>
                  <a:pt x="246" y="307"/>
                  <a:pt x="263" y="324"/>
                  <a:pt x="289" y="324"/>
                </a:cubicBezTo>
                <a:cubicBezTo>
                  <a:pt x="595" y="324"/>
                  <a:pt x="595" y="324"/>
                  <a:pt x="595" y="324"/>
                </a:cubicBezTo>
                <a:cubicBezTo>
                  <a:pt x="621" y="324"/>
                  <a:pt x="638" y="307"/>
                  <a:pt x="638" y="281"/>
                </a:cubicBezTo>
                <a:cubicBezTo>
                  <a:pt x="638" y="77"/>
                  <a:pt x="638" y="77"/>
                  <a:pt x="638" y="77"/>
                </a:cubicBezTo>
                <a:cubicBezTo>
                  <a:pt x="859" y="290"/>
                  <a:pt x="859" y="290"/>
                  <a:pt x="859" y="290"/>
                </a:cubicBezTo>
                <a:lnTo>
                  <a:pt x="859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8" name="Freeform 406">
            <a:extLst>
              <a:ext uri="{FF2B5EF4-FFF2-40B4-BE49-F238E27FC236}">
                <a16:creationId xmlns:a16="http://schemas.microsoft.com/office/drawing/2014/main" id="{476AE601-2DFB-4D97-887A-B61DA6FADE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11304" y="8319897"/>
            <a:ext cx="1340102" cy="1024815"/>
          </a:xfrm>
          <a:custGeom>
            <a:avLst/>
            <a:gdLst>
              <a:gd name="T0" fmla="*/ 129324667 w 1048"/>
              <a:gd name="T1" fmla="*/ 19802148 h 834"/>
              <a:gd name="T2" fmla="*/ 129324667 w 1048"/>
              <a:gd name="T3" fmla="*/ 19802148 h 834"/>
              <a:gd name="T4" fmla="*/ 100600593 w 1048"/>
              <a:gd name="T5" fmla="*/ 19802148 h 834"/>
              <a:gd name="T6" fmla="*/ 88512717 w 1048"/>
              <a:gd name="T7" fmla="*/ 6600836 h 834"/>
              <a:gd name="T8" fmla="*/ 67456904 w 1048"/>
              <a:gd name="T9" fmla="*/ 0 h 834"/>
              <a:gd name="T10" fmla="*/ 47570619 w 1048"/>
              <a:gd name="T11" fmla="*/ 6600836 h 834"/>
              <a:gd name="T12" fmla="*/ 35352955 w 1048"/>
              <a:gd name="T13" fmla="*/ 19802148 h 834"/>
              <a:gd name="T14" fmla="*/ 6628882 w 1048"/>
              <a:gd name="T15" fmla="*/ 19802148 h 834"/>
              <a:gd name="T16" fmla="*/ 0 w 1048"/>
              <a:gd name="T17" fmla="*/ 26402984 h 834"/>
              <a:gd name="T18" fmla="*/ 0 w 1048"/>
              <a:gd name="T19" fmla="*/ 36239122 h 834"/>
              <a:gd name="T20" fmla="*/ 0 w 1048"/>
              <a:gd name="T21" fmla="*/ 57206166 h 834"/>
              <a:gd name="T22" fmla="*/ 0 w 1048"/>
              <a:gd name="T23" fmla="*/ 101211020 h 834"/>
              <a:gd name="T24" fmla="*/ 6628882 w 1048"/>
              <a:gd name="T25" fmla="*/ 107811496 h 834"/>
              <a:gd name="T26" fmla="*/ 129324667 w 1048"/>
              <a:gd name="T27" fmla="*/ 107811496 h 834"/>
              <a:gd name="T28" fmla="*/ 136083336 w 1048"/>
              <a:gd name="T29" fmla="*/ 101211020 h 834"/>
              <a:gd name="T30" fmla="*/ 136083336 w 1048"/>
              <a:gd name="T31" fmla="*/ 57206166 h 834"/>
              <a:gd name="T32" fmla="*/ 136083336 w 1048"/>
              <a:gd name="T33" fmla="*/ 36239122 h 834"/>
              <a:gd name="T34" fmla="*/ 136083336 w 1048"/>
              <a:gd name="T35" fmla="*/ 26402984 h 834"/>
              <a:gd name="T36" fmla="*/ 129324667 w 1048"/>
              <a:gd name="T37" fmla="*/ 19802148 h 834"/>
              <a:gd name="T38" fmla="*/ 51989874 w 1048"/>
              <a:gd name="T39" fmla="*/ 13201312 h 834"/>
              <a:gd name="T40" fmla="*/ 51989874 w 1048"/>
              <a:gd name="T41" fmla="*/ 13201312 h 834"/>
              <a:gd name="T42" fmla="*/ 67456904 w 1048"/>
              <a:gd name="T43" fmla="*/ 8801115 h 834"/>
              <a:gd name="T44" fmla="*/ 84093462 w 1048"/>
              <a:gd name="T45" fmla="*/ 13201312 h 834"/>
              <a:gd name="T46" fmla="*/ 89552456 w 1048"/>
              <a:gd name="T47" fmla="*/ 19802148 h 834"/>
              <a:gd name="T48" fmla="*/ 67456904 w 1048"/>
              <a:gd name="T49" fmla="*/ 19802148 h 834"/>
              <a:gd name="T50" fmla="*/ 46401092 w 1048"/>
              <a:gd name="T51" fmla="*/ 19802148 h 834"/>
              <a:gd name="T52" fmla="*/ 51989874 w 1048"/>
              <a:gd name="T53" fmla="*/ 13201312 h 834"/>
              <a:gd name="T54" fmla="*/ 8838149 w 1048"/>
              <a:gd name="T55" fmla="*/ 28602903 h 834"/>
              <a:gd name="T56" fmla="*/ 8838149 w 1048"/>
              <a:gd name="T57" fmla="*/ 28602903 h 834"/>
              <a:gd name="T58" fmla="*/ 32103588 w 1048"/>
              <a:gd name="T59" fmla="*/ 28602903 h 834"/>
              <a:gd name="T60" fmla="*/ 32103588 w 1048"/>
              <a:gd name="T61" fmla="*/ 28602903 h 834"/>
              <a:gd name="T62" fmla="*/ 103979747 w 1048"/>
              <a:gd name="T63" fmla="*/ 28602903 h 834"/>
              <a:gd name="T64" fmla="*/ 103979747 w 1048"/>
              <a:gd name="T65" fmla="*/ 28602903 h 834"/>
              <a:gd name="T66" fmla="*/ 127115400 w 1048"/>
              <a:gd name="T67" fmla="*/ 28602903 h 834"/>
              <a:gd name="T68" fmla="*/ 127115400 w 1048"/>
              <a:gd name="T69" fmla="*/ 36239122 h 834"/>
              <a:gd name="T70" fmla="*/ 127115400 w 1048"/>
              <a:gd name="T71" fmla="*/ 57206166 h 834"/>
              <a:gd name="T72" fmla="*/ 119446778 w 1048"/>
              <a:gd name="T73" fmla="*/ 64971538 h 834"/>
              <a:gd name="T74" fmla="*/ 16636918 w 1048"/>
              <a:gd name="T75" fmla="*/ 64971538 h 834"/>
              <a:gd name="T76" fmla="*/ 8838149 w 1048"/>
              <a:gd name="T77" fmla="*/ 57206166 h 834"/>
              <a:gd name="T78" fmla="*/ 8838149 w 1048"/>
              <a:gd name="T79" fmla="*/ 36239122 h 834"/>
              <a:gd name="T80" fmla="*/ 8838149 w 1048"/>
              <a:gd name="T81" fmla="*/ 28602903 h 834"/>
              <a:gd name="T82" fmla="*/ 8838149 w 1048"/>
              <a:gd name="T83" fmla="*/ 99010741 h 834"/>
              <a:gd name="T84" fmla="*/ 8838149 w 1048"/>
              <a:gd name="T85" fmla="*/ 99010741 h 834"/>
              <a:gd name="T86" fmla="*/ 8838149 w 1048"/>
              <a:gd name="T87" fmla="*/ 71572374 h 834"/>
              <a:gd name="T88" fmla="*/ 16636918 w 1048"/>
              <a:gd name="T89" fmla="*/ 73772653 h 834"/>
              <a:gd name="T90" fmla="*/ 119446778 w 1048"/>
              <a:gd name="T91" fmla="*/ 73772653 h 834"/>
              <a:gd name="T92" fmla="*/ 127115400 w 1048"/>
              <a:gd name="T93" fmla="*/ 71572374 h 834"/>
              <a:gd name="T94" fmla="*/ 127115400 w 1048"/>
              <a:gd name="T95" fmla="*/ 99010741 h 834"/>
              <a:gd name="T96" fmla="*/ 8838149 w 1048"/>
              <a:gd name="T97" fmla="*/ 99010741 h 8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048" h="834">
                <a:moveTo>
                  <a:pt x="995" y="153"/>
                </a:moveTo>
                <a:lnTo>
                  <a:pt x="995" y="153"/>
                </a:lnTo>
                <a:cubicBezTo>
                  <a:pt x="774" y="153"/>
                  <a:pt x="774" y="153"/>
                  <a:pt x="774" y="153"/>
                </a:cubicBezTo>
                <a:cubicBezTo>
                  <a:pt x="749" y="110"/>
                  <a:pt x="723" y="76"/>
                  <a:pt x="681" y="51"/>
                </a:cubicBezTo>
                <a:cubicBezTo>
                  <a:pt x="638" y="17"/>
                  <a:pt x="579" y="0"/>
                  <a:pt x="519" y="0"/>
                </a:cubicBezTo>
                <a:cubicBezTo>
                  <a:pt x="468" y="0"/>
                  <a:pt x="408" y="17"/>
                  <a:pt x="366" y="51"/>
                </a:cubicBezTo>
                <a:cubicBezTo>
                  <a:pt x="323" y="76"/>
                  <a:pt x="298" y="110"/>
                  <a:pt x="27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26" y="153"/>
                  <a:pt x="0" y="178"/>
                  <a:pt x="0" y="204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808"/>
                  <a:pt x="26" y="833"/>
                  <a:pt x="51" y="833"/>
                </a:cubicBezTo>
                <a:cubicBezTo>
                  <a:pt x="995" y="833"/>
                  <a:pt x="995" y="833"/>
                  <a:pt x="995" y="833"/>
                </a:cubicBezTo>
                <a:cubicBezTo>
                  <a:pt x="1021" y="833"/>
                  <a:pt x="1047" y="808"/>
                  <a:pt x="1047" y="782"/>
                </a:cubicBezTo>
                <a:cubicBezTo>
                  <a:pt x="1047" y="442"/>
                  <a:pt x="1047" y="442"/>
                  <a:pt x="1047" y="442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04"/>
                  <a:pt x="1047" y="204"/>
                  <a:pt x="1047" y="204"/>
                </a:cubicBezTo>
                <a:cubicBezTo>
                  <a:pt x="1047" y="170"/>
                  <a:pt x="1021" y="153"/>
                  <a:pt x="995" y="153"/>
                </a:cubicBezTo>
                <a:close/>
                <a:moveTo>
                  <a:pt x="400" y="102"/>
                </a:moveTo>
                <a:lnTo>
                  <a:pt x="400" y="102"/>
                </a:lnTo>
                <a:cubicBezTo>
                  <a:pt x="434" y="85"/>
                  <a:pt x="477" y="68"/>
                  <a:pt x="519" y="68"/>
                </a:cubicBezTo>
                <a:cubicBezTo>
                  <a:pt x="570" y="68"/>
                  <a:pt x="604" y="85"/>
                  <a:pt x="647" y="102"/>
                </a:cubicBezTo>
                <a:cubicBezTo>
                  <a:pt x="664" y="119"/>
                  <a:pt x="681" y="136"/>
                  <a:pt x="689" y="153"/>
                </a:cubicBezTo>
                <a:cubicBezTo>
                  <a:pt x="519" y="153"/>
                  <a:pt x="519" y="153"/>
                  <a:pt x="519" y="153"/>
                </a:cubicBezTo>
                <a:cubicBezTo>
                  <a:pt x="357" y="153"/>
                  <a:pt x="357" y="153"/>
                  <a:pt x="357" y="153"/>
                </a:cubicBezTo>
                <a:cubicBezTo>
                  <a:pt x="366" y="136"/>
                  <a:pt x="383" y="119"/>
                  <a:pt x="400" y="102"/>
                </a:cubicBezTo>
                <a:close/>
                <a:moveTo>
                  <a:pt x="68" y="221"/>
                </a:moveTo>
                <a:lnTo>
                  <a:pt x="68" y="221"/>
                </a:lnTo>
                <a:cubicBezTo>
                  <a:pt x="247" y="221"/>
                  <a:pt x="247" y="221"/>
                  <a:pt x="247" y="221"/>
                </a:cubicBezTo>
                <a:cubicBezTo>
                  <a:pt x="800" y="221"/>
                  <a:pt x="800" y="221"/>
                  <a:pt x="800" y="221"/>
                </a:cubicBezTo>
                <a:cubicBezTo>
                  <a:pt x="978" y="221"/>
                  <a:pt x="978" y="221"/>
                  <a:pt x="978" y="221"/>
                </a:cubicBezTo>
                <a:cubicBezTo>
                  <a:pt x="978" y="280"/>
                  <a:pt x="978" y="280"/>
                  <a:pt x="978" y="280"/>
                </a:cubicBezTo>
                <a:cubicBezTo>
                  <a:pt x="978" y="442"/>
                  <a:pt x="978" y="442"/>
                  <a:pt x="978" y="442"/>
                </a:cubicBezTo>
                <a:cubicBezTo>
                  <a:pt x="978" y="476"/>
                  <a:pt x="953" y="502"/>
                  <a:pt x="919" y="502"/>
                </a:cubicBezTo>
                <a:cubicBezTo>
                  <a:pt x="128" y="502"/>
                  <a:pt x="128" y="502"/>
                  <a:pt x="128" y="502"/>
                </a:cubicBezTo>
                <a:cubicBezTo>
                  <a:pt x="94" y="502"/>
                  <a:pt x="68" y="476"/>
                  <a:pt x="68" y="442"/>
                </a:cubicBezTo>
                <a:cubicBezTo>
                  <a:pt x="68" y="280"/>
                  <a:pt x="68" y="280"/>
                  <a:pt x="68" y="280"/>
                </a:cubicBezTo>
                <a:lnTo>
                  <a:pt x="68" y="221"/>
                </a:lnTo>
                <a:close/>
                <a:moveTo>
                  <a:pt x="68" y="765"/>
                </a:moveTo>
                <a:lnTo>
                  <a:pt x="68" y="765"/>
                </a:lnTo>
                <a:cubicBezTo>
                  <a:pt x="68" y="553"/>
                  <a:pt x="68" y="553"/>
                  <a:pt x="68" y="553"/>
                </a:cubicBezTo>
                <a:cubicBezTo>
                  <a:pt x="85" y="561"/>
                  <a:pt x="111" y="570"/>
                  <a:pt x="128" y="570"/>
                </a:cubicBezTo>
                <a:cubicBezTo>
                  <a:pt x="919" y="570"/>
                  <a:pt x="919" y="570"/>
                  <a:pt x="919" y="570"/>
                </a:cubicBezTo>
                <a:cubicBezTo>
                  <a:pt x="936" y="570"/>
                  <a:pt x="961" y="561"/>
                  <a:pt x="978" y="553"/>
                </a:cubicBezTo>
                <a:cubicBezTo>
                  <a:pt x="978" y="765"/>
                  <a:pt x="978" y="765"/>
                  <a:pt x="978" y="765"/>
                </a:cubicBezTo>
                <a:lnTo>
                  <a:pt x="68" y="76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713C565-7D55-4B27-828F-3EC3CC74E4AC}"/>
              </a:ext>
            </a:extLst>
          </p:cNvPr>
          <p:cNvGrpSpPr/>
          <p:nvPr userDrawn="1"/>
        </p:nvGrpSpPr>
        <p:grpSpPr>
          <a:xfrm>
            <a:off x="2566528" y="6313087"/>
            <a:ext cx="1090803" cy="928677"/>
            <a:chOff x="5846115" y="3218159"/>
            <a:chExt cx="447713" cy="343594"/>
          </a:xfrm>
        </p:grpSpPr>
        <p:sp>
          <p:nvSpPr>
            <p:cNvPr id="20" name="Freeform 402">
              <a:extLst>
                <a:ext uri="{FF2B5EF4-FFF2-40B4-BE49-F238E27FC236}">
                  <a16:creationId xmlns:a16="http://schemas.microsoft.com/office/drawing/2014/main" id="{310DB959-460F-45F1-80BB-47E88DB9E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115" y="3218159"/>
              <a:ext cx="447713" cy="343594"/>
            </a:xfrm>
            <a:custGeom>
              <a:avLst/>
              <a:gdLst>
                <a:gd name="T0" fmla="*/ 258261 w 757"/>
                <a:gd name="T1" fmla="*/ 209189 h 580"/>
                <a:gd name="T2" fmla="*/ 258261 w 757"/>
                <a:gd name="T3" fmla="*/ 209189 h 580"/>
                <a:gd name="T4" fmla="*/ 14428 w 757"/>
                <a:gd name="T5" fmla="*/ 209189 h 580"/>
                <a:gd name="T6" fmla="*/ 0 w 757"/>
                <a:gd name="T7" fmla="*/ 194737 h 580"/>
                <a:gd name="T8" fmla="*/ 0 w 757"/>
                <a:gd name="T9" fmla="*/ 14452 h 580"/>
                <a:gd name="T10" fmla="*/ 14428 w 757"/>
                <a:gd name="T11" fmla="*/ 0 h 580"/>
                <a:gd name="T12" fmla="*/ 104603 w 757"/>
                <a:gd name="T13" fmla="*/ 0 h 580"/>
                <a:gd name="T14" fmla="*/ 113260 w 757"/>
                <a:gd name="T15" fmla="*/ 5781 h 580"/>
                <a:gd name="T16" fmla="*/ 139591 w 757"/>
                <a:gd name="T17" fmla="*/ 32155 h 580"/>
                <a:gd name="T18" fmla="*/ 258261 w 757"/>
                <a:gd name="T19" fmla="*/ 32155 h 580"/>
                <a:gd name="T20" fmla="*/ 272689 w 757"/>
                <a:gd name="T21" fmla="*/ 46607 h 580"/>
                <a:gd name="T22" fmla="*/ 272689 w 757"/>
                <a:gd name="T23" fmla="*/ 194737 h 580"/>
                <a:gd name="T24" fmla="*/ 258261 w 757"/>
                <a:gd name="T25" fmla="*/ 209189 h 580"/>
                <a:gd name="T26" fmla="*/ 17314 w 757"/>
                <a:gd name="T27" fmla="*/ 191847 h 580"/>
                <a:gd name="T28" fmla="*/ 17314 w 757"/>
                <a:gd name="T29" fmla="*/ 191847 h 580"/>
                <a:gd name="T30" fmla="*/ 255376 w 757"/>
                <a:gd name="T31" fmla="*/ 191847 h 580"/>
                <a:gd name="T32" fmla="*/ 255376 w 757"/>
                <a:gd name="T33" fmla="*/ 49497 h 580"/>
                <a:gd name="T34" fmla="*/ 136705 w 757"/>
                <a:gd name="T35" fmla="*/ 49497 h 580"/>
                <a:gd name="T36" fmla="*/ 127688 w 757"/>
                <a:gd name="T37" fmla="*/ 46607 h 580"/>
                <a:gd name="T38" fmla="*/ 101717 w 757"/>
                <a:gd name="T39" fmla="*/ 17342 h 580"/>
                <a:gd name="T40" fmla="*/ 17314 w 757"/>
                <a:gd name="T41" fmla="*/ 17342 h 580"/>
                <a:gd name="T42" fmla="*/ 17314 w 757"/>
                <a:gd name="T43" fmla="*/ 191847 h 580"/>
                <a:gd name="T44" fmla="*/ 142477 w 757"/>
                <a:gd name="T45" fmla="*/ 35045 h 580"/>
                <a:gd name="T46" fmla="*/ 142477 w 757"/>
                <a:gd name="T47" fmla="*/ 35045 h 580"/>
                <a:gd name="T48" fmla="*/ 104603 w 757"/>
                <a:gd name="T49" fmla="*/ 17342 h 580"/>
                <a:gd name="T50" fmla="*/ 104603 w 757"/>
                <a:gd name="T51" fmla="*/ 17342 h 5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757" h="580">
                  <a:moveTo>
                    <a:pt x="716" y="579"/>
                  </a:moveTo>
                  <a:lnTo>
                    <a:pt x="716" y="579"/>
                  </a:lnTo>
                  <a:cubicBezTo>
                    <a:pt x="40" y="579"/>
                    <a:pt x="40" y="579"/>
                    <a:pt x="40" y="579"/>
                  </a:cubicBezTo>
                  <a:cubicBezTo>
                    <a:pt x="16" y="579"/>
                    <a:pt x="0" y="563"/>
                    <a:pt x="0" y="5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24" y="0"/>
                    <a:pt x="40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8" y="0"/>
                    <a:pt x="306" y="8"/>
                    <a:pt x="314" y="16"/>
                  </a:cubicBezTo>
                  <a:cubicBezTo>
                    <a:pt x="387" y="89"/>
                    <a:pt x="387" y="89"/>
                    <a:pt x="387" y="89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40" y="89"/>
                    <a:pt x="756" y="105"/>
                    <a:pt x="756" y="129"/>
                  </a:cubicBezTo>
                  <a:cubicBezTo>
                    <a:pt x="756" y="539"/>
                    <a:pt x="756" y="539"/>
                    <a:pt x="756" y="539"/>
                  </a:cubicBezTo>
                  <a:cubicBezTo>
                    <a:pt x="756" y="563"/>
                    <a:pt x="740" y="579"/>
                    <a:pt x="716" y="579"/>
                  </a:cubicBezTo>
                  <a:close/>
                  <a:moveTo>
                    <a:pt x="48" y="531"/>
                  </a:moveTo>
                  <a:lnTo>
                    <a:pt x="48" y="531"/>
                  </a:lnTo>
                  <a:cubicBezTo>
                    <a:pt x="708" y="531"/>
                    <a:pt x="708" y="531"/>
                    <a:pt x="708" y="531"/>
                  </a:cubicBezTo>
                  <a:cubicBezTo>
                    <a:pt x="708" y="137"/>
                    <a:pt x="708" y="137"/>
                    <a:pt x="708" y="137"/>
                  </a:cubicBezTo>
                  <a:cubicBezTo>
                    <a:pt x="379" y="137"/>
                    <a:pt x="379" y="137"/>
                    <a:pt x="379" y="137"/>
                  </a:cubicBezTo>
                  <a:cubicBezTo>
                    <a:pt x="370" y="137"/>
                    <a:pt x="362" y="137"/>
                    <a:pt x="354" y="129"/>
                  </a:cubicBezTo>
                  <a:cubicBezTo>
                    <a:pt x="282" y="48"/>
                    <a:pt x="282" y="48"/>
                    <a:pt x="282" y="48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8" y="531"/>
                  </a:lnTo>
                  <a:close/>
                  <a:moveTo>
                    <a:pt x="395" y="97"/>
                  </a:moveTo>
                  <a:lnTo>
                    <a:pt x="395" y="97"/>
                  </a:lnTo>
                  <a:close/>
                  <a:moveTo>
                    <a:pt x="290" y="48"/>
                  </a:moveTo>
                  <a:lnTo>
                    <a:pt x="290" y="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37846"/>
              <a:endParaRPr lang="es-MX" sz="2634">
                <a:solidFill>
                  <a:srgbClr val="989998"/>
                </a:solidFill>
                <a:latin typeface="Calibri" panose="020F0502020204030204"/>
              </a:endParaRPr>
            </a:p>
          </p:txBody>
        </p:sp>
        <p:sp>
          <p:nvSpPr>
            <p:cNvPr id="21" name="Freeform 403">
              <a:extLst>
                <a:ext uri="{FF2B5EF4-FFF2-40B4-BE49-F238E27FC236}">
                  <a16:creationId xmlns:a16="http://schemas.microsoft.com/office/drawing/2014/main" id="{2A1D2BDE-B395-4640-A31E-C716AA13C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9971" y="3218159"/>
              <a:ext cx="223856" cy="28634"/>
            </a:xfrm>
            <a:custGeom>
              <a:avLst/>
              <a:gdLst>
                <a:gd name="T0" fmla="*/ 127496 w 378"/>
                <a:gd name="T1" fmla="*/ 17107 h 49"/>
                <a:gd name="T2" fmla="*/ 127496 w 378"/>
                <a:gd name="T3" fmla="*/ 17107 h 49"/>
                <a:gd name="T4" fmla="*/ 8668 w 378"/>
                <a:gd name="T5" fmla="*/ 17107 h 49"/>
                <a:gd name="T6" fmla="*/ 0 w 378"/>
                <a:gd name="T7" fmla="*/ 8553 h 49"/>
                <a:gd name="T8" fmla="*/ 8668 w 378"/>
                <a:gd name="T9" fmla="*/ 0 h 49"/>
                <a:gd name="T10" fmla="*/ 127496 w 378"/>
                <a:gd name="T11" fmla="*/ 0 h 49"/>
                <a:gd name="T12" fmla="*/ 136164 w 378"/>
                <a:gd name="T13" fmla="*/ 8553 h 49"/>
                <a:gd name="T14" fmla="*/ 127496 w 378"/>
                <a:gd name="T15" fmla="*/ 17107 h 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8" h="49">
                  <a:moveTo>
                    <a:pt x="353" y="48"/>
                  </a:moveTo>
                  <a:lnTo>
                    <a:pt x="353" y="48"/>
                  </a:lnTo>
                  <a:cubicBezTo>
                    <a:pt x="24" y="48"/>
                    <a:pt x="24" y="48"/>
                    <a:pt x="24" y="48"/>
                  </a:cubicBezTo>
                  <a:cubicBezTo>
                    <a:pt x="8" y="48"/>
                    <a:pt x="0" y="40"/>
                    <a:pt x="0" y="24"/>
                  </a:cubicBezTo>
                  <a:cubicBezTo>
                    <a:pt x="0" y="16"/>
                    <a:pt x="8" y="0"/>
                    <a:pt x="24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61" y="0"/>
                    <a:pt x="377" y="16"/>
                    <a:pt x="377" y="24"/>
                  </a:cubicBezTo>
                  <a:cubicBezTo>
                    <a:pt x="377" y="40"/>
                    <a:pt x="361" y="48"/>
                    <a:pt x="353" y="4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37846"/>
              <a:endParaRPr lang="es-MX" sz="2634">
                <a:solidFill>
                  <a:srgbClr val="989998"/>
                </a:solidFill>
                <a:latin typeface="Calibri" panose="020F0502020204030204"/>
              </a:endParaRPr>
            </a:p>
          </p:txBody>
        </p:sp>
      </p:grp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072E340-3081-4F04-98E1-D621E4AC1FA5}"/>
              </a:ext>
            </a:extLst>
          </p:cNvPr>
          <p:cNvSpPr txBox="1">
            <a:spLocks/>
          </p:cNvSpPr>
          <p:nvPr userDrawn="1"/>
        </p:nvSpPr>
        <p:spPr>
          <a:xfrm>
            <a:off x="978263" y="9389523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342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Escopo do trabalho</a:t>
            </a:r>
          </a:p>
        </p:txBody>
      </p:sp>
    </p:spTree>
    <p:extLst>
      <p:ext uri="{BB962C8B-B14F-4D97-AF65-F5344CB8AC3E}">
        <p14:creationId xmlns:p14="http://schemas.microsoft.com/office/powerpoint/2010/main" val="180328080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163347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1CD44F0-9FF7-4DD3-A027-FBA74C181F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7038" y="101534"/>
            <a:ext cx="16806588" cy="987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10478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245351C-6F50-4759-A5C6-0286279C69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7330"/>
            <a:ext cx="17934489" cy="1011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2398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61286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146845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40" y="1697636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4543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5"/>
            <a:ext cx="4625662" cy="807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22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27102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</p:spTree>
    <p:extLst>
      <p:ext uri="{BB962C8B-B14F-4D97-AF65-F5344CB8AC3E}">
        <p14:creationId xmlns:p14="http://schemas.microsoft.com/office/powerpoint/2010/main" val="117446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2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8052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8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50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3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63083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DC59237A-6A44-4B28-A101-21676DC08D71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798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52" b="0">
                <a:solidFill>
                  <a:schemeClr val="bg2"/>
                </a:solidFill>
              </a:defRPr>
            </a:lvl1pPr>
            <a:lvl2pPr>
              <a:defRPr sz="2058" b="0">
                <a:solidFill>
                  <a:schemeClr val="bg2"/>
                </a:solidFill>
              </a:defRPr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3343639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DC59237A-6A44-4B28-A101-21676DC08D71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bg2"/>
                </a:solidFill>
              </a:defRPr>
            </a:lvl1pPr>
            <a:lvl2pPr>
              <a:defRPr sz="2049" b="0">
                <a:solidFill>
                  <a:schemeClr val="bg2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82625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o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30C1B2-A21E-4C5A-97D0-5B7E62F7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8822A-E0EF-40DD-94E6-5D5381F7D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7" name="Título 1">
            <a:extLst>
              <a:ext uri="{FF2B5EF4-FFF2-40B4-BE49-F238E27FC236}">
                <a16:creationId xmlns:a16="http://schemas.microsoft.com/office/drawing/2014/main" id="{8E7C3A4A-C904-408B-AF80-CF448F4D71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681" y="4497049"/>
            <a:ext cx="4185649" cy="1037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grpSp>
        <p:nvGrpSpPr>
          <p:cNvPr id="364" name="Grupo 3">
            <a:extLst>
              <a:ext uri="{FF2B5EF4-FFF2-40B4-BE49-F238E27FC236}">
                <a16:creationId xmlns:a16="http://schemas.microsoft.com/office/drawing/2014/main" id="{9A07BDD1-D780-406C-A592-6BBC559413A3}"/>
              </a:ext>
            </a:extLst>
          </p:cNvPr>
          <p:cNvGrpSpPr/>
          <p:nvPr userDrawn="1"/>
        </p:nvGrpSpPr>
        <p:grpSpPr>
          <a:xfrm>
            <a:off x="6636057" y="402969"/>
            <a:ext cx="9793421" cy="9274687"/>
            <a:chOff x="8986138" y="548292"/>
            <a:chExt cx="13266332" cy="12619416"/>
          </a:xfrm>
        </p:grpSpPr>
        <p:sp>
          <p:nvSpPr>
            <p:cNvPr id="365" name="Freeform 548">
              <a:extLst>
                <a:ext uri="{FF2B5EF4-FFF2-40B4-BE49-F238E27FC236}">
                  <a16:creationId xmlns:a16="http://schemas.microsoft.com/office/drawing/2014/main" id="{639784E3-C209-42C6-AE65-D10D16C9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549">
              <a:extLst>
                <a:ext uri="{FF2B5EF4-FFF2-40B4-BE49-F238E27FC236}">
                  <a16:creationId xmlns:a16="http://schemas.microsoft.com/office/drawing/2014/main" id="{7BD114B7-F88B-4800-AD84-30715077D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7" name="Grupo 1277">
            <a:extLst>
              <a:ext uri="{FF2B5EF4-FFF2-40B4-BE49-F238E27FC236}">
                <a16:creationId xmlns:a16="http://schemas.microsoft.com/office/drawing/2014/main" id="{BA5647BA-7E8E-4DE3-AEAB-BFB8BE81CDB6}"/>
              </a:ext>
            </a:extLst>
          </p:cNvPr>
          <p:cNvGrpSpPr/>
          <p:nvPr userDrawn="1"/>
        </p:nvGrpSpPr>
        <p:grpSpPr>
          <a:xfrm>
            <a:off x="6623122" y="396272"/>
            <a:ext cx="9793421" cy="9274687"/>
            <a:chOff x="8986138" y="548292"/>
            <a:chExt cx="13266332" cy="12619416"/>
          </a:xfrm>
        </p:grpSpPr>
        <p:sp>
          <p:nvSpPr>
            <p:cNvPr id="368" name="Freeform 548">
              <a:extLst>
                <a:ext uri="{FF2B5EF4-FFF2-40B4-BE49-F238E27FC236}">
                  <a16:creationId xmlns:a16="http://schemas.microsoft.com/office/drawing/2014/main" id="{FF104208-347D-4C51-B785-58E8F84B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549">
              <a:extLst>
                <a:ext uri="{FF2B5EF4-FFF2-40B4-BE49-F238E27FC236}">
                  <a16:creationId xmlns:a16="http://schemas.microsoft.com/office/drawing/2014/main" id="{1D3C6BE9-D1EA-4485-BB06-6C324300D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0" name="Line 565">
            <a:extLst>
              <a:ext uri="{FF2B5EF4-FFF2-40B4-BE49-F238E27FC236}">
                <a16:creationId xmlns:a16="http://schemas.microsoft.com/office/drawing/2014/main" id="{3C649AD0-6946-4391-9012-15357E63F4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902051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1" name="Line 566">
            <a:extLst>
              <a:ext uri="{FF2B5EF4-FFF2-40B4-BE49-F238E27FC236}">
                <a16:creationId xmlns:a16="http://schemas.microsoft.com/office/drawing/2014/main" id="{1A7BABB7-E3A3-40A7-9781-49AF93CFB02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815363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2" name="Line 567">
            <a:extLst>
              <a:ext uri="{FF2B5EF4-FFF2-40B4-BE49-F238E27FC236}">
                <a16:creationId xmlns:a16="http://schemas.microsoft.com/office/drawing/2014/main" id="{C5E3353C-045A-4B77-8377-76C617136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606848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3" name="Line 568">
            <a:extLst>
              <a:ext uri="{FF2B5EF4-FFF2-40B4-BE49-F238E27FC236}">
                <a16:creationId xmlns:a16="http://schemas.microsoft.com/office/drawing/2014/main" id="{4C2AA826-29CD-435B-99DA-7EDB936A81EB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398336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4" name="Line 569">
            <a:extLst>
              <a:ext uri="{FF2B5EF4-FFF2-40B4-BE49-F238E27FC236}">
                <a16:creationId xmlns:a16="http://schemas.microsoft.com/office/drawing/2014/main" id="{74BBF0BE-118D-41A2-8C56-826ED304A3DE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318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5" name="Line 704">
            <a:extLst>
              <a:ext uri="{FF2B5EF4-FFF2-40B4-BE49-F238E27FC236}">
                <a16:creationId xmlns:a16="http://schemas.microsoft.com/office/drawing/2014/main" id="{E5FBC4F7-0625-4E76-8671-0D0D71815F1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926253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6" name="Line 705">
            <a:extLst>
              <a:ext uri="{FF2B5EF4-FFF2-40B4-BE49-F238E27FC236}">
                <a16:creationId xmlns:a16="http://schemas.microsoft.com/office/drawing/2014/main" id="{A03D99AD-E15A-4EA2-ADC7-8A1EDEB0F1E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721103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7" name="Line 706">
            <a:extLst>
              <a:ext uri="{FF2B5EF4-FFF2-40B4-BE49-F238E27FC236}">
                <a16:creationId xmlns:a16="http://schemas.microsoft.com/office/drawing/2014/main" id="{C07BA8E1-2DA1-4B4D-8C2D-644EB523F65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12588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8" name="Line 707">
            <a:extLst>
              <a:ext uri="{FF2B5EF4-FFF2-40B4-BE49-F238E27FC236}">
                <a16:creationId xmlns:a16="http://schemas.microsoft.com/office/drawing/2014/main" id="{8ED9AB92-3524-43A8-896D-74C9BC0B324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304076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9" name="Line 708">
            <a:extLst>
              <a:ext uri="{FF2B5EF4-FFF2-40B4-BE49-F238E27FC236}">
                <a16:creationId xmlns:a16="http://schemas.microsoft.com/office/drawing/2014/main" id="{07741A84-29A4-4A17-A1A0-C69AA34AEFA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098924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0" name="Line 722">
            <a:extLst>
              <a:ext uri="{FF2B5EF4-FFF2-40B4-BE49-F238E27FC236}">
                <a16:creationId xmlns:a16="http://schemas.microsoft.com/office/drawing/2014/main" id="{7B4C4713-35BF-47A6-8D62-14ED1D6D7E3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9911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1" name="Freeform 742">
            <a:extLst>
              <a:ext uri="{FF2B5EF4-FFF2-40B4-BE49-F238E27FC236}">
                <a16:creationId xmlns:a16="http://schemas.microsoft.com/office/drawing/2014/main" id="{24D9E696-303F-44F8-B934-9B1E1D82F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1461022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09750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09750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17"/>
                  <a:pt x="1579" y="1417"/>
                  <a:pt x="1579" y="1417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2" name="Freeform 743">
            <a:extLst>
              <a:ext uri="{FF2B5EF4-FFF2-40B4-BE49-F238E27FC236}">
                <a16:creationId xmlns:a16="http://schemas.microsoft.com/office/drawing/2014/main" id="{3C4D5722-13C6-423F-8FD9-C65076615A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900409" y="1461022"/>
            <a:ext cx="1197273" cy="1191982"/>
          </a:xfrm>
          <a:custGeom>
            <a:avLst/>
            <a:gdLst>
              <a:gd name="T0" fmla="*/ 512988 w 1571"/>
              <a:gd name="T1" fmla="*/ 564790 h 1571"/>
              <a:gd name="T2" fmla="*/ 512988 w 1571"/>
              <a:gd name="T3" fmla="*/ 564790 h 1571"/>
              <a:gd name="T4" fmla="*/ 55040 w 1571"/>
              <a:gd name="T5" fmla="*/ 564790 h 1571"/>
              <a:gd name="T6" fmla="*/ 0 w 1571"/>
              <a:gd name="T7" fmla="*/ 509750 h 1571"/>
              <a:gd name="T8" fmla="*/ 0 w 1571"/>
              <a:gd name="T9" fmla="*/ 55040 h 1571"/>
              <a:gd name="T10" fmla="*/ 55040 w 1571"/>
              <a:gd name="T11" fmla="*/ 0 h 1571"/>
              <a:gd name="T12" fmla="*/ 512988 w 1571"/>
              <a:gd name="T13" fmla="*/ 0 h 1571"/>
              <a:gd name="T14" fmla="*/ 564790 w 1571"/>
              <a:gd name="T15" fmla="*/ 55040 h 1571"/>
              <a:gd name="T16" fmla="*/ 564790 w 1571"/>
              <a:gd name="T17" fmla="*/ 509750 h 1571"/>
              <a:gd name="T18" fmla="*/ 512988 w 1571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8"/>
                  <a:pt x="1570" y="153"/>
                </a:cubicBezTo>
                <a:cubicBezTo>
                  <a:pt x="1570" y="1417"/>
                  <a:pt x="1570" y="1417"/>
                  <a:pt x="1570" y="1417"/>
                </a:cubicBezTo>
                <a:cubicBezTo>
                  <a:pt x="1570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6215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3" name="Freeform 744">
            <a:extLst>
              <a:ext uri="{FF2B5EF4-FFF2-40B4-BE49-F238E27FC236}">
                <a16:creationId xmlns:a16="http://schemas.microsoft.com/office/drawing/2014/main" id="{5E95C423-2B0F-4CC9-96D6-1305215EF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48571" y="4052578"/>
            <a:ext cx="1197273" cy="1198679"/>
          </a:xfrm>
          <a:custGeom>
            <a:avLst/>
            <a:gdLst>
              <a:gd name="T0" fmla="*/ 510075 w 1570"/>
              <a:gd name="T1" fmla="*/ 567965 h 1578"/>
              <a:gd name="T2" fmla="*/ 510075 w 1570"/>
              <a:gd name="T3" fmla="*/ 567965 h 1578"/>
              <a:gd name="T4" fmla="*/ 52195 w 1570"/>
              <a:gd name="T5" fmla="*/ 567965 h 1578"/>
              <a:gd name="T6" fmla="*/ 0 w 1570"/>
              <a:gd name="T7" fmla="*/ 512861 h 1578"/>
              <a:gd name="T8" fmla="*/ 0 w 1570"/>
              <a:gd name="T9" fmla="*/ 54744 h 1578"/>
              <a:gd name="T10" fmla="*/ 52195 w 1570"/>
              <a:gd name="T11" fmla="*/ 0 h 1578"/>
              <a:gd name="T12" fmla="*/ 510075 w 1570"/>
              <a:gd name="T13" fmla="*/ 0 h 1578"/>
              <a:gd name="T14" fmla="*/ 564790 w 1570"/>
              <a:gd name="T15" fmla="*/ 54744 h 1578"/>
              <a:gd name="T16" fmla="*/ 564790 w 1570"/>
              <a:gd name="T17" fmla="*/ 512861 h 1578"/>
              <a:gd name="T18" fmla="*/ 510075 w 157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8">
                <a:moveTo>
                  <a:pt x="1417" y="1577"/>
                </a:moveTo>
                <a:lnTo>
                  <a:pt x="1417" y="1577"/>
                </a:lnTo>
                <a:cubicBezTo>
                  <a:pt x="145" y="1577"/>
                  <a:pt x="145" y="1577"/>
                  <a:pt x="145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7"/>
                  <a:pt x="1569" y="152"/>
                </a:cubicBezTo>
                <a:cubicBezTo>
                  <a:pt x="1569" y="1424"/>
                  <a:pt x="1569" y="1424"/>
                  <a:pt x="1569" y="1424"/>
                </a:cubicBezTo>
                <a:cubicBezTo>
                  <a:pt x="1569" y="1509"/>
                  <a:pt x="1502" y="1577"/>
                  <a:pt x="1417" y="1577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6298"/>
            </a:solidFill>
            <a:prstDash val="solid"/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4" name="Freeform 745">
            <a:extLst>
              <a:ext uri="{FF2B5EF4-FFF2-40B4-BE49-F238E27FC236}">
                <a16:creationId xmlns:a16="http://schemas.microsoft.com/office/drawing/2014/main" id="{43615B0E-E93C-4E5A-9A90-A6A13900D3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4052578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4F5B7C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5" name="Freeform 748">
            <a:extLst>
              <a:ext uri="{FF2B5EF4-FFF2-40B4-BE49-F238E27FC236}">
                <a16:creationId xmlns:a16="http://schemas.microsoft.com/office/drawing/2014/main" id="{4A18BC58-BD57-46EC-A547-B576665384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6647480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12988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12988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26"/>
                  <a:pt x="1579" y="1426"/>
                  <a:pt x="1579" y="1426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4165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grpSp>
        <p:nvGrpSpPr>
          <p:cNvPr id="386" name="Agrupar 385">
            <a:extLst>
              <a:ext uri="{FF2B5EF4-FFF2-40B4-BE49-F238E27FC236}">
                <a16:creationId xmlns:a16="http://schemas.microsoft.com/office/drawing/2014/main" id="{9FDB7CCE-09A1-4286-955C-898BB859333B}"/>
              </a:ext>
            </a:extLst>
          </p:cNvPr>
          <p:cNvGrpSpPr/>
          <p:nvPr userDrawn="1"/>
        </p:nvGrpSpPr>
        <p:grpSpPr>
          <a:xfrm>
            <a:off x="11277169" y="4382378"/>
            <a:ext cx="844146" cy="585945"/>
            <a:chOff x="5617647" y="4729666"/>
            <a:chExt cx="571747" cy="398627"/>
          </a:xfrm>
          <a:solidFill>
            <a:srgbClr val="4F5B7C"/>
          </a:solidFill>
        </p:grpSpPr>
        <p:sp>
          <p:nvSpPr>
            <p:cNvPr id="387" name="Line 718">
              <a:extLst>
                <a:ext uri="{FF2B5EF4-FFF2-40B4-BE49-F238E27FC236}">
                  <a16:creationId xmlns:a16="http://schemas.microsoft.com/office/drawing/2014/main" id="{3ADE10D1-04D4-49A0-9AF5-7A316B2DB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4223" y="4930119"/>
              <a:ext cx="75171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Line 719">
              <a:extLst>
                <a:ext uri="{FF2B5EF4-FFF2-40B4-BE49-F238E27FC236}">
                  <a16:creationId xmlns:a16="http://schemas.microsoft.com/office/drawing/2014/main" id="{2CA9A0AD-69C9-4232-A373-D3F46DAD8C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5274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Line 720">
              <a:extLst>
                <a:ext uri="{FF2B5EF4-FFF2-40B4-BE49-F238E27FC236}">
                  <a16:creationId xmlns:a16="http://schemas.microsoft.com/office/drawing/2014/main" id="{5711C788-55F8-4FF1-9076-FDECC0E337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34046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Line 721">
              <a:extLst>
                <a:ext uri="{FF2B5EF4-FFF2-40B4-BE49-F238E27FC236}">
                  <a16:creationId xmlns:a16="http://schemas.microsoft.com/office/drawing/2014/main" id="{329E4C7D-C9AB-4558-BFED-4EBF6A07F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818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989">
              <a:extLst>
                <a:ext uri="{FF2B5EF4-FFF2-40B4-BE49-F238E27FC236}">
                  <a16:creationId xmlns:a16="http://schemas.microsoft.com/office/drawing/2014/main" id="{BFB8EC47-6662-417B-90B0-576A149F1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729666"/>
              <a:ext cx="473798" cy="398627"/>
            </a:xfrm>
            <a:custGeom>
              <a:avLst/>
              <a:gdLst>
                <a:gd name="T0" fmla="*/ 164740 w 918"/>
                <a:gd name="T1" fmla="*/ 277453 h 773"/>
                <a:gd name="T2" fmla="*/ 164740 w 918"/>
                <a:gd name="T3" fmla="*/ 277453 h 773"/>
                <a:gd name="T4" fmla="*/ 164740 w 918"/>
                <a:gd name="T5" fmla="*/ 277453 h 773"/>
                <a:gd name="T6" fmla="*/ 158625 w 918"/>
                <a:gd name="T7" fmla="*/ 274577 h 773"/>
                <a:gd name="T8" fmla="*/ 2878 w 918"/>
                <a:gd name="T9" fmla="*/ 63972 h 773"/>
                <a:gd name="T10" fmla="*/ 2878 w 918"/>
                <a:gd name="T11" fmla="*/ 54987 h 773"/>
                <a:gd name="T12" fmla="*/ 55033 w 918"/>
                <a:gd name="T13" fmla="*/ 2875 h 773"/>
                <a:gd name="T14" fmla="*/ 61148 w 918"/>
                <a:gd name="T15" fmla="*/ 0 h 773"/>
                <a:gd name="T16" fmla="*/ 61148 w 918"/>
                <a:gd name="T17" fmla="*/ 0 h 773"/>
                <a:gd name="T18" fmla="*/ 268692 w 918"/>
                <a:gd name="T19" fmla="*/ 0 h 773"/>
                <a:gd name="T20" fmla="*/ 274807 w 918"/>
                <a:gd name="T21" fmla="*/ 2875 h 773"/>
                <a:gd name="T22" fmla="*/ 326603 w 918"/>
                <a:gd name="T23" fmla="*/ 57863 h 773"/>
                <a:gd name="T24" fmla="*/ 329840 w 918"/>
                <a:gd name="T25" fmla="*/ 66847 h 773"/>
                <a:gd name="T26" fmla="*/ 170855 w 918"/>
                <a:gd name="T27" fmla="*/ 274577 h 773"/>
                <a:gd name="T28" fmla="*/ 164740 w 918"/>
                <a:gd name="T29" fmla="*/ 277453 h 773"/>
                <a:gd name="T30" fmla="*/ 18344 w 918"/>
                <a:gd name="T31" fmla="*/ 61097 h 773"/>
                <a:gd name="T32" fmla="*/ 18344 w 918"/>
                <a:gd name="T33" fmla="*/ 61097 h 773"/>
                <a:gd name="T34" fmla="*/ 164740 w 918"/>
                <a:gd name="T35" fmla="*/ 256248 h 773"/>
                <a:gd name="T36" fmla="*/ 311496 w 918"/>
                <a:gd name="T37" fmla="*/ 63972 h 773"/>
                <a:gd name="T38" fmla="*/ 265455 w 918"/>
                <a:gd name="T39" fmla="*/ 15095 h 773"/>
                <a:gd name="T40" fmla="*/ 64026 w 918"/>
                <a:gd name="T41" fmla="*/ 15095 h 773"/>
                <a:gd name="T42" fmla="*/ 18344 w 918"/>
                <a:gd name="T43" fmla="*/ 61097 h 7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18" h="773">
                  <a:moveTo>
                    <a:pt x="458" y="772"/>
                  </a:moveTo>
                  <a:lnTo>
                    <a:pt x="458" y="772"/>
                  </a:lnTo>
                  <a:cubicBezTo>
                    <a:pt x="458" y="772"/>
                    <a:pt x="450" y="772"/>
                    <a:pt x="441" y="764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0" y="170"/>
                    <a:pt x="0" y="161"/>
                    <a:pt x="8" y="153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61" y="8"/>
                    <a:pt x="170" y="0"/>
                    <a:pt x="170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55" y="0"/>
                    <a:pt x="764" y="8"/>
                    <a:pt x="764" y="8"/>
                  </a:cubicBezTo>
                  <a:cubicBezTo>
                    <a:pt x="908" y="161"/>
                    <a:pt x="908" y="161"/>
                    <a:pt x="908" y="161"/>
                  </a:cubicBezTo>
                  <a:cubicBezTo>
                    <a:pt x="917" y="170"/>
                    <a:pt x="917" y="178"/>
                    <a:pt x="917" y="186"/>
                  </a:cubicBezTo>
                  <a:cubicBezTo>
                    <a:pt x="475" y="764"/>
                    <a:pt x="475" y="764"/>
                    <a:pt x="475" y="764"/>
                  </a:cubicBezTo>
                  <a:cubicBezTo>
                    <a:pt x="475" y="772"/>
                    <a:pt x="467" y="772"/>
                    <a:pt x="458" y="772"/>
                  </a:cubicBezTo>
                  <a:close/>
                  <a:moveTo>
                    <a:pt x="51" y="170"/>
                  </a:moveTo>
                  <a:lnTo>
                    <a:pt x="51" y="170"/>
                  </a:lnTo>
                  <a:cubicBezTo>
                    <a:pt x="458" y="713"/>
                    <a:pt x="458" y="713"/>
                    <a:pt x="458" y="713"/>
                  </a:cubicBezTo>
                  <a:cubicBezTo>
                    <a:pt x="866" y="178"/>
                    <a:pt x="866" y="178"/>
                    <a:pt x="866" y="178"/>
                  </a:cubicBezTo>
                  <a:cubicBezTo>
                    <a:pt x="738" y="42"/>
                    <a:pt x="738" y="42"/>
                    <a:pt x="738" y="42"/>
                  </a:cubicBezTo>
                  <a:cubicBezTo>
                    <a:pt x="178" y="42"/>
                    <a:pt x="178" y="42"/>
                    <a:pt x="178" y="42"/>
                  </a:cubicBezTo>
                  <a:lnTo>
                    <a:pt x="51" y="17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990">
              <a:extLst>
                <a:ext uri="{FF2B5EF4-FFF2-40B4-BE49-F238E27FC236}">
                  <a16:creationId xmlns:a16="http://schemas.microsoft.com/office/drawing/2014/main" id="{1CC0B80B-8A5B-435E-8BF3-D97832EB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818" y="4729666"/>
              <a:ext cx="325735" cy="100227"/>
            </a:xfrm>
            <a:custGeom>
              <a:avLst/>
              <a:gdLst>
                <a:gd name="T0" fmla="*/ 61355 w 629"/>
                <a:gd name="T1" fmla="*/ 69494 h 196"/>
                <a:gd name="T2" fmla="*/ 61355 w 629"/>
                <a:gd name="T3" fmla="*/ 69494 h 196"/>
                <a:gd name="T4" fmla="*/ 55219 w 629"/>
                <a:gd name="T5" fmla="*/ 66286 h 196"/>
                <a:gd name="T6" fmla="*/ 3248 w 629"/>
                <a:gd name="T7" fmla="*/ 14968 h 196"/>
                <a:gd name="T8" fmla="*/ 3248 w 629"/>
                <a:gd name="T9" fmla="*/ 2851 h 196"/>
                <a:gd name="T10" fmla="*/ 15519 w 629"/>
                <a:gd name="T11" fmla="*/ 2851 h 196"/>
                <a:gd name="T12" fmla="*/ 61355 w 629"/>
                <a:gd name="T13" fmla="*/ 48467 h 196"/>
                <a:gd name="T14" fmla="*/ 110438 w 629"/>
                <a:gd name="T15" fmla="*/ 2851 h 196"/>
                <a:gd name="T16" fmla="*/ 119461 w 629"/>
                <a:gd name="T17" fmla="*/ 2851 h 196"/>
                <a:gd name="T18" fmla="*/ 165296 w 629"/>
                <a:gd name="T19" fmla="*/ 48467 h 196"/>
                <a:gd name="T20" fmla="*/ 214380 w 629"/>
                <a:gd name="T21" fmla="*/ 2851 h 196"/>
                <a:gd name="T22" fmla="*/ 223764 w 629"/>
                <a:gd name="T23" fmla="*/ 2851 h 196"/>
                <a:gd name="T24" fmla="*/ 223764 w 629"/>
                <a:gd name="T25" fmla="*/ 14968 h 196"/>
                <a:gd name="T26" fmla="*/ 171432 w 629"/>
                <a:gd name="T27" fmla="*/ 66286 h 196"/>
                <a:gd name="T28" fmla="*/ 162409 w 629"/>
                <a:gd name="T29" fmla="*/ 66286 h 196"/>
                <a:gd name="T30" fmla="*/ 113326 w 629"/>
                <a:gd name="T31" fmla="*/ 18175 h 196"/>
                <a:gd name="T32" fmla="*/ 67490 w 629"/>
                <a:gd name="T33" fmla="*/ 66286 h 196"/>
                <a:gd name="T34" fmla="*/ 61355 w 629"/>
                <a:gd name="T35" fmla="*/ 69494 h 1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9" h="196">
                  <a:moveTo>
                    <a:pt x="170" y="195"/>
                  </a:moveTo>
                  <a:lnTo>
                    <a:pt x="170" y="195"/>
                  </a:lnTo>
                  <a:cubicBezTo>
                    <a:pt x="170" y="195"/>
                    <a:pt x="162" y="186"/>
                    <a:pt x="153" y="18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4"/>
                    <a:pt x="0" y="17"/>
                    <a:pt x="9" y="8"/>
                  </a:cubicBezTo>
                  <a:cubicBezTo>
                    <a:pt x="17" y="0"/>
                    <a:pt x="34" y="0"/>
                    <a:pt x="43" y="8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306" y="8"/>
                    <a:pt x="306" y="8"/>
                    <a:pt x="306" y="8"/>
                  </a:cubicBezTo>
                  <a:cubicBezTo>
                    <a:pt x="314" y="0"/>
                    <a:pt x="323" y="0"/>
                    <a:pt x="331" y="8"/>
                  </a:cubicBezTo>
                  <a:cubicBezTo>
                    <a:pt x="458" y="136"/>
                    <a:pt x="458" y="136"/>
                    <a:pt x="458" y="136"/>
                  </a:cubicBezTo>
                  <a:cubicBezTo>
                    <a:pt x="594" y="8"/>
                    <a:pt x="594" y="8"/>
                    <a:pt x="594" y="8"/>
                  </a:cubicBezTo>
                  <a:cubicBezTo>
                    <a:pt x="603" y="0"/>
                    <a:pt x="611" y="0"/>
                    <a:pt x="620" y="8"/>
                  </a:cubicBezTo>
                  <a:cubicBezTo>
                    <a:pt x="628" y="17"/>
                    <a:pt x="628" y="34"/>
                    <a:pt x="620" y="42"/>
                  </a:cubicBezTo>
                  <a:cubicBezTo>
                    <a:pt x="475" y="186"/>
                    <a:pt x="475" y="186"/>
                    <a:pt x="475" y="186"/>
                  </a:cubicBezTo>
                  <a:cubicBezTo>
                    <a:pt x="467" y="195"/>
                    <a:pt x="458" y="195"/>
                    <a:pt x="450" y="186"/>
                  </a:cubicBezTo>
                  <a:cubicBezTo>
                    <a:pt x="314" y="51"/>
                    <a:pt x="314" y="51"/>
                    <a:pt x="314" y="51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78" y="186"/>
                    <a:pt x="178" y="195"/>
                    <a:pt x="170" y="19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991">
              <a:extLst>
                <a:ext uri="{FF2B5EF4-FFF2-40B4-BE49-F238E27FC236}">
                  <a16:creationId xmlns:a16="http://schemas.microsoft.com/office/drawing/2014/main" id="{9946B5AA-028D-448E-BC58-3B621B75D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5710" y="4802558"/>
              <a:ext cx="175396" cy="325735"/>
            </a:xfrm>
            <a:custGeom>
              <a:avLst/>
              <a:gdLst>
                <a:gd name="T0" fmla="*/ 60939 w 341"/>
                <a:gd name="T1" fmla="*/ 226651 h 629"/>
                <a:gd name="T2" fmla="*/ 60939 w 341"/>
                <a:gd name="T3" fmla="*/ 226651 h 629"/>
                <a:gd name="T4" fmla="*/ 54845 w 341"/>
                <a:gd name="T5" fmla="*/ 220516 h 629"/>
                <a:gd name="T6" fmla="*/ 3226 w 341"/>
                <a:gd name="T7" fmla="*/ 12271 h 629"/>
                <a:gd name="T8" fmla="*/ 9320 w 341"/>
                <a:gd name="T9" fmla="*/ 3248 h 629"/>
                <a:gd name="T10" fmla="*/ 18282 w 341"/>
                <a:gd name="T11" fmla="*/ 6135 h 629"/>
                <a:gd name="T12" fmla="*/ 60939 w 341"/>
                <a:gd name="T13" fmla="*/ 186951 h 629"/>
                <a:gd name="T14" fmla="*/ 106823 w 341"/>
                <a:gd name="T15" fmla="*/ 6135 h 629"/>
                <a:gd name="T16" fmla="*/ 115785 w 341"/>
                <a:gd name="T17" fmla="*/ 3248 h 629"/>
                <a:gd name="T18" fmla="*/ 121879 w 341"/>
                <a:gd name="T19" fmla="*/ 12271 h 629"/>
                <a:gd name="T20" fmla="*/ 70259 w 341"/>
                <a:gd name="T21" fmla="*/ 220516 h 629"/>
                <a:gd name="T22" fmla="*/ 60939 w 341"/>
                <a:gd name="T23" fmla="*/ 226651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41" h="629">
                  <a:moveTo>
                    <a:pt x="170" y="628"/>
                  </a:moveTo>
                  <a:lnTo>
                    <a:pt x="170" y="628"/>
                  </a:lnTo>
                  <a:cubicBezTo>
                    <a:pt x="162" y="628"/>
                    <a:pt x="153" y="620"/>
                    <a:pt x="153" y="61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0" y="17"/>
                    <a:pt x="9" y="9"/>
                    <a:pt x="26" y="9"/>
                  </a:cubicBezTo>
                  <a:cubicBezTo>
                    <a:pt x="34" y="0"/>
                    <a:pt x="43" y="9"/>
                    <a:pt x="51" y="17"/>
                  </a:cubicBezTo>
                  <a:cubicBezTo>
                    <a:pt x="170" y="518"/>
                    <a:pt x="170" y="518"/>
                    <a:pt x="170" y="5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9"/>
                    <a:pt x="314" y="0"/>
                    <a:pt x="323" y="9"/>
                  </a:cubicBezTo>
                  <a:cubicBezTo>
                    <a:pt x="331" y="9"/>
                    <a:pt x="340" y="17"/>
                    <a:pt x="340" y="34"/>
                  </a:cubicBezTo>
                  <a:cubicBezTo>
                    <a:pt x="196" y="611"/>
                    <a:pt x="196" y="611"/>
                    <a:pt x="196" y="611"/>
                  </a:cubicBezTo>
                  <a:cubicBezTo>
                    <a:pt x="196" y="620"/>
                    <a:pt x="187" y="628"/>
                    <a:pt x="170" y="62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992">
              <a:extLst>
                <a:ext uri="{FF2B5EF4-FFF2-40B4-BE49-F238E27FC236}">
                  <a16:creationId xmlns:a16="http://schemas.microsoft.com/office/drawing/2014/main" id="{1DF6D6EE-B0D9-4272-82F3-7F1E0F2E9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802558"/>
              <a:ext cx="473798" cy="27335"/>
            </a:xfrm>
            <a:custGeom>
              <a:avLst/>
              <a:gdLst>
                <a:gd name="T0" fmla="*/ 323725 w 918"/>
                <a:gd name="T1" fmla="*/ 18684 h 52"/>
                <a:gd name="T2" fmla="*/ 323725 w 918"/>
                <a:gd name="T3" fmla="*/ 18684 h 52"/>
                <a:gd name="T4" fmla="*/ 323725 w 918"/>
                <a:gd name="T5" fmla="*/ 18684 h 52"/>
                <a:gd name="T6" fmla="*/ 8992 w 918"/>
                <a:gd name="T7" fmla="*/ 15387 h 52"/>
                <a:gd name="T8" fmla="*/ 2878 w 918"/>
                <a:gd name="T9" fmla="*/ 9525 h 52"/>
                <a:gd name="T10" fmla="*/ 8992 w 918"/>
                <a:gd name="T11" fmla="*/ 0 h 52"/>
                <a:gd name="T12" fmla="*/ 8992 w 918"/>
                <a:gd name="T13" fmla="*/ 0 h 52"/>
                <a:gd name="T14" fmla="*/ 323725 w 918"/>
                <a:gd name="T15" fmla="*/ 3297 h 52"/>
                <a:gd name="T16" fmla="*/ 329840 w 918"/>
                <a:gd name="T17" fmla="*/ 9525 h 52"/>
                <a:gd name="T18" fmla="*/ 323725 w 918"/>
                <a:gd name="T19" fmla="*/ 18684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8" h="52">
                  <a:moveTo>
                    <a:pt x="900" y="51"/>
                  </a:moveTo>
                  <a:lnTo>
                    <a:pt x="900" y="51"/>
                  </a:lnTo>
                  <a:cubicBezTo>
                    <a:pt x="25" y="42"/>
                    <a:pt x="25" y="42"/>
                    <a:pt x="25" y="42"/>
                  </a:cubicBezTo>
                  <a:cubicBezTo>
                    <a:pt x="17" y="42"/>
                    <a:pt x="0" y="34"/>
                    <a:pt x="8" y="26"/>
                  </a:cubicBezTo>
                  <a:cubicBezTo>
                    <a:pt x="8" y="17"/>
                    <a:pt x="17" y="0"/>
                    <a:pt x="25" y="0"/>
                  </a:cubicBezTo>
                  <a:cubicBezTo>
                    <a:pt x="900" y="9"/>
                    <a:pt x="900" y="9"/>
                    <a:pt x="900" y="9"/>
                  </a:cubicBezTo>
                  <a:cubicBezTo>
                    <a:pt x="908" y="9"/>
                    <a:pt x="917" y="17"/>
                    <a:pt x="917" y="26"/>
                  </a:cubicBezTo>
                  <a:cubicBezTo>
                    <a:pt x="917" y="42"/>
                    <a:pt x="908" y="51"/>
                    <a:pt x="900" y="51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5" name="Freeform 993">
            <a:extLst>
              <a:ext uri="{FF2B5EF4-FFF2-40B4-BE49-F238E27FC236}">
                <a16:creationId xmlns:a16="http://schemas.microsoft.com/office/drawing/2014/main" id="{0B3951D2-84CB-429A-8375-49DB4AA3A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77169" y="6885207"/>
            <a:ext cx="686077" cy="813628"/>
          </a:xfrm>
          <a:custGeom>
            <a:avLst/>
            <a:gdLst>
              <a:gd name="T0" fmla="*/ 308377 w 900"/>
              <a:gd name="T1" fmla="*/ 385401 h 1070"/>
              <a:gd name="T2" fmla="*/ 308377 w 900"/>
              <a:gd name="T3" fmla="*/ 385401 h 1070"/>
              <a:gd name="T4" fmla="*/ 12234 w 900"/>
              <a:gd name="T5" fmla="*/ 385401 h 1070"/>
              <a:gd name="T6" fmla="*/ 0 w 900"/>
              <a:gd name="T7" fmla="*/ 370259 h 1070"/>
              <a:gd name="T8" fmla="*/ 0 w 900"/>
              <a:gd name="T9" fmla="*/ 15142 h 1070"/>
              <a:gd name="T10" fmla="*/ 12234 w 900"/>
              <a:gd name="T11" fmla="*/ 0 h 1070"/>
              <a:gd name="T12" fmla="*/ 70168 w 900"/>
              <a:gd name="T13" fmla="*/ 0 h 1070"/>
              <a:gd name="T14" fmla="*/ 79163 w 900"/>
              <a:gd name="T15" fmla="*/ 9013 h 1070"/>
              <a:gd name="T16" fmla="*/ 70168 w 900"/>
              <a:gd name="T17" fmla="*/ 18387 h 1070"/>
              <a:gd name="T18" fmla="*/ 18352 w 900"/>
              <a:gd name="T19" fmla="*/ 18387 h 1070"/>
              <a:gd name="T20" fmla="*/ 18352 w 900"/>
              <a:gd name="T21" fmla="*/ 367015 h 1070"/>
              <a:gd name="T22" fmla="*/ 305499 w 900"/>
              <a:gd name="T23" fmla="*/ 367015 h 1070"/>
              <a:gd name="T24" fmla="*/ 305499 w 900"/>
              <a:gd name="T25" fmla="*/ 18387 h 1070"/>
              <a:gd name="T26" fmla="*/ 253323 w 900"/>
              <a:gd name="T27" fmla="*/ 18387 h 1070"/>
              <a:gd name="T28" fmla="*/ 244327 w 900"/>
              <a:gd name="T29" fmla="*/ 9013 h 1070"/>
              <a:gd name="T30" fmla="*/ 253323 w 900"/>
              <a:gd name="T31" fmla="*/ 0 h 1070"/>
              <a:gd name="T32" fmla="*/ 308377 w 900"/>
              <a:gd name="T33" fmla="*/ 0 h 1070"/>
              <a:gd name="T34" fmla="*/ 323490 w 900"/>
              <a:gd name="T35" fmla="*/ 15142 h 1070"/>
              <a:gd name="T36" fmla="*/ 323490 w 900"/>
              <a:gd name="T37" fmla="*/ 370259 h 1070"/>
              <a:gd name="T38" fmla="*/ 308377 w 900"/>
              <a:gd name="T39" fmla="*/ 385401 h 1070"/>
              <a:gd name="T40" fmla="*/ 308377 w 900"/>
              <a:gd name="T41" fmla="*/ 18387 h 1070"/>
              <a:gd name="T42" fmla="*/ 308377 w 900"/>
              <a:gd name="T43" fmla="*/ 18387 h 10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00" h="1070">
                <a:moveTo>
                  <a:pt x="857" y="1069"/>
                </a:moveTo>
                <a:lnTo>
                  <a:pt x="857" y="1069"/>
                </a:lnTo>
                <a:cubicBezTo>
                  <a:pt x="34" y="1069"/>
                  <a:pt x="34" y="1069"/>
                  <a:pt x="34" y="1069"/>
                </a:cubicBezTo>
                <a:cubicBezTo>
                  <a:pt x="17" y="1069"/>
                  <a:pt x="0" y="1052"/>
                  <a:pt x="0" y="102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"/>
                  <a:pt x="17" y="0"/>
                  <a:pt x="34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212" y="0"/>
                  <a:pt x="220" y="17"/>
                  <a:pt x="220" y="25"/>
                </a:cubicBezTo>
                <a:cubicBezTo>
                  <a:pt x="220" y="42"/>
                  <a:pt x="212" y="51"/>
                  <a:pt x="195" y="51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1018"/>
                  <a:pt x="51" y="1018"/>
                  <a:pt x="51" y="1018"/>
                </a:cubicBezTo>
                <a:cubicBezTo>
                  <a:pt x="849" y="1018"/>
                  <a:pt x="849" y="1018"/>
                  <a:pt x="849" y="1018"/>
                </a:cubicBezTo>
                <a:cubicBezTo>
                  <a:pt x="849" y="51"/>
                  <a:pt x="849" y="51"/>
                  <a:pt x="849" y="51"/>
                </a:cubicBezTo>
                <a:cubicBezTo>
                  <a:pt x="704" y="51"/>
                  <a:pt x="704" y="51"/>
                  <a:pt x="704" y="51"/>
                </a:cubicBezTo>
                <a:cubicBezTo>
                  <a:pt x="687" y="51"/>
                  <a:pt x="679" y="42"/>
                  <a:pt x="679" y="25"/>
                </a:cubicBezTo>
                <a:cubicBezTo>
                  <a:pt x="679" y="17"/>
                  <a:pt x="687" y="0"/>
                  <a:pt x="704" y="0"/>
                </a:cubicBezTo>
                <a:cubicBezTo>
                  <a:pt x="857" y="0"/>
                  <a:pt x="857" y="0"/>
                  <a:pt x="857" y="0"/>
                </a:cubicBezTo>
                <a:cubicBezTo>
                  <a:pt x="882" y="0"/>
                  <a:pt x="899" y="17"/>
                  <a:pt x="899" y="42"/>
                </a:cubicBezTo>
                <a:cubicBezTo>
                  <a:pt x="899" y="1027"/>
                  <a:pt x="899" y="1027"/>
                  <a:pt x="899" y="1027"/>
                </a:cubicBezTo>
                <a:cubicBezTo>
                  <a:pt x="899" y="1052"/>
                  <a:pt x="882" y="1069"/>
                  <a:pt x="857" y="1069"/>
                </a:cubicBezTo>
                <a:close/>
                <a:moveTo>
                  <a:pt x="857" y="51"/>
                </a:moveTo>
                <a:lnTo>
                  <a:pt x="857" y="51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6" name="Freeform 994">
            <a:extLst>
              <a:ext uri="{FF2B5EF4-FFF2-40B4-BE49-F238E27FC236}">
                <a16:creationId xmlns:a16="http://schemas.microsoft.com/office/drawing/2014/main" id="{ACBDEDE4-BD17-4D3A-A06F-5E7E84316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079405"/>
            <a:ext cx="137887" cy="137278"/>
          </a:xfrm>
          <a:custGeom>
            <a:avLst/>
            <a:gdLst>
              <a:gd name="T0" fmla="*/ 55324 w 180"/>
              <a:gd name="T1" fmla="*/ 64723 h 179"/>
              <a:gd name="T2" fmla="*/ 55324 w 180"/>
              <a:gd name="T3" fmla="*/ 64723 h 179"/>
              <a:gd name="T4" fmla="*/ 9401 w 180"/>
              <a:gd name="T5" fmla="*/ 64723 h 179"/>
              <a:gd name="T6" fmla="*/ 0 w 180"/>
              <a:gd name="T7" fmla="*/ 55269 h 179"/>
              <a:gd name="T8" fmla="*/ 0 w 180"/>
              <a:gd name="T9" fmla="*/ 9090 h 179"/>
              <a:gd name="T10" fmla="*/ 9401 w 180"/>
              <a:gd name="T11" fmla="*/ 0 h 179"/>
              <a:gd name="T12" fmla="*/ 55324 w 180"/>
              <a:gd name="T13" fmla="*/ 0 h 179"/>
              <a:gd name="T14" fmla="*/ 64725 w 180"/>
              <a:gd name="T15" fmla="*/ 9090 h 179"/>
              <a:gd name="T16" fmla="*/ 64725 w 180"/>
              <a:gd name="T17" fmla="*/ 55269 h 179"/>
              <a:gd name="T18" fmla="*/ 55324 w 180"/>
              <a:gd name="T19" fmla="*/ 64723 h 179"/>
              <a:gd name="T20" fmla="*/ 18441 w 180"/>
              <a:gd name="T21" fmla="*/ 46179 h 179"/>
              <a:gd name="T22" fmla="*/ 18441 w 180"/>
              <a:gd name="T23" fmla="*/ 46179 h 179"/>
              <a:gd name="T24" fmla="*/ 46284 w 180"/>
              <a:gd name="T25" fmla="*/ 46179 h 179"/>
              <a:gd name="T26" fmla="*/ 46284 w 180"/>
              <a:gd name="T27" fmla="*/ 18181 h 179"/>
              <a:gd name="T28" fmla="*/ 18441 w 180"/>
              <a:gd name="T29" fmla="*/ 18181 h 179"/>
              <a:gd name="T30" fmla="*/ 18441 w 180"/>
              <a:gd name="T31" fmla="*/ 46179 h 1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9">
                <a:moveTo>
                  <a:pt x="153" y="178"/>
                </a:moveTo>
                <a:lnTo>
                  <a:pt x="153" y="178"/>
                </a:lnTo>
                <a:cubicBezTo>
                  <a:pt x="26" y="178"/>
                  <a:pt x="26" y="178"/>
                  <a:pt x="26" y="178"/>
                </a:cubicBezTo>
                <a:cubicBezTo>
                  <a:pt x="9" y="178"/>
                  <a:pt x="0" y="161"/>
                  <a:pt x="0" y="1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8"/>
                  <a:pt x="179" y="25"/>
                </a:cubicBezTo>
                <a:cubicBezTo>
                  <a:pt x="179" y="152"/>
                  <a:pt x="179" y="152"/>
                  <a:pt x="179" y="152"/>
                </a:cubicBezTo>
                <a:cubicBezTo>
                  <a:pt x="179" y="161"/>
                  <a:pt x="162" y="178"/>
                  <a:pt x="153" y="178"/>
                </a:cubicBezTo>
                <a:close/>
                <a:moveTo>
                  <a:pt x="51" y="127"/>
                </a:moveTo>
                <a:lnTo>
                  <a:pt x="51" y="127"/>
                </a:lnTo>
                <a:cubicBezTo>
                  <a:pt x="128" y="127"/>
                  <a:pt x="128" y="127"/>
                  <a:pt x="128" y="127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51" y="50"/>
                  <a:pt x="51" y="50"/>
                  <a:pt x="51" y="50"/>
                </a:cubicBezTo>
                <a:lnTo>
                  <a:pt x="51" y="127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7" name="Freeform 995">
            <a:extLst>
              <a:ext uri="{FF2B5EF4-FFF2-40B4-BE49-F238E27FC236}">
                <a16:creationId xmlns:a16="http://schemas.microsoft.com/office/drawing/2014/main" id="{7C4C8CB3-1114-430B-B23C-F50D560A6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273605"/>
            <a:ext cx="137887" cy="130582"/>
          </a:xfrm>
          <a:custGeom>
            <a:avLst/>
            <a:gdLst>
              <a:gd name="T0" fmla="*/ 55324 w 180"/>
              <a:gd name="T1" fmla="*/ 61550 h 171"/>
              <a:gd name="T2" fmla="*/ 55324 w 180"/>
              <a:gd name="T3" fmla="*/ 61550 h 171"/>
              <a:gd name="T4" fmla="*/ 9401 w 180"/>
              <a:gd name="T5" fmla="*/ 61550 h 171"/>
              <a:gd name="T6" fmla="*/ 0 w 180"/>
              <a:gd name="T7" fmla="*/ 52136 h 171"/>
              <a:gd name="T8" fmla="*/ 0 w 180"/>
              <a:gd name="T9" fmla="*/ 9414 h 171"/>
              <a:gd name="T10" fmla="*/ 9401 w 180"/>
              <a:gd name="T11" fmla="*/ 0 h 171"/>
              <a:gd name="T12" fmla="*/ 55324 w 180"/>
              <a:gd name="T13" fmla="*/ 0 h 171"/>
              <a:gd name="T14" fmla="*/ 64725 w 180"/>
              <a:gd name="T15" fmla="*/ 9414 h 171"/>
              <a:gd name="T16" fmla="*/ 64725 w 180"/>
              <a:gd name="T17" fmla="*/ 52136 h 171"/>
              <a:gd name="T18" fmla="*/ 55324 w 180"/>
              <a:gd name="T19" fmla="*/ 61550 h 171"/>
              <a:gd name="T20" fmla="*/ 18441 w 180"/>
              <a:gd name="T21" fmla="*/ 43085 h 171"/>
              <a:gd name="T22" fmla="*/ 18441 w 180"/>
              <a:gd name="T23" fmla="*/ 43085 h 171"/>
              <a:gd name="T24" fmla="*/ 46284 w 180"/>
              <a:gd name="T25" fmla="*/ 43085 h 171"/>
              <a:gd name="T26" fmla="*/ 46284 w 180"/>
              <a:gd name="T27" fmla="*/ 15206 h 171"/>
              <a:gd name="T28" fmla="*/ 18441 w 180"/>
              <a:gd name="T29" fmla="*/ 15206 h 171"/>
              <a:gd name="T30" fmla="*/ 18441 w 180"/>
              <a:gd name="T31" fmla="*/ 43085 h 1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1">
                <a:moveTo>
                  <a:pt x="153" y="170"/>
                </a:moveTo>
                <a:lnTo>
                  <a:pt x="153" y="170"/>
                </a:lnTo>
                <a:cubicBezTo>
                  <a:pt x="26" y="170"/>
                  <a:pt x="26" y="170"/>
                  <a:pt x="26" y="170"/>
                </a:cubicBezTo>
                <a:cubicBezTo>
                  <a:pt x="9" y="170"/>
                  <a:pt x="0" y="161"/>
                  <a:pt x="0" y="144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9"/>
                  <a:pt x="179" y="26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9" y="161"/>
                  <a:pt x="162" y="170"/>
                  <a:pt x="153" y="170"/>
                </a:cubicBezTo>
                <a:close/>
                <a:moveTo>
                  <a:pt x="51" y="119"/>
                </a:moveTo>
                <a:lnTo>
                  <a:pt x="51" y="119"/>
                </a:lnTo>
                <a:cubicBezTo>
                  <a:pt x="128" y="119"/>
                  <a:pt x="128" y="119"/>
                  <a:pt x="128" y="119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1" y="42"/>
                  <a:pt x="51" y="42"/>
                  <a:pt x="51" y="42"/>
                </a:cubicBezTo>
                <a:lnTo>
                  <a:pt x="51" y="11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8" name="Freeform 996">
            <a:extLst>
              <a:ext uri="{FF2B5EF4-FFF2-40B4-BE49-F238E27FC236}">
                <a16:creationId xmlns:a16="http://schemas.microsoft.com/office/drawing/2014/main" id="{8588F888-9A9D-41CD-8E35-D3D1D38798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461106"/>
            <a:ext cx="137887" cy="137278"/>
          </a:xfrm>
          <a:custGeom>
            <a:avLst/>
            <a:gdLst>
              <a:gd name="T0" fmla="*/ 55324 w 180"/>
              <a:gd name="T1" fmla="*/ 64725 h 180"/>
              <a:gd name="T2" fmla="*/ 55324 w 180"/>
              <a:gd name="T3" fmla="*/ 64725 h 180"/>
              <a:gd name="T4" fmla="*/ 9401 w 180"/>
              <a:gd name="T5" fmla="*/ 64725 h 180"/>
              <a:gd name="T6" fmla="*/ 0 w 180"/>
              <a:gd name="T7" fmla="*/ 55324 h 180"/>
              <a:gd name="T8" fmla="*/ 0 w 180"/>
              <a:gd name="T9" fmla="*/ 9401 h 180"/>
              <a:gd name="T10" fmla="*/ 9401 w 180"/>
              <a:gd name="T11" fmla="*/ 0 h 180"/>
              <a:gd name="T12" fmla="*/ 55324 w 180"/>
              <a:gd name="T13" fmla="*/ 0 h 180"/>
              <a:gd name="T14" fmla="*/ 64725 w 180"/>
              <a:gd name="T15" fmla="*/ 9401 h 180"/>
              <a:gd name="T16" fmla="*/ 64725 w 180"/>
              <a:gd name="T17" fmla="*/ 55324 h 180"/>
              <a:gd name="T18" fmla="*/ 55324 w 180"/>
              <a:gd name="T19" fmla="*/ 64725 h 180"/>
              <a:gd name="T20" fmla="*/ 18441 w 180"/>
              <a:gd name="T21" fmla="*/ 46284 h 180"/>
              <a:gd name="T22" fmla="*/ 18441 w 180"/>
              <a:gd name="T23" fmla="*/ 46284 h 180"/>
              <a:gd name="T24" fmla="*/ 46284 w 180"/>
              <a:gd name="T25" fmla="*/ 46284 h 180"/>
              <a:gd name="T26" fmla="*/ 46284 w 180"/>
              <a:gd name="T27" fmla="*/ 18441 h 180"/>
              <a:gd name="T28" fmla="*/ 18441 w 180"/>
              <a:gd name="T29" fmla="*/ 18441 h 180"/>
              <a:gd name="T30" fmla="*/ 18441 w 180"/>
              <a:gd name="T31" fmla="*/ 46284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80">
                <a:moveTo>
                  <a:pt x="153" y="179"/>
                </a:moveTo>
                <a:lnTo>
                  <a:pt x="153" y="179"/>
                </a:lnTo>
                <a:cubicBezTo>
                  <a:pt x="26" y="179"/>
                  <a:pt x="26" y="179"/>
                  <a:pt x="26" y="179"/>
                </a:cubicBezTo>
                <a:cubicBezTo>
                  <a:pt x="9" y="179"/>
                  <a:pt x="0" y="170"/>
                  <a:pt x="0" y="1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17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17"/>
                  <a:pt x="179" y="26"/>
                </a:cubicBezTo>
                <a:cubicBezTo>
                  <a:pt x="179" y="153"/>
                  <a:pt x="179" y="153"/>
                  <a:pt x="179" y="153"/>
                </a:cubicBezTo>
                <a:cubicBezTo>
                  <a:pt x="179" y="170"/>
                  <a:pt x="162" y="179"/>
                  <a:pt x="153" y="179"/>
                </a:cubicBezTo>
                <a:close/>
                <a:moveTo>
                  <a:pt x="51" y="128"/>
                </a:moveTo>
                <a:lnTo>
                  <a:pt x="51" y="128"/>
                </a:lnTo>
                <a:cubicBezTo>
                  <a:pt x="128" y="128"/>
                  <a:pt x="128" y="128"/>
                  <a:pt x="128" y="128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51" y="51"/>
                  <a:pt x="51" y="51"/>
                  <a:pt x="51" y="51"/>
                </a:cubicBezTo>
                <a:lnTo>
                  <a:pt x="51" y="128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9" name="Freeform 997">
            <a:extLst>
              <a:ext uri="{FF2B5EF4-FFF2-40B4-BE49-F238E27FC236}">
                <a16:creationId xmlns:a16="http://schemas.microsoft.com/office/drawing/2014/main" id="{BF5CA5D1-0929-444B-B010-E4E723B3FF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126282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159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159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42"/>
                  <a:pt x="0" y="25"/>
                </a:cubicBezTo>
                <a:cubicBezTo>
                  <a:pt x="0" y="17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17"/>
                  <a:pt x="297" y="25"/>
                </a:cubicBezTo>
                <a:cubicBezTo>
                  <a:pt x="297" y="42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0" name="Freeform 998">
            <a:extLst>
              <a:ext uri="{FF2B5EF4-FFF2-40B4-BE49-F238E27FC236}">
                <a16:creationId xmlns:a16="http://schemas.microsoft.com/office/drawing/2014/main" id="{3CE96516-AB9D-4D6B-8784-EC569722DF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317132"/>
            <a:ext cx="228693" cy="40180"/>
          </a:xfrm>
          <a:custGeom>
            <a:avLst/>
            <a:gdLst>
              <a:gd name="T0" fmla="*/ 101430 w 298"/>
              <a:gd name="T1" fmla="*/ 18676 h 51"/>
              <a:gd name="T2" fmla="*/ 101430 w 298"/>
              <a:gd name="T3" fmla="*/ 18676 h 51"/>
              <a:gd name="T4" fmla="*/ 9418 w 298"/>
              <a:gd name="T5" fmla="*/ 18676 h 51"/>
              <a:gd name="T6" fmla="*/ 0 w 298"/>
              <a:gd name="T7" fmla="*/ 9338 h 51"/>
              <a:gd name="T8" fmla="*/ 9418 w 298"/>
              <a:gd name="T9" fmla="*/ 0 h 51"/>
              <a:gd name="T10" fmla="*/ 101430 w 298"/>
              <a:gd name="T11" fmla="*/ 0 h 51"/>
              <a:gd name="T12" fmla="*/ 107588 w 298"/>
              <a:gd name="T13" fmla="*/ 9338 h 51"/>
              <a:gd name="T14" fmla="*/ 101430 w 298"/>
              <a:gd name="T15" fmla="*/ 18676 h 5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1">
                <a:moveTo>
                  <a:pt x="280" y="50"/>
                </a:moveTo>
                <a:lnTo>
                  <a:pt x="280" y="50"/>
                </a:lnTo>
                <a:cubicBezTo>
                  <a:pt x="26" y="50"/>
                  <a:pt x="26" y="50"/>
                  <a:pt x="26" y="50"/>
                </a:cubicBezTo>
                <a:cubicBezTo>
                  <a:pt x="9" y="50"/>
                  <a:pt x="0" y="42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8"/>
                  <a:pt x="297" y="25"/>
                </a:cubicBezTo>
                <a:cubicBezTo>
                  <a:pt x="297" y="42"/>
                  <a:pt x="289" y="50"/>
                  <a:pt x="280" y="50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1" name="Freeform 999">
            <a:extLst>
              <a:ext uri="{FF2B5EF4-FFF2-40B4-BE49-F238E27FC236}">
                <a16:creationId xmlns:a16="http://schemas.microsoft.com/office/drawing/2014/main" id="{FD353D14-0162-4434-81F9-8EFBDDB8F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511330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525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525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34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9"/>
                  <a:pt x="297" y="26"/>
                </a:cubicBezTo>
                <a:cubicBezTo>
                  <a:pt x="297" y="34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2" name="Freeform 1000">
            <a:extLst>
              <a:ext uri="{FF2B5EF4-FFF2-40B4-BE49-F238E27FC236}">
                <a16:creationId xmlns:a16="http://schemas.microsoft.com/office/drawing/2014/main" id="{014ACAB3-6894-47BD-BB7D-0B110CDC0E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778" y="6794801"/>
            <a:ext cx="326222" cy="214289"/>
          </a:xfrm>
          <a:custGeom>
            <a:avLst/>
            <a:gdLst>
              <a:gd name="T0" fmla="*/ 141335 w 426"/>
              <a:gd name="T1" fmla="*/ 101238 h 281"/>
              <a:gd name="T2" fmla="*/ 141335 w 426"/>
              <a:gd name="T3" fmla="*/ 101238 h 281"/>
              <a:gd name="T4" fmla="*/ 9398 w 426"/>
              <a:gd name="T5" fmla="*/ 101238 h 281"/>
              <a:gd name="T6" fmla="*/ 0 w 426"/>
              <a:gd name="T7" fmla="*/ 88945 h 281"/>
              <a:gd name="T8" fmla="*/ 0 w 426"/>
              <a:gd name="T9" fmla="*/ 52065 h 281"/>
              <a:gd name="T10" fmla="*/ 0 w 426"/>
              <a:gd name="T11" fmla="*/ 49173 h 281"/>
              <a:gd name="T12" fmla="*/ 30725 w 426"/>
              <a:gd name="T13" fmla="*/ 12293 h 281"/>
              <a:gd name="T14" fmla="*/ 76994 w 426"/>
              <a:gd name="T15" fmla="*/ 0 h 281"/>
              <a:gd name="T16" fmla="*/ 122900 w 426"/>
              <a:gd name="T17" fmla="*/ 12293 h 281"/>
              <a:gd name="T18" fmla="*/ 150372 w 426"/>
              <a:gd name="T19" fmla="*/ 49173 h 281"/>
              <a:gd name="T20" fmla="*/ 153626 w 426"/>
              <a:gd name="T21" fmla="*/ 52065 h 281"/>
              <a:gd name="T22" fmla="*/ 153626 w 426"/>
              <a:gd name="T23" fmla="*/ 88945 h 281"/>
              <a:gd name="T24" fmla="*/ 141335 w 426"/>
              <a:gd name="T25" fmla="*/ 101238 h 281"/>
              <a:gd name="T26" fmla="*/ 18435 w 426"/>
              <a:gd name="T27" fmla="*/ 82799 h 281"/>
              <a:gd name="T28" fmla="*/ 18435 w 426"/>
              <a:gd name="T29" fmla="*/ 82799 h 281"/>
              <a:gd name="T30" fmla="*/ 135190 w 426"/>
              <a:gd name="T31" fmla="*/ 82799 h 281"/>
              <a:gd name="T32" fmla="*/ 135190 w 426"/>
              <a:gd name="T33" fmla="*/ 55320 h 281"/>
              <a:gd name="T34" fmla="*/ 113502 w 426"/>
              <a:gd name="T35" fmla="*/ 27841 h 281"/>
              <a:gd name="T36" fmla="*/ 76994 w 426"/>
              <a:gd name="T37" fmla="*/ 15547 h 281"/>
              <a:gd name="T38" fmla="*/ 40123 w 426"/>
              <a:gd name="T39" fmla="*/ 27841 h 281"/>
              <a:gd name="T40" fmla="*/ 18435 w 426"/>
              <a:gd name="T41" fmla="*/ 55320 h 281"/>
              <a:gd name="T42" fmla="*/ 18435 w 426"/>
              <a:gd name="T43" fmla="*/ 82799 h 2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26" h="281">
                <a:moveTo>
                  <a:pt x="391" y="280"/>
                </a:moveTo>
                <a:lnTo>
                  <a:pt x="391" y="280"/>
                </a:lnTo>
                <a:cubicBezTo>
                  <a:pt x="26" y="280"/>
                  <a:pt x="26" y="280"/>
                  <a:pt x="26" y="280"/>
                </a:cubicBezTo>
                <a:cubicBezTo>
                  <a:pt x="17" y="280"/>
                  <a:pt x="0" y="263"/>
                  <a:pt x="0" y="246"/>
                </a:cubicBezTo>
                <a:cubicBezTo>
                  <a:pt x="0" y="144"/>
                  <a:pt x="0" y="144"/>
                  <a:pt x="0" y="144"/>
                </a:cubicBezTo>
                <a:lnTo>
                  <a:pt x="0" y="136"/>
                </a:lnTo>
                <a:cubicBezTo>
                  <a:pt x="17" y="93"/>
                  <a:pt x="43" y="59"/>
                  <a:pt x="85" y="34"/>
                </a:cubicBezTo>
                <a:cubicBezTo>
                  <a:pt x="119" y="9"/>
                  <a:pt x="162" y="0"/>
                  <a:pt x="213" y="0"/>
                </a:cubicBezTo>
                <a:cubicBezTo>
                  <a:pt x="255" y="0"/>
                  <a:pt x="298" y="9"/>
                  <a:pt x="340" y="34"/>
                </a:cubicBezTo>
                <a:cubicBezTo>
                  <a:pt x="374" y="59"/>
                  <a:pt x="408" y="93"/>
                  <a:pt x="416" y="136"/>
                </a:cubicBezTo>
                <a:cubicBezTo>
                  <a:pt x="425" y="136"/>
                  <a:pt x="425" y="144"/>
                  <a:pt x="425" y="144"/>
                </a:cubicBezTo>
                <a:cubicBezTo>
                  <a:pt x="425" y="246"/>
                  <a:pt x="425" y="246"/>
                  <a:pt x="425" y="246"/>
                </a:cubicBezTo>
                <a:cubicBezTo>
                  <a:pt x="425" y="263"/>
                  <a:pt x="408" y="280"/>
                  <a:pt x="391" y="280"/>
                </a:cubicBezTo>
                <a:close/>
                <a:moveTo>
                  <a:pt x="51" y="229"/>
                </a:moveTo>
                <a:lnTo>
                  <a:pt x="51" y="229"/>
                </a:lnTo>
                <a:cubicBezTo>
                  <a:pt x="374" y="229"/>
                  <a:pt x="374" y="229"/>
                  <a:pt x="374" y="229"/>
                </a:cubicBezTo>
                <a:cubicBezTo>
                  <a:pt x="374" y="153"/>
                  <a:pt x="374" y="153"/>
                  <a:pt x="374" y="153"/>
                </a:cubicBezTo>
                <a:cubicBezTo>
                  <a:pt x="357" y="119"/>
                  <a:pt x="340" y="93"/>
                  <a:pt x="314" y="77"/>
                </a:cubicBezTo>
                <a:cubicBezTo>
                  <a:pt x="280" y="59"/>
                  <a:pt x="246" y="43"/>
                  <a:pt x="213" y="43"/>
                </a:cubicBezTo>
                <a:cubicBezTo>
                  <a:pt x="170" y="43"/>
                  <a:pt x="136" y="59"/>
                  <a:pt x="111" y="77"/>
                </a:cubicBezTo>
                <a:cubicBezTo>
                  <a:pt x="85" y="93"/>
                  <a:pt x="60" y="119"/>
                  <a:pt x="51" y="153"/>
                </a:cubicBezTo>
                <a:lnTo>
                  <a:pt x="51" y="22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  <a:latin typeface="Trebuchet"/>
            </a:endParaRPr>
          </a:p>
        </p:txBody>
      </p:sp>
      <p:sp>
        <p:nvSpPr>
          <p:cNvPr id="403" name="CuadroTexto 395">
            <a:extLst>
              <a:ext uri="{FF2B5EF4-FFF2-40B4-BE49-F238E27FC236}">
                <a16:creationId xmlns:a16="http://schemas.microsoft.com/office/drawing/2014/main" id="{79B8F1CF-7E8A-4FE0-8BAF-4760D6184066}"/>
              </a:ext>
            </a:extLst>
          </p:cNvPr>
          <p:cNvSpPr txBox="1"/>
          <p:nvPr userDrawn="1"/>
        </p:nvSpPr>
        <p:spPr>
          <a:xfrm>
            <a:off x="7562158" y="2766582"/>
            <a:ext cx="224959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esquisa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e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Satisf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4" name="CuadroTexto 395">
            <a:extLst>
              <a:ext uri="{FF2B5EF4-FFF2-40B4-BE49-F238E27FC236}">
                <a16:creationId xmlns:a16="http://schemas.microsoft.com/office/drawing/2014/main" id="{A1BCD024-7372-46CF-814C-8BC0569CE1E8}"/>
              </a:ext>
            </a:extLst>
          </p:cNvPr>
          <p:cNvSpPr txBox="1"/>
          <p:nvPr userDrawn="1"/>
        </p:nvSpPr>
        <p:spPr>
          <a:xfrm>
            <a:off x="10775350" y="2767123"/>
            <a:ext cx="175893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Relatório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Final</a:t>
            </a:r>
          </a:p>
        </p:txBody>
      </p:sp>
      <p:sp>
        <p:nvSpPr>
          <p:cNvPr id="405" name="CuadroTexto 395">
            <a:extLst>
              <a:ext uri="{FF2B5EF4-FFF2-40B4-BE49-F238E27FC236}">
                <a16:creationId xmlns:a16="http://schemas.microsoft.com/office/drawing/2014/main" id="{95DDD58E-A317-4E91-8E51-185D92974733}"/>
              </a:ext>
            </a:extLst>
          </p:cNvPr>
          <p:cNvSpPr txBox="1"/>
          <p:nvPr userDrawn="1"/>
        </p:nvSpPr>
        <p:spPr>
          <a:xfrm>
            <a:off x="12987438" y="2767124"/>
            <a:ext cx="3081905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companhamento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as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ções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7" name="CuadroTexto 395">
            <a:extLst>
              <a:ext uri="{FF2B5EF4-FFF2-40B4-BE49-F238E27FC236}">
                <a16:creationId xmlns:a16="http://schemas.microsoft.com/office/drawing/2014/main" id="{F851D7B0-C06E-4256-9B76-A3B7965A7FC7}"/>
              </a:ext>
            </a:extLst>
          </p:cNvPr>
          <p:cNvSpPr txBox="1"/>
          <p:nvPr/>
        </p:nvSpPr>
        <p:spPr>
          <a:xfrm>
            <a:off x="7481526" y="5378484"/>
            <a:ext cx="2420158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present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0" name="CuadroTexto 395">
            <a:extLst>
              <a:ext uri="{FF2B5EF4-FFF2-40B4-BE49-F238E27FC236}">
                <a16:creationId xmlns:a16="http://schemas.microsoft.com/office/drawing/2014/main" id="{E0947B8F-13EC-4AEE-B215-504608D02E3A}"/>
              </a:ext>
            </a:extLst>
          </p:cNvPr>
          <p:cNvSpPr txBox="1"/>
          <p:nvPr/>
        </p:nvSpPr>
        <p:spPr>
          <a:xfrm>
            <a:off x="10550343" y="5378484"/>
            <a:ext cx="2128245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Conclus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3" name="CuadroTexto 395">
            <a:extLst>
              <a:ext uri="{FF2B5EF4-FFF2-40B4-BE49-F238E27FC236}">
                <a16:creationId xmlns:a16="http://schemas.microsoft.com/office/drawing/2014/main" id="{2441EB75-C4C9-46E4-BF8E-21D9963ECEC2}"/>
              </a:ext>
            </a:extLst>
          </p:cNvPr>
          <p:cNvSpPr txBox="1"/>
          <p:nvPr/>
        </p:nvSpPr>
        <p:spPr>
          <a:xfrm>
            <a:off x="13555809" y="5359816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Testes</a:t>
            </a:r>
          </a:p>
        </p:txBody>
      </p:sp>
      <p:sp>
        <p:nvSpPr>
          <p:cNvPr id="416" name="CuadroTexto 395">
            <a:extLst>
              <a:ext uri="{FF2B5EF4-FFF2-40B4-BE49-F238E27FC236}">
                <a16:creationId xmlns:a16="http://schemas.microsoft.com/office/drawing/2014/main" id="{B6B8AAAE-4FEC-4406-B6DD-3789C7298F2F}"/>
              </a:ext>
            </a:extLst>
          </p:cNvPr>
          <p:cNvSpPr txBox="1"/>
          <p:nvPr/>
        </p:nvSpPr>
        <p:spPr>
          <a:xfrm>
            <a:off x="7767739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o</a:t>
            </a:r>
          </a:p>
        </p:txBody>
      </p:sp>
      <p:sp>
        <p:nvSpPr>
          <p:cNvPr id="419" name="CuadroTexto 395">
            <a:extLst>
              <a:ext uri="{FF2B5EF4-FFF2-40B4-BE49-F238E27FC236}">
                <a16:creationId xmlns:a16="http://schemas.microsoft.com/office/drawing/2014/main" id="{7CE93F1D-6021-42E6-AD64-E80F88023975}"/>
              </a:ext>
            </a:extLst>
          </p:cNvPr>
          <p:cNvSpPr txBox="1"/>
          <p:nvPr/>
        </p:nvSpPr>
        <p:spPr>
          <a:xfrm>
            <a:off x="10260125" y="8028248"/>
            <a:ext cx="2714377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ejament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2" name="CuadroTexto 395">
            <a:extLst>
              <a:ext uri="{FF2B5EF4-FFF2-40B4-BE49-F238E27FC236}">
                <a16:creationId xmlns:a16="http://schemas.microsoft.com/office/drawing/2014/main" id="{4D8A3DDB-871E-42BC-912B-B301C2332C60}"/>
              </a:ext>
            </a:extLst>
          </p:cNvPr>
          <p:cNvSpPr txBox="1"/>
          <p:nvPr/>
        </p:nvSpPr>
        <p:spPr>
          <a:xfrm>
            <a:off x="13630813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bertura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4" name="Freeform 747">
            <a:extLst>
              <a:ext uri="{FF2B5EF4-FFF2-40B4-BE49-F238E27FC236}">
                <a16:creationId xmlns:a16="http://schemas.microsoft.com/office/drawing/2014/main" id="{4783C306-DCB0-42E7-B793-C48B008FB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25028" y="6647480"/>
            <a:ext cx="1197273" cy="1191982"/>
          </a:xfrm>
          <a:custGeom>
            <a:avLst/>
            <a:gdLst>
              <a:gd name="T0" fmla="*/ 510075 w 1570"/>
              <a:gd name="T1" fmla="*/ 564790 h 1571"/>
              <a:gd name="T2" fmla="*/ 510075 w 1570"/>
              <a:gd name="T3" fmla="*/ 564790 h 1571"/>
              <a:gd name="T4" fmla="*/ 52195 w 1570"/>
              <a:gd name="T5" fmla="*/ 564790 h 1571"/>
              <a:gd name="T6" fmla="*/ 0 w 1570"/>
              <a:gd name="T7" fmla="*/ 512988 h 1571"/>
              <a:gd name="T8" fmla="*/ 0 w 1570"/>
              <a:gd name="T9" fmla="*/ 55040 h 1571"/>
              <a:gd name="T10" fmla="*/ 52195 w 1570"/>
              <a:gd name="T11" fmla="*/ 0 h 1571"/>
              <a:gd name="T12" fmla="*/ 510075 w 1570"/>
              <a:gd name="T13" fmla="*/ 0 h 1571"/>
              <a:gd name="T14" fmla="*/ 564790 w 1570"/>
              <a:gd name="T15" fmla="*/ 55040 h 1571"/>
              <a:gd name="T16" fmla="*/ 564790 w 1570"/>
              <a:gd name="T17" fmla="*/ 512988 h 1571"/>
              <a:gd name="T18" fmla="*/ 510075 w 157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1">
                <a:moveTo>
                  <a:pt x="1417" y="1570"/>
                </a:moveTo>
                <a:lnTo>
                  <a:pt x="1417" y="1570"/>
                </a:lnTo>
                <a:cubicBezTo>
                  <a:pt x="145" y="1570"/>
                  <a:pt x="145" y="1570"/>
                  <a:pt x="145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8"/>
                  <a:pt x="1569" y="153"/>
                </a:cubicBezTo>
                <a:cubicBezTo>
                  <a:pt x="1569" y="1426"/>
                  <a:pt x="1569" y="1426"/>
                  <a:pt x="1569" y="1426"/>
                </a:cubicBezTo>
                <a:cubicBezTo>
                  <a:pt x="1569" y="1502"/>
                  <a:pt x="1502" y="1570"/>
                  <a:pt x="1417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02B4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5" name="Gráfico 424" descr="Marca de verificação do selo com preenchimento sólido">
            <a:extLst>
              <a:ext uri="{FF2B5EF4-FFF2-40B4-BE49-F238E27FC236}">
                <a16:creationId xmlns:a16="http://schemas.microsoft.com/office/drawing/2014/main" id="{E80A37E3-2EE5-4667-96F5-D5EFE57D0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8891" y="6799453"/>
            <a:ext cx="939063" cy="934913"/>
          </a:xfrm>
          <a:prstGeom prst="rect">
            <a:avLst/>
          </a:prstGeom>
        </p:spPr>
      </p:pic>
      <p:sp>
        <p:nvSpPr>
          <p:cNvPr id="426" name="Freeform 746">
            <a:extLst>
              <a:ext uri="{FF2B5EF4-FFF2-40B4-BE49-F238E27FC236}">
                <a16:creationId xmlns:a16="http://schemas.microsoft.com/office/drawing/2014/main" id="{66F9DD58-260A-4B08-804F-9138455CA9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836507" y="4059270"/>
            <a:ext cx="1197273" cy="1198679"/>
          </a:xfrm>
          <a:custGeom>
            <a:avLst/>
            <a:gdLst>
              <a:gd name="T0" fmla="*/ 512988 w 1571"/>
              <a:gd name="T1" fmla="*/ 567965 h 1578"/>
              <a:gd name="T2" fmla="*/ 512988 w 1571"/>
              <a:gd name="T3" fmla="*/ 567965 h 1578"/>
              <a:gd name="T4" fmla="*/ 55040 w 1571"/>
              <a:gd name="T5" fmla="*/ 567965 h 1578"/>
              <a:gd name="T6" fmla="*/ 0 w 1571"/>
              <a:gd name="T7" fmla="*/ 512861 h 1578"/>
              <a:gd name="T8" fmla="*/ 0 w 1571"/>
              <a:gd name="T9" fmla="*/ 54744 h 1578"/>
              <a:gd name="T10" fmla="*/ 55040 w 1571"/>
              <a:gd name="T11" fmla="*/ 0 h 1578"/>
              <a:gd name="T12" fmla="*/ 512988 w 1571"/>
              <a:gd name="T13" fmla="*/ 0 h 1578"/>
              <a:gd name="T14" fmla="*/ 564790 w 1571"/>
              <a:gd name="T15" fmla="*/ 54744 h 1578"/>
              <a:gd name="T16" fmla="*/ 564790 w 1571"/>
              <a:gd name="T17" fmla="*/ 512861 h 1578"/>
              <a:gd name="T18" fmla="*/ 512988 w 1571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7"/>
                  <a:pt x="1570" y="152"/>
                </a:cubicBezTo>
                <a:cubicBezTo>
                  <a:pt x="1570" y="1424"/>
                  <a:pt x="1570" y="1424"/>
                  <a:pt x="1570" y="1424"/>
                </a:cubicBezTo>
                <a:cubicBezTo>
                  <a:pt x="1570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8AABCA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7" name="Gráfico 426" descr="Análise do cliente com preenchimento sólido">
            <a:extLst>
              <a:ext uri="{FF2B5EF4-FFF2-40B4-BE49-F238E27FC236}">
                <a16:creationId xmlns:a16="http://schemas.microsoft.com/office/drawing/2014/main" id="{4CA941C0-45E4-48D2-A80A-E5C6E802D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9163" y="4225593"/>
            <a:ext cx="851955" cy="848189"/>
          </a:xfrm>
          <a:prstGeom prst="rect">
            <a:avLst/>
          </a:prstGeom>
        </p:spPr>
      </p:pic>
      <p:pic>
        <p:nvPicPr>
          <p:cNvPr id="428" name="Gráfico 427" descr="Apresentação com lista de verificação com preenchimento sólido">
            <a:extLst>
              <a:ext uri="{FF2B5EF4-FFF2-40B4-BE49-F238E27FC236}">
                <a16:creationId xmlns:a16="http://schemas.microsoft.com/office/drawing/2014/main" id="{293E3D97-C3CF-413A-A942-75202E79EA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434" y="4221502"/>
            <a:ext cx="851955" cy="848189"/>
          </a:xfrm>
          <a:prstGeom prst="rect">
            <a:avLst/>
          </a:prstGeom>
        </p:spPr>
      </p:pic>
      <p:sp>
        <p:nvSpPr>
          <p:cNvPr id="429" name="Line 551">
            <a:extLst>
              <a:ext uri="{FF2B5EF4-FFF2-40B4-BE49-F238E27FC236}">
                <a16:creationId xmlns:a16="http://schemas.microsoft.com/office/drawing/2014/main" id="{036000FA-7E43-45DA-963D-2407AF86D98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91884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0" name="Line 552">
            <a:extLst>
              <a:ext uri="{FF2B5EF4-FFF2-40B4-BE49-F238E27FC236}">
                <a16:creationId xmlns:a16="http://schemas.microsoft.com/office/drawing/2014/main" id="{0A8742C1-6B96-46D0-B81A-86F6901140A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713691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1" name="Line 553">
            <a:extLst>
              <a:ext uri="{FF2B5EF4-FFF2-40B4-BE49-F238E27FC236}">
                <a16:creationId xmlns:a16="http://schemas.microsoft.com/office/drawing/2014/main" id="{123518FE-426F-419A-BE07-8B36031F8173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505179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2" name="Line 554">
            <a:extLst>
              <a:ext uri="{FF2B5EF4-FFF2-40B4-BE49-F238E27FC236}">
                <a16:creationId xmlns:a16="http://schemas.microsoft.com/office/drawing/2014/main" id="{0EA0BB59-C4E4-4042-A760-84BC1D215BD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296664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3" name="Line 555">
            <a:extLst>
              <a:ext uri="{FF2B5EF4-FFF2-40B4-BE49-F238E27FC236}">
                <a16:creationId xmlns:a16="http://schemas.microsoft.com/office/drawing/2014/main" id="{A26B4481-C68F-4E41-A208-74C54C5F477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09151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4" name="Line 648">
            <a:extLst>
              <a:ext uri="{FF2B5EF4-FFF2-40B4-BE49-F238E27FC236}">
                <a16:creationId xmlns:a16="http://schemas.microsoft.com/office/drawing/2014/main" id="{E84E94BE-A2CE-4434-9E4B-44DF3FA4A9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148685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5" name="Line 649">
            <a:extLst>
              <a:ext uri="{FF2B5EF4-FFF2-40B4-BE49-F238E27FC236}">
                <a16:creationId xmlns:a16="http://schemas.microsoft.com/office/drawing/2014/main" id="{B0A5A7EE-8140-4D7C-8383-474D2B6B9A8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353836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6" name="Line 650">
            <a:extLst>
              <a:ext uri="{FF2B5EF4-FFF2-40B4-BE49-F238E27FC236}">
                <a16:creationId xmlns:a16="http://schemas.microsoft.com/office/drawing/2014/main" id="{DF5F3856-B351-464F-93B1-63B51A4AE60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562351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7" name="Line 651">
            <a:extLst>
              <a:ext uri="{FF2B5EF4-FFF2-40B4-BE49-F238E27FC236}">
                <a16:creationId xmlns:a16="http://schemas.microsoft.com/office/drawing/2014/main" id="{E4F5D741-4D83-4BA7-A9C6-A26AF3B9E1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767502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8" name="Line 652">
            <a:extLst>
              <a:ext uri="{FF2B5EF4-FFF2-40B4-BE49-F238E27FC236}">
                <a16:creationId xmlns:a16="http://schemas.microsoft.com/office/drawing/2014/main" id="{11B78DA9-5BF0-471E-8A4F-986B14F590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976014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9" name="Freeform 745">
            <a:extLst>
              <a:ext uri="{FF2B5EF4-FFF2-40B4-BE49-F238E27FC236}">
                <a16:creationId xmlns:a16="http://schemas.microsoft.com/office/drawing/2014/main" id="{84BF3944-148B-42A1-A7A9-27B2185139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7522" y="6680843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0" name="Freeform 966">
            <a:extLst>
              <a:ext uri="{FF2B5EF4-FFF2-40B4-BE49-F238E27FC236}">
                <a16:creationId xmlns:a16="http://schemas.microsoft.com/office/drawing/2014/main" id="{0FA8A307-33F5-42B8-944C-8428255AF0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458094" y="6814772"/>
            <a:ext cx="319496" cy="800234"/>
          </a:xfrm>
          <a:custGeom>
            <a:avLst/>
            <a:gdLst>
              <a:gd name="T0" fmla="*/ 122964 w 417"/>
              <a:gd name="T1" fmla="*/ 379052 h 1053"/>
              <a:gd name="T2" fmla="*/ 122964 w 417"/>
              <a:gd name="T3" fmla="*/ 379052 h 1053"/>
              <a:gd name="T4" fmla="*/ 27848 w 417"/>
              <a:gd name="T5" fmla="*/ 379052 h 1053"/>
              <a:gd name="T6" fmla="*/ 15551 w 417"/>
              <a:gd name="T7" fmla="*/ 366801 h 1053"/>
              <a:gd name="T8" fmla="*/ 6148 w 417"/>
              <a:gd name="T9" fmla="*/ 256905 h 1053"/>
              <a:gd name="T10" fmla="*/ 58589 w 417"/>
              <a:gd name="T11" fmla="*/ 21259 h 1053"/>
              <a:gd name="T12" fmla="*/ 64737 w 417"/>
              <a:gd name="T13" fmla="*/ 6125 h 1053"/>
              <a:gd name="T14" fmla="*/ 73779 w 417"/>
              <a:gd name="T15" fmla="*/ 0 h 1053"/>
              <a:gd name="T16" fmla="*/ 73779 w 417"/>
              <a:gd name="T17" fmla="*/ 0 h 1053"/>
              <a:gd name="T18" fmla="*/ 83182 w 417"/>
              <a:gd name="T19" fmla="*/ 6125 h 1053"/>
              <a:gd name="T20" fmla="*/ 86075 w 417"/>
              <a:gd name="T21" fmla="*/ 12251 h 1053"/>
              <a:gd name="T22" fmla="*/ 141409 w 417"/>
              <a:gd name="T23" fmla="*/ 269156 h 1053"/>
              <a:gd name="T24" fmla="*/ 132006 w 417"/>
              <a:gd name="T25" fmla="*/ 269156 h 1053"/>
              <a:gd name="T26" fmla="*/ 141409 w 417"/>
              <a:gd name="T27" fmla="*/ 269156 h 1053"/>
              <a:gd name="T28" fmla="*/ 132006 w 417"/>
              <a:gd name="T29" fmla="*/ 370044 h 1053"/>
              <a:gd name="T30" fmla="*/ 122964 w 417"/>
              <a:gd name="T31" fmla="*/ 379052 h 1053"/>
              <a:gd name="T32" fmla="*/ 36889 w 417"/>
              <a:gd name="T33" fmla="*/ 357793 h 1053"/>
              <a:gd name="T34" fmla="*/ 36889 w 417"/>
              <a:gd name="T35" fmla="*/ 357793 h 1053"/>
              <a:gd name="T36" fmla="*/ 113561 w 417"/>
              <a:gd name="T37" fmla="*/ 357793 h 1053"/>
              <a:gd name="T38" fmla="*/ 122964 w 417"/>
              <a:gd name="T39" fmla="*/ 269156 h 1053"/>
              <a:gd name="T40" fmla="*/ 73779 w 417"/>
              <a:gd name="T41" fmla="*/ 33509 h 1053"/>
              <a:gd name="T42" fmla="*/ 27848 w 417"/>
              <a:gd name="T43" fmla="*/ 253662 h 1053"/>
              <a:gd name="T44" fmla="*/ 36889 w 417"/>
              <a:gd name="T45" fmla="*/ 357793 h 105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17" h="1053">
                <a:moveTo>
                  <a:pt x="340" y="1052"/>
                </a:moveTo>
                <a:lnTo>
                  <a:pt x="340" y="1052"/>
                </a:lnTo>
                <a:cubicBezTo>
                  <a:pt x="77" y="1052"/>
                  <a:pt x="77" y="1052"/>
                  <a:pt x="77" y="1052"/>
                </a:cubicBezTo>
                <a:cubicBezTo>
                  <a:pt x="60" y="1052"/>
                  <a:pt x="43" y="1035"/>
                  <a:pt x="43" y="1018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501"/>
                  <a:pt x="51" y="280"/>
                  <a:pt x="162" y="59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7" y="8"/>
                  <a:pt x="196" y="0"/>
                  <a:pt x="204" y="0"/>
                </a:cubicBezTo>
                <a:cubicBezTo>
                  <a:pt x="213" y="0"/>
                  <a:pt x="230" y="8"/>
                  <a:pt x="230" y="17"/>
                </a:cubicBezTo>
                <a:cubicBezTo>
                  <a:pt x="238" y="34"/>
                  <a:pt x="238" y="34"/>
                  <a:pt x="238" y="34"/>
                </a:cubicBezTo>
                <a:cubicBezTo>
                  <a:pt x="365" y="254"/>
                  <a:pt x="416" y="501"/>
                  <a:pt x="391" y="747"/>
                </a:cubicBezTo>
                <a:cubicBezTo>
                  <a:pt x="365" y="747"/>
                  <a:pt x="365" y="747"/>
                  <a:pt x="365" y="747"/>
                </a:cubicBezTo>
                <a:cubicBezTo>
                  <a:pt x="391" y="747"/>
                  <a:pt x="391" y="747"/>
                  <a:pt x="391" y="747"/>
                </a:cubicBezTo>
                <a:cubicBezTo>
                  <a:pt x="365" y="1027"/>
                  <a:pt x="365" y="1027"/>
                  <a:pt x="365" y="1027"/>
                </a:cubicBezTo>
                <a:cubicBezTo>
                  <a:pt x="365" y="1035"/>
                  <a:pt x="357" y="1052"/>
                  <a:pt x="340" y="1052"/>
                </a:cubicBezTo>
                <a:close/>
                <a:moveTo>
                  <a:pt x="102" y="993"/>
                </a:moveTo>
                <a:lnTo>
                  <a:pt x="102" y="993"/>
                </a:lnTo>
                <a:cubicBezTo>
                  <a:pt x="314" y="993"/>
                  <a:pt x="314" y="993"/>
                  <a:pt x="314" y="993"/>
                </a:cubicBezTo>
                <a:cubicBezTo>
                  <a:pt x="340" y="747"/>
                  <a:pt x="340" y="747"/>
                  <a:pt x="340" y="747"/>
                </a:cubicBezTo>
                <a:cubicBezTo>
                  <a:pt x="357" y="518"/>
                  <a:pt x="314" y="297"/>
                  <a:pt x="204" y="93"/>
                </a:cubicBezTo>
                <a:cubicBezTo>
                  <a:pt x="102" y="297"/>
                  <a:pt x="60" y="501"/>
                  <a:pt x="77" y="704"/>
                </a:cubicBezTo>
                <a:lnTo>
                  <a:pt x="102" y="99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1" name="Freeform 967">
            <a:extLst>
              <a:ext uri="{FF2B5EF4-FFF2-40B4-BE49-F238E27FC236}">
                <a16:creationId xmlns:a16="http://schemas.microsoft.com/office/drawing/2014/main" id="{318E693C-FF7B-45C1-A48E-79C090D4C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690147" y="7397371"/>
            <a:ext cx="161430" cy="348220"/>
          </a:xfrm>
          <a:custGeom>
            <a:avLst/>
            <a:gdLst>
              <a:gd name="T0" fmla="*/ 66899 w 213"/>
              <a:gd name="T1" fmla="*/ 164740 h 458"/>
              <a:gd name="T2" fmla="*/ 66899 w 213"/>
              <a:gd name="T3" fmla="*/ 164740 h 458"/>
              <a:gd name="T4" fmla="*/ 57597 w 213"/>
              <a:gd name="T5" fmla="*/ 161495 h 458"/>
              <a:gd name="T6" fmla="*/ 2862 w 213"/>
              <a:gd name="T7" fmla="*/ 94806 h 458"/>
              <a:gd name="T8" fmla="*/ 6082 w 213"/>
              <a:gd name="T9" fmla="*/ 79306 h 458"/>
              <a:gd name="T10" fmla="*/ 21107 w 213"/>
              <a:gd name="T11" fmla="*/ 79306 h 458"/>
              <a:gd name="T12" fmla="*/ 54735 w 213"/>
              <a:gd name="T13" fmla="*/ 125447 h 458"/>
              <a:gd name="T14" fmla="*/ 54735 w 213"/>
              <a:gd name="T15" fmla="*/ 107063 h 458"/>
              <a:gd name="T16" fmla="*/ 8944 w 213"/>
              <a:gd name="T17" fmla="*/ 18024 h 458"/>
              <a:gd name="T18" fmla="*/ 15025 w 213"/>
              <a:gd name="T19" fmla="*/ 2884 h 458"/>
              <a:gd name="T20" fmla="*/ 27189 w 213"/>
              <a:gd name="T21" fmla="*/ 9012 h 458"/>
              <a:gd name="T22" fmla="*/ 75842 w 213"/>
              <a:gd name="T23" fmla="*/ 100934 h 458"/>
              <a:gd name="T24" fmla="*/ 75842 w 213"/>
              <a:gd name="T25" fmla="*/ 103818 h 458"/>
              <a:gd name="T26" fmla="*/ 75842 w 213"/>
              <a:gd name="T27" fmla="*/ 155728 h 458"/>
              <a:gd name="T28" fmla="*/ 69761 w 213"/>
              <a:gd name="T29" fmla="*/ 164740 h 458"/>
              <a:gd name="T30" fmla="*/ 66899 w 213"/>
              <a:gd name="T31" fmla="*/ 164740 h 4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13" h="458">
                <a:moveTo>
                  <a:pt x="187" y="457"/>
                </a:moveTo>
                <a:lnTo>
                  <a:pt x="187" y="457"/>
                </a:lnTo>
                <a:cubicBezTo>
                  <a:pt x="178" y="457"/>
                  <a:pt x="170" y="457"/>
                  <a:pt x="161" y="448"/>
                </a:cubicBezTo>
                <a:cubicBezTo>
                  <a:pt x="8" y="263"/>
                  <a:pt x="8" y="263"/>
                  <a:pt x="8" y="263"/>
                </a:cubicBezTo>
                <a:cubicBezTo>
                  <a:pt x="0" y="246"/>
                  <a:pt x="8" y="229"/>
                  <a:pt x="17" y="220"/>
                </a:cubicBezTo>
                <a:cubicBezTo>
                  <a:pt x="25" y="212"/>
                  <a:pt x="51" y="212"/>
                  <a:pt x="59" y="220"/>
                </a:cubicBezTo>
                <a:cubicBezTo>
                  <a:pt x="153" y="348"/>
                  <a:pt x="153" y="348"/>
                  <a:pt x="153" y="348"/>
                </a:cubicBezTo>
                <a:cubicBezTo>
                  <a:pt x="153" y="297"/>
                  <a:pt x="153" y="297"/>
                  <a:pt x="153" y="297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34"/>
                  <a:pt x="25" y="17"/>
                  <a:pt x="42" y="8"/>
                </a:cubicBezTo>
                <a:cubicBezTo>
                  <a:pt x="59" y="0"/>
                  <a:pt x="76" y="8"/>
                  <a:pt x="76" y="25"/>
                </a:cubicBezTo>
                <a:cubicBezTo>
                  <a:pt x="212" y="280"/>
                  <a:pt x="212" y="280"/>
                  <a:pt x="212" y="280"/>
                </a:cubicBezTo>
                <a:lnTo>
                  <a:pt x="212" y="288"/>
                </a:lnTo>
                <a:cubicBezTo>
                  <a:pt x="212" y="432"/>
                  <a:pt x="212" y="432"/>
                  <a:pt x="212" y="432"/>
                </a:cubicBezTo>
                <a:cubicBezTo>
                  <a:pt x="212" y="440"/>
                  <a:pt x="204" y="448"/>
                  <a:pt x="195" y="457"/>
                </a:cubicBezTo>
                <a:cubicBezTo>
                  <a:pt x="187" y="457"/>
                  <a:pt x="187" y="457"/>
                  <a:pt x="187" y="457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2" name="Freeform 968">
            <a:extLst>
              <a:ext uri="{FF2B5EF4-FFF2-40B4-BE49-F238E27FC236}">
                <a16:creationId xmlns:a16="http://schemas.microsoft.com/office/drawing/2014/main" id="{B65F1AA9-E852-4BF4-8125-BAB18721D1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387466" y="7400718"/>
            <a:ext cx="147978" cy="341523"/>
          </a:xfrm>
          <a:custGeom>
            <a:avLst/>
            <a:gdLst>
              <a:gd name="T0" fmla="*/ 8909 w 196"/>
              <a:gd name="T1" fmla="*/ 161565 h 450"/>
              <a:gd name="T2" fmla="*/ 8909 w 196"/>
              <a:gd name="T3" fmla="*/ 161565 h 450"/>
              <a:gd name="T4" fmla="*/ 6058 w 196"/>
              <a:gd name="T5" fmla="*/ 161565 h 450"/>
              <a:gd name="T6" fmla="*/ 0 w 196"/>
              <a:gd name="T7" fmla="*/ 152569 h 450"/>
              <a:gd name="T8" fmla="*/ 0 w 196"/>
              <a:gd name="T9" fmla="*/ 100753 h 450"/>
              <a:gd name="T10" fmla="*/ 0 w 196"/>
              <a:gd name="T11" fmla="*/ 97875 h 450"/>
              <a:gd name="T12" fmla="*/ 45260 w 196"/>
              <a:gd name="T13" fmla="*/ 9356 h 450"/>
              <a:gd name="T14" fmla="*/ 57377 w 196"/>
              <a:gd name="T15" fmla="*/ 3239 h 450"/>
              <a:gd name="T16" fmla="*/ 63435 w 196"/>
              <a:gd name="T17" fmla="*/ 18352 h 450"/>
              <a:gd name="T18" fmla="*/ 18175 w 196"/>
              <a:gd name="T19" fmla="*/ 103992 h 450"/>
              <a:gd name="T20" fmla="*/ 18175 w 196"/>
              <a:gd name="T21" fmla="*/ 122343 h 450"/>
              <a:gd name="T22" fmla="*/ 51318 w 196"/>
              <a:gd name="T23" fmla="*/ 82402 h 450"/>
              <a:gd name="T24" fmla="*/ 63435 w 196"/>
              <a:gd name="T25" fmla="*/ 79523 h 450"/>
              <a:gd name="T26" fmla="*/ 66643 w 196"/>
              <a:gd name="T27" fmla="*/ 94636 h 450"/>
              <a:gd name="T28" fmla="*/ 18175 w 196"/>
              <a:gd name="T29" fmla="*/ 158327 h 450"/>
              <a:gd name="T30" fmla="*/ 8909 w 196"/>
              <a:gd name="T31" fmla="*/ 161565 h 4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6" h="450">
                <a:moveTo>
                  <a:pt x="25" y="449"/>
                </a:moveTo>
                <a:lnTo>
                  <a:pt x="25" y="449"/>
                </a:lnTo>
                <a:lnTo>
                  <a:pt x="17" y="449"/>
                </a:lnTo>
                <a:cubicBezTo>
                  <a:pt x="8" y="440"/>
                  <a:pt x="0" y="432"/>
                  <a:pt x="0" y="424"/>
                </a:cubicBezTo>
                <a:cubicBezTo>
                  <a:pt x="0" y="280"/>
                  <a:pt x="0" y="280"/>
                  <a:pt x="0" y="280"/>
                </a:cubicBezTo>
                <a:lnTo>
                  <a:pt x="0" y="272"/>
                </a:lnTo>
                <a:cubicBezTo>
                  <a:pt x="127" y="26"/>
                  <a:pt x="127" y="26"/>
                  <a:pt x="127" y="26"/>
                </a:cubicBezTo>
                <a:cubicBezTo>
                  <a:pt x="127" y="9"/>
                  <a:pt x="144" y="0"/>
                  <a:pt x="161" y="9"/>
                </a:cubicBezTo>
                <a:cubicBezTo>
                  <a:pt x="178" y="17"/>
                  <a:pt x="178" y="34"/>
                  <a:pt x="178" y="51"/>
                </a:cubicBezTo>
                <a:cubicBezTo>
                  <a:pt x="51" y="289"/>
                  <a:pt x="51" y="289"/>
                  <a:pt x="51" y="289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144" y="229"/>
                  <a:pt x="144" y="229"/>
                  <a:pt x="144" y="229"/>
                </a:cubicBezTo>
                <a:cubicBezTo>
                  <a:pt x="153" y="212"/>
                  <a:pt x="170" y="212"/>
                  <a:pt x="178" y="221"/>
                </a:cubicBezTo>
                <a:cubicBezTo>
                  <a:pt x="195" y="238"/>
                  <a:pt x="195" y="255"/>
                  <a:pt x="187" y="263"/>
                </a:cubicBezTo>
                <a:cubicBezTo>
                  <a:pt x="51" y="440"/>
                  <a:pt x="51" y="440"/>
                  <a:pt x="51" y="440"/>
                </a:cubicBezTo>
                <a:cubicBezTo>
                  <a:pt x="42" y="449"/>
                  <a:pt x="34" y="449"/>
                  <a:pt x="25" y="449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3" name="Freeform 969">
            <a:extLst>
              <a:ext uri="{FF2B5EF4-FFF2-40B4-BE49-F238E27FC236}">
                <a16:creationId xmlns:a16="http://schemas.microsoft.com/office/drawing/2014/main" id="{BF2A7272-F818-4738-984B-B5409FB1C7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48896" y="7568129"/>
            <a:ext cx="137890" cy="83708"/>
          </a:xfrm>
          <a:custGeom>
            <a:avLst/>
            <a:gdLst>
              <a:gd name="T0" fmla="*/ 55325 w 180"/>
              <a:gd name="T1" fmla="*/ 39330 h 111"/>
              <a:gd name="T2" fmla="*/ 55325 w 180"/>
              <a:gd name="T3" fmla="*/ 39330 h 111"/>
              <a:gd name="T4" fmla="*/ 9402 w 180"/>
              <a:gd name="T5" fmla="*/ 39330 h 111"/>
              <a:gd name="T6" fmla="*/ 0 w 180"/>
              <a:gd name="T7" fmla="*/ 30392 h 111"/>
              <a:gd name="T8" fmla="*/ 0 w 180"/>
              <a:gd name="T9" fmla="*/ 8939 h 111"/>
              <a:gd name="T10" fmla="*/ 9402 w 180"/>
              <a:gd name="T11" fmla="*/ 0 h 111"/>
              <a:gd name="T12" fmla="*/ 55325 w 180"/>
              <a:gd name="T13" fmla="*/ 0 h 111"/>
              <a:gd name="T14" fmla="*/ 64726 w 180"/>
              <a:gd name="T15" fmla="*/ 8939 h 111"/>
              <a:gd name="T16" fmla="*/ 64726 w 180"/>
              <a:gd name="T17" fmla="*/ 30392 h 111"/>
              <a:gd name="T18" fmla="*/ 55325 w 180"/>
              <a:gd name="T19" fmla="*/ 39330 h 111"/>
              <a:gd name="T20" fmla="*/ 18442 w 180"/>
              <a:gd name="T21" fmla="*/ 21095 h 111"/>
              <a:gd name="T22" fmla="*/ 18442 w 180"/>
              <a:gd name="T23" fmla="*/ 21095 h 111"/>
              <a:gd name="T24" fmla="*/ 45923 w 180"/>
              <a:gd name="T25" fmla="*/ 21095 h 111"/>
              <a:gd name="T26" fmla="*/ 45923 w 180"/>
              <a:gd name="T27" fmla="*/ 21095 h 111"/>
              <a:gd name="T28" fmla="*/ 18442 w 180"/>
              <a:gd name="T29" fmla="*/ 21095 h 11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0" h="111">
                <a:moveTo>
                  <a:pt x="153" y="110"/>
                </a:moveTo>
                <a:lnTo>
                  <a:pt x="153" y="110"/>
                </a:lnTo>
                <a:cubicBezTo>
                  <a:pt x="26" y="110"/>
                  <a:pt x="26" y="110"/>
                  <a:pt x="26" y="110"/>
                </a:cubicBezTo>
                <a:cubicBezTo>
                  <a:pt x="9" y="110"/>
                  <a:pt x="0" y="102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70" y="0"/>
                  <a:pt x="179" y="8"/>
                  <a:pt x="179" y="25"/>
                </a:cubicBezTo>
                <a:cubicBezTo>
                  <a:pt x="179" y="85"/>
                  <a:pt x="179" y="85"/>
                  <a:pt x="179" y="85"/>
                </a:cubicBezTo>
                <a:cubicBezTo>
                  <a:pt x="179" y="102"/>
                  <a:pt x="170" y="110"/>
                  <a:pt x="153" y="110"/>
                </a:cubicBezTo>
                <a:close/>
                <a:moveTo>
                  <a:pt x="51" y="59"/>
                </a:moveTo>
                <a:lnTo>
                  <a:pt x="51" y="59"/>
                </a:lnTo>
                <a:cubicBezTo>
                  <a:pt x="127" y="59"/>
                  <a:pt x="127" y="59"/>
                  <a:pt x="127" y="59"/>
                </a:cubicBezTo>
                <a:cubicBezTo>
                  <a:pt x="51" y="59"/>
                  <a:pt x="51" y="59"/>
                  <a:pt x="51" y="59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4" name="Freeform 970">
            <a:extLst>
              <a:ext uri="{FF2B5EF4-FFF2-40B4-BE49-F238E27FC236}">
                <a16:creationId xmlns:a16="http://schemas.microsoft.com/office/drawing/2014/main" id="{6C5E4509-8C8D-414C-88C5-5798DB3879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55622" y="7052498"/>
            <a:ext cx="124437" cy="123887"/>
          </a:xfrm>
          <a:custGeom>
            <a:avLst/>
            <a:gdLst>
              <a:gd name="T0" fmla="*/ 30819 w 162"/>
              <a:gd name="T1" fmla="*/ 58375 h 162"/>
              <a:gd name="T2" fmla="*/ 30819 w 162"/>
              <a:gd name="T3" fmla="*/ 58375 h 162"/>
              <a:gd name="T4" fmla="*/ 0 w 162"/>
              <a:gd name="T5" fmla="*/ 27556 h 162"/>
              <a:gd name="T6" fmla="*/ 30819 w 162"/>
              <a:gd name="T7" fmla="*/ 0 h 162"/>
              <a:gd name="T8" fmla="*/ 58375 w 162"/>
              <a:gd name="T9" fmla="*/ 27556 h 162"/>
              <a:gd name="T10" fmla="*/ 30819 w 162"/>
              <a:gd name="T11" fmla="*/ 58375 h 162"/>
              <a:gd name="T12" fmla="*/ 30819 w 162"/>
              <a:gd name="T13" fmla="*/ 18492 h 162"/>
              <a:gd name="T14" fmla="*/ 30819 w 162"/>
              <a:gd name="T15" fmla="*/ 18492 h 162"/>
              <a:gd name="T16" fmla="*/ 18492 w 162"/>
              <a:gd name="T17" fmla="*/ 27556 h 162"/>
              <a:gd name="T18" fmla="*/ 30819 w 162"/>
              <a:gd name="T19" fmla="*/ 39884 h 162"/>
              <a:gd name="T20" fmla="*/ 39884 w 162"/>
              <a:gd name="T21" fmla="*/ 27556 h 162"/>
              <a:gd name="T22" fmla="*/ 30819 w 162"/>
              <a:gd name="T23" fmla="*/ 18492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2" h="162">
                <a:moveTo>
                  <a:pt x="85" y="161"/>
                </a:moveTo>
                <a:lnTo>
                  <a:pt x="85" y="161"/>
                </a:lnTo>
                <a:cubicBezTo>
                  <a:pt x="34" y="161"/>
                  <a:pt x="0" y="127"/>
                  <a:pt x="0" y="76"/>
                </a:cubicBezTo>
                <a:cubicBezTo>
                  <a:pt x="0" y="34"/>
                  <a:pt x="34" y="0"/>
                  <a:pt x="85" y="0"/>
                </a:cubicBezTo>
                <a:cubicBezTo>
                  <a:pt x="127" y="0"/>
                  <a:pt x="161" y="34"/>
                  <a:pt x="161" y="76"/>
                </a:cubicBezTo>
                <a:cubicBezTo>
                  <a:pt x="161" y="127"/>
                  <a:pt x="127" y="161"/>
                  <a:pt x="85" y="161"/>
                </a:cubicBezTo>
                <a:close/>
                <a:moveTo>
                  <a:pt x="85" y="51"/>
                </a:moveTo>
                <a:lnTo>
                  <a:pt x="85" y="51"/>
                </a:lnTo>
                <a:cubicBezTo>
                  <a:pt x="68" y="51"/>
                  <a:pt x="51" y="68"/>
                  <a:pt x="51" y="76"/>
                </a:cubicBezTo>
                <a:cubicBezTo>
                  <a:pt x="51" y="93"/>
                  <a:pt x="68" y="110"/>
                  <a:pt x="85" y="110"/>
                </a:cubicBezTo>
                <a:cubicBezTo>
                  <a:pt x="93" y="110"/>
                  <a:pt x="110" y="93"/>
                  <a:pt x="110" y="76"/>
                </a:cubicBezTo>
                <a:cubicBezTo>
                  <a:pt x="110" y="68"/>
                  <a:pt x="93" y="51"/>
                  <a:pt x="85" y="51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5" name="Freeform 971">
            <a:extLst>
              <a:ext uri="{FF2B5EF4-FFF2-40B4-BE49-F238E27FC236}">
                <a16:creationId xmlns:a16="http://schemas.microsoft.com/office/drawing/2014/main" id="{C5694439-A9C1-4665-8ABB-C32C0DD8B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92617" y="7407412"/>
            <a:ext cx="47083" cy="334827"/>
          </a:xfrm>
          <a:custGeom>
            <a:avLst/>
            <a:gdLst>
              <a:gd name="T0" fmla="*/ 9260 w 60"/>
              <a:gd name="T1" fmla="*/ 158390 h 441"/>
              <a:gd name="T2" fmla="*/ 9260 w 60"/>
              <a:gd name="T3" fmla="*/ 158390 h 441"/>
              <a:gd name="T4" fmla="*/ 0 w 60"/>
              <a:gd name="T5" fmla="*/ 149391 h 441"/>
              <a:gd name="T6" fmla="*/ 0 w 60"/>
              <a:gd name="T7" fmla="*/ 8999 h 441"/>
              <a:gd name="T8" fmla="*/ 9260 w 60"/>
              <a:gd name="T9" fmla="*/ 0 h 441"/>
              <a:gd name="T10" fmla="*/ 21855 w 60"/>
              <a:gd name="T11" fmla="*/ 8999 h 441"/>
              <a:gd name="T12" fmla="*/ 21855 w 60"/>
              <a:gd name="T13" fmla="*/ 149391 h 441"/>
              <a:gd name="T14" fmla="*/ 9260 w 60"/>
              <a:gd name="T15" fmla="*/ 158390 h 4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0" h="441">
                <a:moveTo>
                  <a:pt x="25" y="440"/>
                </a:moveTo>
                <a:lnTo>
                  <a:pt x="25" y="440"/>
                </a:lnTo>
                <a:cubicBezTo>
                  <a:pt x="17" y="440"/>
                  <a:pt x="0" y="431"/>
                  <a:pt x="0" y="4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17" y="0"/>
                  <a:pt x="25" y="0"/>
                </a:cubicBezTo>
                <a:cubicBezTo>
                  <a:pt x="42" y="0"/>
                  <a:pt x="59" y="8"/>
                  <a:pt x="59" y="25"/>
                </a:cubicBezTo>
                <a:cubicBezTo>
                  <a:pt x="59" y="415"/>
                  <a:pt x="59" y="415"/>
                  <a:pt x="59" y="415"/>
                </a:cubicBezTo>
                <a:cubicBezTo>
                  <a:pt x="59" y="431"/>
                  <a:pt x="42" y="440"/>
                  <a:pt x="25" y="440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46" name="Gráfico 445" descr="Aperto de mão com preenchimento sólido">
            <a:extLst>
              <a:ext uri="{FF2B5EF4-FFF2-40B4-BE49-F238E27FC236}">
                <a16:creationId xmlns:a16="http://schemas.microsoft.com/office/drawing/2014/main" id="{6F55FA37-6204-4165-90A9-D0143AB983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85633" y="1674421"/>
            <a:ext cx="988700" cy="984331"/>
          </a:xfrm>
          <a:prstGeom prst="rect">
            <a:avLst/>
          </a:prstGeom>
        </p:spPr>
      </p:pic>
      <p:grpSp>
        <p:nvGrpSpPr>
          <p:cNvPr id="447" name="Agrupar 446">
            <a:extLst>
              <a:ext uri="{FF2B5EF4-FFF2-40B4-BE49-F238E27FC236}">
                <a16:creationId xmlns:a16="http://schemas.microsoft.com/office/drawing/2014/main" id="{08D28F02-F404-4873-AE71-671FC4960EF0}"/>
              </a:ext>
            </a:extLst>
          </p:cNvPr>
          <p:cNvGrpSpPr/>
          <p:nvPr userDrawn="1"/>
        </p:nvGrpSpPr>
        <p:grpSpPr>
          <a:xfrm>
            <a:off x="8008212" y="1469505"/>
            <a:ext cx="1197273" cy="1191982"/>
            <a:chOff x="12445208" y="734178"/>
            <a:chExt cx="810923" cy="810923"/>
          </a:xfrm>
        </p:grpSpPr>
        <p:sp>
          <p:nvSpPr>
            <p:cNvPr id="448" name="Freeform 741">
              <a:extLst>
                <a:ext uri="{FF2B5EF4-FFF2-40B4-BE49-F238E27FC236}">
                  <a16:creationId xmlns:a16="http://schemas.microsoft.com/office/drawing/2014/main" id="{D425A1DB-BDC9-4D91-9A2E-88AACE4B9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5208" y="734178"/>
              <a:ext cx="810923" cy="810923"/>
            </a:xfrm>
            <a:custGeom>
              <a:avLst/>
              <a:gdLst>
                <a:gd name="T0" fmla="*/ 510075 w 1570"/>
                <a:gd name="T1" fmla="*/ 564790 h 1571"/>
                <a:gd name="T2" fmla="*/ 510075 w 1570"/>
                <a:gd name="T3" fmla="*/ 564790 h 1571"/>
                <a:gd name="T4" fmla="*/ 52195 w 1570"/>
                <a:gd name="T5" fmla="*/ 564790 h 1571"/>
                <a:gd name="T6" fmla="*/ 0 w 1570"/>
                <a:gd name="T7" fmla="*/ 509750 h 1571"/>
                <a:gd name="T8" fmla="*/ 0 w 1570"/>
                <a:gd name="T9" fmla="*/ 55040 h 1571"/>
                <a:gd name="T10" fmla="*/ 52195 w 1570"/>
                <a:gd name="T11" fmla="*/ 0 h 1571"/>
                <a:gd name="T12" fmla="*/ 510075 w 1570"/>
                <a:gd name="T13" fmla="*/ 0 h 1571"/>
                <a:gd name="T14" fmla="*/ 564790 w 1570"/>
                <a:gd name="T15" fmla="*/ 55040 h 1571"/>
                <a:gd name="T16" fmla="*/ 564790 w 1570"/>
                <a:gd name="T17" fmla="*/ 509750 h 1571"/>
                <a:gd name="T18" fmla="*/ 510075 w 1570"/>
                <a:gd name="T19" fmla="*/ 564790 h 15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70" h="1571">
                  <a:moveTo>
                    <a:pt x="1417" y="1570"/>
                  </a:moveTo>
                  <a:lnTo>
                    <a:pt x="1417" y="1570"/>
                  </a:lnTo>
                  <a:cubicBezTo>
                    <a:pt x="145" y="1570"/>
                    <a:pt x="145" y="1570"/>
                    <a:pt x="145" y="1570"/>
                  </a:cubicBezTo>
                  <a:cubicBezTo>
                    <a:pt x="68" y="1570"/>
                    <a:pt x="0" y="1502"/>
                    <a:pt x="0" y="141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68"/>
                    <a:pt x="68" y="0"/>
                    <a:pt x="145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502" y="0"/>
                    <a:pt x="1569" y="68"/>
                    <a:pt x="1569" y="153"/>
                  </a:cubicBezTo>
                  <a:cubicBezTo>
                    <a:pt x="1569" y="1417"/>
                    <a:pt x="1569" y="1417"/>
                    <a:pt x="1569" y="1417"/>
                  </a:cubicBezTo>
                  <a:cubicBezTo>
                    <a:pt x="1569" y="1502"/>
                    <a:pt x="1502" y="1570"/>
                    <a:pt x="1417" y="1570"/>
                  </a:cubicBezTo>
                </a:path>
              </a:pathLst>
            </a:custGeom>
            <a:solidFill>
              <a:srgbClr val="FFFFFF"/>
            </a:solidFill>
            <a:ln w="38100" cap="flat">
              <a:solidFill>
                <a:srgbClr val="8AABCA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pic>
          <p:nvPicPr>
            <p:cNvPr id="449" name="Gráfico 448" descr="Sementes brotando com preenchimento sólido">
              <a:extLst>
                <a:ext uri="{FF2B5EF4-FFF2-40B4-BE49-F238E27FC236}">
                  <a16:creationId xmlns:a16="http://schemas.microsoft.com/office/drawing/2014/main" id="{8BBE1393-B066-4A26-9802-74539168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491024" y="745537"/>
              <a:ext cx="732960" cy="732960"/>
            </a:xfrm>
            <a:prstGeom prst="rect">
              <a:avLst/>
            </a:prstGeom>
          </p:spPr>
        </p:pic>
      </p:grpSp>
      <p:pic>
        <p:nvPicPr>
          <p:cNvPr id="450" name="Gráfico 449" descr="Reunião com preenchimento sólido">
            <a:extLst>
              <a:ext uri="{FF2B5EF4-FFF2-40B4-BE49-F238E27FC236}">
                <a16:creationId xmlns:a16="http://schemas.microsoft.com/office/drawing/2014/main" id="{5768EC7E-B931-4C08-ABA0-F648AE4111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91665" y="1647232"/>
            <a:ext cx="874159" cy="870295"/>
          </a:xfrm>
          <a:prstGeom prst="rect">
            <a:avLst/>
          </a:prstGeom>
        </p:spPr>
      </p:pic>
      <p:pic>
        <p:nvPicPr>
          <p:cNvPr id="451" name="Imagem 450">
            <a:extLst>
              <a:ext uri="{FF2B5EF4-FFF2-40B4-BE49-F238E27FC236}">
                <a16:creationId xmlns:a16="http://schemas.microsoft.com/office/drawing/2014/main" id="{F7D2F15D-932C-471B-B9AA-B115EABA7AB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9742" y="9162644"/>
            <a:ext cx="2198950" cy="6343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2" name="Espaço Reservado para Conteúdo 2">
            <a:extLst>
              <a:ext uri="{FF2B5EF4-FFF2-40B4-BE49-F238E27FC236}">
                <a16:creationId xmlns:a16="http://schemas.microsoft.com/office/drawing/2014/main" id="{5F6FE98F-4F92-4B5C-BEFC-D4A9F4D63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2409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3" name="Espaço Reservado para Conteúdo 2">
            <a:extLst>
              <a:ext uri="{FF2B5EF4-FFF2-40B4-BE49-F238E27FC236}">
                <a16:creationId xmlns:a16="http://schemas.microsoft.com/office/drawing/2014/main" id="{F73C517F-BE08-4C22-8E46-C737249F842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285017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4" name="Espaço Reservado para Conteúdo 2">
            <a:extLst>
              <a:ext uri="{FF2B5EF4-FFF2-40B4-BE49-F238E27FC236}">
                <a16:creationId xmlns:a16="http://schemas.microsoft.com/office/drawing/2014/main" id="{AEE5D094-F050-4211-9E7D-9101EC64725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436706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5" name="Espaço Reservado para Conteúdo 2">
            <a:extLst>
              <a:ext uri="{FF2B5EF4-FFF2-40B4-BE49-F238E27FC236}">
                <a16:creationId xmlns:a16="http://schemas.microsoft.com/office/drawing/2014/main" id="{7AFEFE9E-5F00-471C-9F1F-407B24D96E1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3072911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6" name="Espaço Reservado para Conteúdo 2">
            <a:extLst>
              <a:ext uri="{FF2B5EF4-FFF2-40B4-BE49-F238E27FC236}">
                <a16:creationId xmlns:a16="http://schemas.microsoft.com/office/drawing/2014/main" id="{CFCCF986-0667-465D-B0BA-0AD74A493C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0165519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7" name="Espaço Reservado para Conteúdo 2">
            <a:extLst>
              <a:ext uri="{FF2B5EF4-FFF2-40B4-BE49-F238E27FC236}">
                <a16:creationId xmlns:a16="http://schemas.microsoft.com/office/drawing/2014/main" id="{44894242-CE24-4CC7-B27A-6EE5AF4B1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7208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8" name="Espaço Reservado para Conteúdo 2">
            <a:extLst>
              <a:ext uri="{FF2B5EF4-FFF2-40B4-BE49-F238E27FC236}">
                <a16:creationId xmlns:a16="http://schemas.microsoft.com/office/drawing/2014/main" id="{A66E5C75-438F-401E-A0FF-03C647D6413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267160" y="5595639"/>
            <a:ext cx="4050149" cy="648767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pt-BR" sz="2342" dirty="0" smtClean="0">
                <a:solidFill>
                  <a:schemeClr val="bg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7138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33837163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4523" y="379534"/>
            <a:ext cx="2930915" cy="84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70778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D23030A7-5352-8C53-2719-D2653752A8A5}"/>
              </a:ext>
            </a:extLst>
          </p:cNvPr>
          <p:cNvGrpSpPr/>
          <p:nvPr userDrawn="1"/>
        </p:nvGrpSpPr>
        <p:grpSpPr>
          <a:xfrm>
            <a:off x="18188642" y="629844"/>
            <a:ext cx="453787" cy="3376534"/>
            <a:chOff x="18188642" y="629844"/>
            <a:chExt cx="453787" cy="3376534"/>
          </a:xfrm>
        </p:grpSpPr>
        <p:grpSp>
          <p:nvGrpSpPr>
            <p:cNvPr id="3" name="Grupo 54">
              <a:extLst>
                <a:ext uri="{FF2B5EF4-FFF2-40B4-BE49-F238E27FC236}">
                  <a16:creationId xmlns:a16="http://schemas.microsoft.com/office/drawing/2014/main" id="{20C987B4-E295-7EAE-A2E5-5C309E110930}"/>
                </a:ext>
              </a:extLst>
            </p:cNvPr>
            <p:cNvGrpSpPr/>
            <p:nvPr/>
          </p:nvGrpSpPr>
          <p:grpSpPr>
            <a:xfrm>
              <a:off x="18188642" y="1630102"/>
              <a:ext cx="453787" cy="2376276"/>
              <a:chOff x="2435703" y="3306074"/>
              <a:chExt cx="316127" cy="1300541"/>
            </a:xfrm>
          </p:grpSpPr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8B4D5FF1-7A80-9B77-4F14-9BD2BE2A7109}"/>
                  </a:ext>
                </a:extLst>
              </p:cNvPr>
              <p:cNvSpPr/>
              <p:nvPr/>
            </p:nvSpPr>
            <p:spPr>
              <a:xfrm>
                <a:off x="2435703" y="3306074"/>
                <a:ext cx="316127" cy="107391"/>
              </a:xfrm>
              <a:prstGeom prst="rect">
                <a:avLst/>
              </a:prstGeom>
              <a:solidFill>
                <a:srgbClr val="00B2A9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" name="Retângulo 8">
                <a:extLst>
                  <a:ext uri="{FF2B5EF4-FFF2-40B4-BE49-F238E27FC236}">
                    <a16:creationId xmlns:a16="http://schemas.microsoft.com/office/drawing/2014/main" id="{F1945CB0-B523-C010-AD9E-AFA8F3260B53}"/>
                  </a:ext>
                </a:extLst>
              </p:cNvPr>
              <p:cNvSpPr/>
              <p:nvPr/>
            </p:nvSpPr>
            <p:spPr>
              <a:xfrm>
                <a:off x="2435703" y="3475690"/>
                <a:ext cx="316127" cy="107391"/>
              </a:xfrm>
              <a:prstGeom prst="rect">
                <a:avLst/>
              </a:prstGeom>
              <a:solidFill>
                <a:srgbClr val="A8B4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" name="Retângulo 9">
                <a:extLst>
                  <a:ext uri="{FF2B5EF4-FFF2-40B4-BE49-F238E27FC236}">
                    <a16:creationId xmlns:a16="http://schemas.microsoft.com/office/drawing/2014/main" id="{F88B1080-828D-D852-C15E-BA5A5E212218}"/>
                  </a:ext>
                </a:extLst>
              </p:cNvPr>
              <p:cNvSpPr/>
              <p:nvPr/>
            </p:nvSpPr>
            <p:spPr>
              <a:xfrm>
                <a:off x="2435703" y="3647625"/>
                <a:ext cx="316127" cy="107391"/>
              </a:xfrm>
              <a:prstGeom prst="rect">
                <a:avLst/>
              </a:prstGeom>
              <a:solidFill>
                <a:srgbClr val="FEDF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C3CA4FE5-4106-E535-DC56-4E3F5EBBD2FB}"/>
                  </a:ext>
                </a:extLst>
              </p:cNvPr>
              <p:cNvSpPr/>
              <p:nvPr/>
            </p:nvSpPr>
            <p:spPr>
              <a:xfrm>
                <a:off x="2435703" y="3817241"/>
                <a:ext cx="316127" cy="107391"/>
              </a:xfrm>
              <a:prstGeom prst="rect">
                <a:avLst/>
              </a:prstGeom>
              <a:solidFill>
                <a:srgbClr val="FF7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511CF392-869A-DB0A-DCD8-C1E13FF0334F}"/>
                  </a:ext>
                </a:extLst>
              </p:cNvPr>
              <p:cNvSpPr/>
              <p:nvPr/>
            </p:nvSpPr>
            <p:spPr>
              <a:xfrm>
                <a:off x="2435703" y="3986857"/>
                <a:ext cx="316127" cy="107391"/>
              </a:xfrm>
              <a:prstGeom prst="rect">
                <a:avLst/>
              </a:prstGeom>
              <a:solidFill>
                <a:srgbClr val="675C5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10BA9105-94AB-28ED-F214-47E5E12FFB96}"/>
                  </a:ext>
                </a:extLst>
              </p:cNvPr>
              <p:cNvSpPr/>
              <p:nvPr/>
            </p:nvSpPr>
            <p:spPr>
              <a:xfrm>
                <a:off x="2435703" y="4156473"/>
                <a:ext cx="316127" cy="107391"/>
              </a:xfrm>
              <a:prstGeom prst="rect">
                <a:avLst/>
              </a:prstGeom>
              <a:solidFill>
                <a:srgbClr val="BCBDBC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834AFE40-4ABA-F974-33CF-130C72C9B6FD}"/>
                  </a:ext>
                </a:extLst>
              </p:cNvPr>
              <p:cNvSpPr/>
              <p:nvPr/>
            </p:nvSpPr>
            <p:spPr>
              <a:xfrm>
                <a:off x="2435703" y="4329607"/>
                <a:ext cx="316127" cy="107391"/>
              </a:xfrm>
              <a:prstGeom prst="rect">
                <a:avLst/>
              </a:prstGeom>
              <a:solidFill>
                <a:srgbClr val="7D9AA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53B15B3C-641A-BB08-D6BF-E264EFB39B0E}"/>
                  </a:ext>
                </a:extLst>
              </p:cNvPr>
              <p:cNvSpPr/>
              <p:nvPr/>
            </p:nvSpPr>
            <p:spPr>
              <a:xfrm>
                <a:off x="2435703" y="4499224"/>
                <a:ext cx="316127" cy="107391"/>
              </a:xfrm>
              <a:prstGeom prst="rect">
                <a:avLst/>
              </a:prstGeom>
              <a:solidFill>
                <a:srgbClr val="00416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CD81AE34-FB48-9A8E-11AF-7CC1FD3A433B}"/>
                </a:ext>
              </a:extLst>
            </p:cNvPr>
            <p:cNvGrpSpPr/>
            <p:nvPr/>
          </p:nvGrpSpPr>
          <p:grpSpPr>
            <a:xfrm>
              <a:off x="18188642" y="629844"/>
              <a:ext cx="453786" cy="858166"/>
              <a:chOff x="20290487" y="4533478"/>
              <a:chExt cx="477594" cy="488409"/>
            </a:xfrm>
          </p:grpSpPr>
          <p:sp>
            <p:nvSpPr>
              <p:cNvPr id="5" name="Retângulo 4">
                <a:extLst>
                  <a:ext uri="{FF2B5EF4-FFF2-40B4-BE49-F238E27FC236}">
                    <a16:creationId xmlns:a16="http://schemas.microsoft.com/office/drawing/2014/main" id="{A2715BE6-6849-EEE5-FFE5-15FD5F871180}"/>
                  </a:ext>
                </a:extLst>
              </p:cNvPr>
              <p:cNvSpPr/>
              <p:nvPr/>
            </p:nvSpPr>
            <p:spPr>
              <a:xfrm>
                <a:off x="20290487" y="4533478"/>
                <a:ext cx="477594" cy="116665"/>
              </a:xfrm>
              <a:prstGeom prst="rect">
                <a:avLst/>
              </a:prstGeom>
              <a:solidFill>
                <a:srgbClr val="0085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" name="Retângulo 5">
                <a:extLst>
                  <a:ext uri="{FF2B5EF4-FFF2-40B4-BE49-F238E27FC236}">
                    <a16:creationId xmlns:a16="http://schemas.microsoft.com/office/drawing/2014/main" id="{4125EA9C-369F-0D65-7C3A-1B6B9D712534}"/>
                  </a:ext>
                </a:extLst>
              </p:cNvPr>
              <p:cNvSpPr/>
              <p:nvPr/>
            </p:nvSpPr>
            <p:spPr>
              <a:xfrm>
                <a:off x="20290487" y="4718093"/>
                <a:ext cx="477594" cy="116665"/>
              </a:xfrm>
              <a:prstGeom prst="rect">
                <a:avLst/>
              </a:prstGeom>
              <a:solidFill>
                <a:srgbClr val="FDC82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" name="Retângulo 6">
                <a:extLst>
                  <a:ext uri="{FF2B5EF4-FFF2-40B4-BE49-F238E27FC236}">
                    <a16:creationId xmlns:a16="http://schemas.microsoft.com/office/drawing/2014/main" id="{8F13F499-8B79-B3CF-4F99-49147BC9AB4F}"/>
                  </a:ext>
                </a:extLst>
              </p:cNvPr>
              <p:cNvSpPr/>
              <p:nvPr/>
            </p:nvSpPr>
            <p:spPr>
              <a:xfrm>
                <a:off x="20290487" y="4905222"/>
                <a:ext cx="477594" cy="116665"/>
              </a:xfrm>
              <a:prstGeom prst="rect">
                <a:avLst/>
              </a:prstGeom>
              <a:solidFill>
                <a:srgbClr val="00629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682129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2784968" y="2285710"/>
            <a:ext cx="5650404" cy="6201822"/>
            <a:chOff x="2345233" y="492220"/>
            <a:chExt cx="3827066" cy="4219192"/>
          </a:xfrm>
        </p:grpSpPr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345233" y="492220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2400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EM RESULTADO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45233" y="382891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2400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LABORAÇÃO</a:t>
              </a:r>
              <a:endParaRPr lang="pt-BR" sz="2400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45233" y="1449823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2400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SPOSTA RÁPIDA A MUDANÇ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45233" y="2743919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2400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GRAÇÃO</a:t>
              </a:r>
              <a:endParaRPr lang="pt-BR" sz="2400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endParaRPr lang="pt-BR" sz="2400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7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NOSSOS PILARES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3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22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22"/>
              <a:t>Á</a:t>
            </a:r>
            <a:r>
              <a:rPr kumimoji="0" lang="pt-BR" sz="3822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22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1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073453" y="7061527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793359" y="55415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062958" y="3993897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000488" y="2603557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71537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ficos_e_Tabel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7" name="Imagem 6" descr="V:\AUDITORIA_PAE\NP-3\PQMAI\96 - LAB\Padrões e Modelos\GOI 001\Selo.PNG">
            <a:extLst>
              <a:ext uri="{FF2B5EF4-FFF2-40B4-BE49-F238E27FC236}">
                <a16:creationId xmlns:a16="http://schemas.microsoft.com/office/drawing/2014/main" id="{55680F00-CAED-4ADC-810B-A3664D396149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6890" y="9024259"/>
            <a:ext cx="881410" cy="7733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1284D9F5-A53B-4607-89B0-05E1E4CE0B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172" y="498741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2646" b="1" i="1" u="none" strike="noStrike" kern="1200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5592968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raficos_e_Tabel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8AF3BFC-3768-44CC-B7B2-EEE6A6C0E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C15CFA29-C9BA-4755-8460-955BA1317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430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778643" y="242001"/>
            <a:ext cx="13750066" cy="12701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20" b="1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Espaço Reservado para Texto 12"/>
          <p:cNvSpPr>
            <a:spLocks noGrp="1"/>
          </p:cNvSpPr>
          <p:nvPr>
            <p:ph type="body" sz="quarter" idx="17" hasCustomPrompt="1"/>
          </p:nvPr>
        </p:nvSpPr>
        <p:spPr>
          <a:xfrm>
            <a:off x="778643" y="1794398"/>
            <a:ext cx="17010390" cy="7479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28" baseline="0">
                <a:latin typeface="Trebuchet MS" panose="020B0603020202020204" pitchFamily="34" charset="0"/>
              </a:defRPr>
            </a:lvl1pPr>
          </a:lstStyle>
          <a:p>
            <a:pPr lvl="0"/>
            <a:r>
              <a:rPr lang="pt-BR"/>
              <a:t>Conteúdo</a:t>
            </a:r>
          </a:p>
        </p:txBody>
      </p:sp>
    </p:spTree>
    <p:extLst>
      <p:ext uri="{BB962C8B-B14F-4D97-AF65-F5344CB8AC3E}">
        <p14:creationId xmlns:p14="http://schemas.microsoft.com/office/powerpoint/2010/main" val="4247408240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279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76411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4FEFB1-6743-52B2-CEE6-8FC512EB0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A79EE12-5F76-7E2C-29E4-BD867B92B6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81BA079-9B2A-648C-734D-67543928DA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1075F-DC68-4FAE-83B2-DA0DC95BB75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CF8B456-5952-1834-8A36-492DF98D2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1823D0C-657F-E793-9A46-935AF86A5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B0BC45-9F3E-494E-A922-9C425B9864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798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40" y="1697636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4543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5"/>
            <a:ext cx="4625662" cy="807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22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27102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</p:spTree>
    <p:extLst>
      <p:ext uri="{BB962C8B-B14F-4D97-AF65-F5344CB8AC3E}">
        <p14:creationId xmlns:p14="http://schemas.microsoft.com/office/powerpoint/2010/main" val="454102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1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5260"/>
            <a:ext cx="5038178" cy="70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RESULTADO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r>
              <a:rPr lang="pt-BR"/>
              <a:t>AUDITORIA INTERNA - ATI</a:t>
            </a: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C4BDED4-A518-496E-A277-7F187553C978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956728" cy="0"/>
          </a:xfrm>
          <a:prstGeom prst="line">
            <a:avLst/>
          </a:prstGeom>
          <a:noFill/>
          <a:ln w="66675" cap="flat" cmpd="sng" algn="ctr">
            <a:solidFill>
              <a:srgbClr val="FFC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039618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2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8052"/>
            <a:ext cx="5038178" cy="1311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8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50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3"/>
            <a:ext cx="2238363" cy="82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57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098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13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27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27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38113" fontAlgn="auto"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116002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1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05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0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6640"/>
            <a:ext cx="5038178" cy="70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spc="-218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RESULTADO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0796"/>
            <a:r>
              <a:rPr lang="pt-BR"/>
              <a:t>AUDITORIA INTERNA - ATI</a:t>
            </a: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C4BDED4-A518-496E-A277-7F187553C978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956728" cy="0"/>
          </a:xfrm>
          <a:prstGeom prst="line">
            <a:avLst/>
          </a:prstGeom>
          <a:noFill/>
          <a:ln w="66675" cap="flat" cmpd="sng" algn="ctr">
            <a:solidFill>
              <a:srgbClr val="FFC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229500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2">
    <p:bg>
      <p:bgPr>
        <a:gradFill flip="none" rotWithShape="1">
          <a:gsLst>
            <a:gs pos="100000">
              <a:schemeClr val="tx1"/>
            </a:gs>
            <a:gs pos="0">
              <a:schemeClr val="tx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91" y="284445"/>
            <a:ext cx="5038178" cy="70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01" b="1" spc="-218" dirty="0">
                <a:solidFill>
                  <a:srgbClr val="007F3A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27102"/>
            <a:r>
              <a:rPr lang="pt-BR"/>
              <a:t>RESULTADOS</a:t>
            </a:r>
            <a:endParaRPr lang="en-US"/>
          </a:p>
        </p:txBody>
      </p:sp>
      <p:grpSp>
        <p:nvGrpSpPr>
          <p:cNvPr id="11" name="Grupo 23">
            <a:extLst>
              <a:ext uri="{FF2B5EF4-FFF2-40B4-BE49-F238E27FC236}">
                <a16:creationId xmlns:a16="http://schemas.microsoft.com/office/drawing/2014/main" id="{8CA0063C-610F-4AF5-9608-069818C5A7F5}"/>
              </a:ext>
            </a:extLst>
          </p:cNvPr>
          <p:cNvGrpSpPr/>
          <p:nvPr userDrawn="1"/>
        </p:nvGrpSpPr>
        <p:grpSpPr>
          <a:xfrm>
            <a:off x="11679977" y="1384813"/>
            <a:ext cx="6348829" cy="9123301"/>
            <a:chOff x="5940359" y="1601559"/>
            <a:chExt cx="2537586" cy="3543537"/>
          </a:xfrm>
        </p:grpSpPr>
        <p:sp>
          <p:nvSpPr>
            <p:cNvPr id="12" name="Retângulo 20">
              <a:extLst>
                <a:ext uri="{FF2B5EF4-FFF2-40B4-BE49-F238E27FC236}">
                  <a16:creationId xmlns:a16="http://schemas.microsoft.com/office/drawing/2014/main" id="{26B6BAC7-7500-4C76-8E0F-FD3D7756E2FD}"/>
                </a:ext>
              </a:extLst>
            </p:cNvPr>
            <p:cNvSpPr/>
            <p:nvPr/>
          </p:nvSpPr>
          <p:spPr>
            <a:xfrm>
              <a:off x="6622670" y="1601559"/>
              <a:ext cx="1854112" cy="2972289"/>
            </a:xfrm>
            <a:custGeom>
              <a:avLst/>
              <a:gdLst>
                <a:gd name="connsiteX0" fmla="*/ 0 w 2101774"/>
                <a:gd name="connsiteY0" fmla="*/ 0 h 3063000"/>
                <a:gd name="connsiteX1" fmla="*/ 2101774 w 2101774"/>
                <a:gd name="connsiteY1" fmla="*/ 0 h 3063000"/>
                <a:gd name="connsiteX2" fmla="*/ 2101774 w 2101774"/>
                <a:gd name="connsiteY2" fmla="*/ 3063000 h 3063000"/>
                <a:gd name="connsiteX3" fmla="*/ 0 w 2101774"/>
                <a:gd name="connsiteY3" fmla="*/ 3063000 h 3063000"/>
                <a:gd name="connsiteX4" fmla="*/ 0 w 2101774"/>
                <a:gd name="connsiteY4" fmla="*/ 0 h 3063000"/>
                <a:gd name="connsiteX0" fmla="*/ 0 w 2101774"/>
                <a:gd name="connsiteY0" fmla="*/ 9780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0 w 2101774"/>
                <a:gd name="connsiteY4" fmla="*/ 9780 h 3072780"/>
                <a:gd name="connsiteX0" fmla="*/ 9780 w 2101774"/>
                <a:gd name="connsiteY0" fmla="*/ 557442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9780 w 2101774"/>
                <a:gd name="connsiteY4" fmla="*/ 557442 h 3072780"/>
                <a:gd name="connsiteX0" fmla="*/ 625900 w 2101774"/>
                <a:gd name="connsiteY0" fmla="*/ 298281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625900 w 2101774"/>
                <a:gd name="connsiteY4" fmla="*/ 298281 h 3072780"/>
                <a:gd name="connsiteX0" fmla="*/ 151585 w 1627459"/>
                <a:gd name="connsiteY0" fmla="*/ 298281 h 3072780"/>
                <a:gd name="connsiteX1" fmla="*/ 1627459 w 1627459"/>
                <a:gd name="connsiteY1" fmla="*/ 0 h 3072780"/>
                <a:gd name="connsiteX2" fmla="*/ 1627459 w 1627459"/>
                <a:gd name="connsiteY2" fmla="*/ 3072780 h 3072780"/>
                <a:gd name="connsiteX3" fmla="*/ 0 w 1627459"/>
                <a:gd name="connsiteY3" fmla="*/ 2662033 h 3072780"/>
                <a:gd name="connsiteX4" fmla="*/ 151585 w 1627459"/>
                <a:gd name="connsiteY4" fmla="*/ 298281 h 3072780"/>
                <a:gd name="connsiteX0" fmla="*/ 464535 w 1940409"/>
                <a:gd name="connsiteY0" fmla="*/ 29828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464535 w 1940409"/>
                <a:gd name="connsiteY4" fmla="*/ 298281 h 3072780"/>
                <a:gd name="connsiteX0" fmla="*/ 625899 w 1940409"/>
                <a:gd name="connsiteY0" fmla="*/ 410747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625899 w 1940409"/>
                <a:gd name="connsiteY4" fmla="*/ 410747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547662 w 1940409"/>
                <a:gd name="connsiteY4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30646 w 1940409"/>
                <a:gd name="connsiteY4" fmla="*/ 2583355 h 3072780"/>
                <a:gd name="connsiteX5" fmla="*/ 547662 w 1940409"/>
                <a:gd name="connsiteY5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141771 w 1940409"/>
                <a:gd name="connsiteY3" fmla="*/ 2770680 h 3072780"/>
                <a:gd name="connsiteX4" fmla="*/ 0 w 1940409"/>
                <a:gd name="connsiteY4" fmla="*/ 2745160 h 3072780"/>
                <a:gd name="connsiteX5" fmla="*/ 30646 w 1940409"/>
                <a:gd name="connsiteY5" fmla="*/ 2583355 h 3072780"/>
                <a:gd name="connsiteX6" fmla="*/ 547662 w 1940409"/>
                <a:gd name="connsiteY6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23755 w 1916502"/>
                <a:gd name="connsiteY0" fmla="*/ 283611 h 3072780"/>
                <a:gd name="connsiteX1" fmla="*/ 1916502 w 1916502"/>
                <a:gd name="connsiteY1" fmla="*/ 0 h 3072780"/>
                <a:gd name="connsiteX2" fmla="*/ 1916502 w 1916502"/>
                <a:gd name="connsiteY2" fmla="*/ 3072780 h 3072780"/>
                <a:gd name="connsiteX3" fmla="*/ 117864 w 1916502"/>
                <a:gd name="connsiteY3" fmla="*/ 2770680 h 3072780"/>
                <a:gd name="connsiteX4" fmla="*/ 6739 w 1916502"/>
                <a:gd name="connsiteY4" fmla="*/ 2583355 h 3072780"/>
                <a:gd name="connsiteX5" fmla="*/ 523755 w 1916502"/>
                <a:gd name="connsiteY5" fmla="*/ 283611 h 3072780"/>
                <a:gd name="connsiteX0" fmla="*/ 524051 w 1916798"/>
                <a:gd name="connsiteY0" fmla="*/ 283611 h 3072780"/>
                <a:gd name="connsiteX1" fmla="*/ 1916798 w 1916798"/>
                <a:gd name="connsiteY1" fmla="*/ 0 h 3072780"/>
                <a:gd name="connsiteX2" fmla="*/ 1916798 w 1916798"/>
                <a:gd name="connsiteY2" fmla="*/ 3072780 h 3072780"/>
                <a:gd name="connsiteX3" fmla="*/ 118160 w 1916798"/>
                <a:gd name="connsiteY3" fmla="*/ 2770680 h 3072780"/>
                <a:gd name="connsiteX4" fmla="*/ 7035 w 1916798"/>
                <a:gd name="connsiteY4" fmla="*/ 2583355 h 3072780"/>
                <a:gd name="connsiteX5" fmla="*/ 524051 w 1916798"/>
                <a:gd name="connsiteY5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524051 w 1916798"/>
                <a:gd name="connsiteY6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7" fmla="*/ 524051 w 1916798"/>
                <a:gd name="connsiteY7" fmla="*/ 283611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6798" h="3072780">
                  <a:moveTo>
                    <a:pt x="492810" y="430705"/>
                  </a:moveTo>
                  <a:cubicBezTo>
                    <a:pt x="515035" y="334397"/>
                    <a:pt x="565835" y="282538"/>
                    <a:pt x="654735" y="256080"/>
                  </a:cubicBezTo>
                  <a:lnTo>
                    <a:pt x="1916798" y="0"/>
                  </a:lnTo>
                  <a:lnTo>
                    <a:pt x="1916798" y="3072780"/>
                  </a:lnTo>
                  <a:lnTo>
                    <a:pt x="118160" y="2770680"/>
                  </a:lnTo>
                  <a:cubicBezTo>
                    <a:pt x="17618" y="2752688"/>
                    <a:pt x="-16248" y="2693422"/>
                    <a:pt x="7035" y="2583355"/>
                  </a:cubicBezTo>
                  <a:lnTo>
                    <a:pt x="492810" y="430705"/>
                  </a:lnTo>
                  <a:close/>
                </a:path>
              </a:pathLst>
            </a:custGeom>
            <a:gradFill>
              <a:gsLst>
                <a:gs pos="100000">
                  <a:srgbClr val="35458F"/>
                </a:gs>
                <a:gs pos="0">
                  <a:srgbClr val="008542">
                    <a:lumMod val="8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0579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0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3" name="Forma Livre 25">
              <a:extLst>
                <a:ext uri="{FF2B5EF4-FFF2-40B4-BE49-F238E27FC236}">
                  <a16:creationId xmlns:a16="http://schemas.microsoft.com/office/drawing/2014/main" id="{A40F3181-454D-4A5D-9911-6B25B98430BD}"/>
                </a:ext>
              </a:extLst>
            </p:cNvPr>
            <p:cNvSpPr/>
            <p:nvPr/>
          </p:nvSpPr>
          <p:spPr>
            <a:xfrm>
              <a:off x="5940359" y="2019287"/>
              <a:ext cx="2537586" cy="3125809"/>
            </a:xfrm>
            <a:custGeom>
              <a:avLst/>
              <a:gdLst>
                <a:gd name="connsiteX0" fmla="*/ 0 w 2541494"/>
                <a:gd name="connsiteY0" fmla="*/ 3106271 h 3106271"/>
                <a:gd name="connsiteX1" fmla="*/ 813547 w 2541494"/>
                <a:gd name="connsiteY1" fmla="*/ 638736 h 3106271"/>
                <a:gd name="connsiteX2" fmla="*/ 2541494 w 2541494"/>
                <a:gd name="connsiteY2" fmla="*/ 0 h 3106271"/>
                <a:gd name="connsiteX0" fmla="*/ 0 w 2541494"/>
                <a:gd name="connsiteY0" fmla="*/ 3106271 h 3106271"/>
                <a:gd name="connsiteX1" fmla="*/ 794009 w 2541494"/>
                <a:gd name="connsiteY1" fmla="*/ 689536 h 3106271"/>
                <a:gd name="connsiteX2" fmla="*/ 2541494 w 2541494"/>
                <a:gd name="connsiteY2" fmla="*/ 0 h 3106271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2537586 w 2537586"/>
                <a:gd name="connsiteY2" fmla="*/ 0 h 3125809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794009 w 2537586"/>
                <a:gd name="connsiteY2" fmla="*/ 709074 h 3125809"/>
                <a:gd name="connsiteX3" fmla="*/ 881880 w 2537586"/>
                <a:gd name="connsiteY3" fmla="*/ 669213 h 3125809"/>
                <a:gd name="connsiteX4" fmla="*/ 2537586 w 2537586"/>
                <a:gd name="connsiteY4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7586" h="3125809">
                  <a:moveTo>
                    <a:pt x="0" y="3125809"/>
                  </a:moveTo>
                  <a:lnTo>
                    <a:pt x="756834" y="831870"/>
                  </a:lnTo>
                  <a:cubicBezTo>
                    <a:pt x="781176" y="772686"/>
                    <a:pt x="804785" y="718872"/>
                    <a:pt x="893603" y="673121"/>
                  </a:cubicBezTo>
                  <a:lnTo>
                    <a:pt x="2537586" y="0"/>
                  </a:lnTo>
                </a:path>
              </a:pathLst>
            </a:custGeom>
            <a:noFill/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0579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0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026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DC59237A-6A44-4B28-A101-21676DC08D71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bg2"/>
                </a:solidFill>
              </a:defRPr>
            </a:lvl1pPr>
            <a:lvl2pPr>
              <a:defRPr sz="2049" b="0">
                <a:solidFill>
                  <a:schemeClr val="bg2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01153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icos_e_Tabelas">
    <p:bg>
      <p:bgPr>
        <a:gradFill flip="none" rotWithShape="1">
          <a:gsLst>
            <a:gs pos="100000">
              <a:schemeClr val="bg1">
                <a:lumMod val="95000"/>
              </a:schemeClr>
            </a:gs>
            <a:gs pos="0">
              <a:schemeClr val="bg1"/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8AF3BFC-3768-44CC-B7B2-EEE6A6C0E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C15CFA29-C9BA-4755-8460-955BA1317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19EBF5AF-873A-4B08-AE1E-C8FBB7A5E9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tx1"/>
                </a:solidFill>
              </a:defRPr>
            </a:lvl1pPr>
            <a:lvl2pPr>
              <a:defRPr sz="2049" b="0">
                <a:solidFill>
                  <a:schemeClr val="tx1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3CF3819-6E5A-4E77-9AE5-1025EBF6C0EF}"/>
              </a:ext>
            </a:extLst>
          </p:cNvPr>
          <p:cNvGrpSpPr/>
          <p:nvPr userDrawn="1"/>
        </p:nvGrpSpPr>
        <p:grpSpPr>
          <a:xfrm rot="5400000" flipV="1">
            <a:off x="14830426" y="3381378"/>
            <a:ext cx="7467600" cy="704847"/>
            <a:chOff x="31376" y="-1105651"/>
            <a:chExt cx="11627224" cy="838200"/>
          </a:xfrm>
        </p:grpSpPr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39795F8-C78C-4447-9EEC-BD91A4C3C137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0DA9F354-1A03-4ACD-AB08-70CB58B40948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BEAFCA33-9743-4B26-9051-B71F4118DDC0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9C05B808-789D-4114-80E3-7181EB7AC74B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A4830349-FF5A-4957-BF1D-4B2D8075BC18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378127C7-C640-4729-84A6-28B5BD01B55F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199F2338-8DF8-481E-89F2-6B7F4101513B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D721DD00-61D1-47EC-AEF4-ACE7D5D558FF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7300F436-FFD3-4213-8AB8-D5A5BACE6A67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4BBB9BF0-4123-48FF-8945-C69B7DC90463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20" name="Retângulo 19">
                <a:extLst>
                  <a:ext uri="{FF2B5EF4-FFF2-40B4-BE49-F238E27FC236}">
                    <a16:creationId xmlns:a16="http://schemas.microsoft.com/office/drawing/2014/main" id="{F2D6A7D4-6F54-47FD-872A-A5B9707E8690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</p:grp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18B5D0C2-B372-40D0-9D54-43F660613E16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47"/>
            </a:p>
          </p:txBody>
        </p:sp>
      </p:grpSp>
      <p:sp>
        <p:nvSpPr>
          <p:cNvPr id="21" name="Retângulo 20">
            <a:extLst>
              <a:ext uri="{FF2B5EF4-FFF2-40B4-BE49-F238E27FC236}">
                <a16:creationId xmlns:a16="http://schemas.microsoft.com/office/drawing/2014/main" id="{AA2C16A8-D154-4310-8CC4-9D6C64D34EE4}"/>
              </a:ext>
            </a:extLst>
          </p:cNvPr>
          <p:cNvSpPr/>
          <p:nvPr userDrawn="1"/>
        </p:nvSpPr>
        <p:spPr>
          <a:xfrm>
            <a:off x="1" y="-659541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72755FD7-AA69-45E5-89B2-E82B9A3E9246}"/>
              </a:ext>
            </a:extLst>
          </p:cNvPr>
          <p:cNvSpPr/>
          <p:nvPr userDrawn="1"/>
        </p:nvSpPr>
        <p:spPr>
          <a:xfrm>
            <a:off x="905207" y="-659541"/>
            <a:ext cx="819150" cy="53669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826BDE5-5D88-467C-84E5-ADC73EC85A5B}"/>
              </a:ext>
            </a:extLst>
          </p:cNvPr>
          <p:cNvSpPr/>
          <p:nvPr userDrawn="1"/>
        </p:nvSpPr>
        <p:spPr>
          <a:xfrm>
            <a:off x="1808914" y="-659541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</p:spTree>
    <p:extLst>
      <p:ext uri="{BB962C8B-B14F-4D97-AF65-F5344CB8AC3E}">
        <p14:creationId xmlns:p14="http://schemas.microsoft.com/office/powerpoint/2010/main" val="35284475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scos">
    <p:bg>
      <p:bgPr>
        <a:gradFill flip="none" rotWithShape="1">
          <a:gsLst>
            <a:gs pos="32000">
              <a:srgbClr val="F5F5F5"/>
            </a:gs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algn="l" defTabSz="670796"/>
            <a:r>
              <a:rPr lang="pt-BR"/>
              <a:t>AUDITORIA INTERNA - ATI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2377F5F-2121-4B7B-9EF4-224238D91F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F68D063-E7BC-4EFB-9967-FBB91A77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82F0B678-EFD7-4355-8491-77D3B6A687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" name="Rectangle: Rounded Corners 2">
            <a:extLst>
              <a:ext uri="{FF2B5EF4-FFF2-40B4-BE49-F238E27FC236}">
                <a16:creationId xmlns:a16="http://schemas.microsoft.com/office/drawing/2014/main" id="{1B1BB546-5B50-4704-A10F-3FFF08DFC1E3}"/>
              </a:ext>
            </a:extLst>
          </p:cNvPr>
          <p:cNvSpPr/>
          <p:nvPr userDrawn="1"/>
        </p:nvSpPr>
        <p:spPr>
          <a:xfrm flipH="1">
            <a:off x="7175776" y="2528914"/>
            <a:ext cx="9970675" cy="6729709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12700" dir="5400000" algn="ctr" rotWithShape="0">
              <a:srgbClr val="000104">
                <a:alpha val="1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00FACE95-955D-43AE-AA85-3C0EBB0625F3}"/>
              </a:ext>
            </a:extLst>
          </p:cNvPr>
          <p:cNvSpPr/>
          <p:nvPr userDrawn="1"/>
        </p:nvSpPr>
        <p:spPr>
          <a:xfrm flipH="1">
            <a:off x="675026" y="2528914"/>
            <a:ext cx="6056712" cy="6729709"/>
          </a:xfrm>
          <a:prstGeom prst="roundRect">
            <a:avLst>
              <a:gd name="adj" fmla="val 178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216B277E-7BBA-4D9B-8085-64F8CD292216}"/>
              </a:ext>
            </a:extLst>
          </p:cNvPr>
          <p:cNvSpPr txBox="1"/>
          <p:nvPr userDrawn="1"/>
        </p:nvSpPr>
        <p:spPr>
          <a:xfrm>
            <a:off x="845773" y="5075490"/>
            <a:ext cx="455061" cy="291413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PROBABILIDADE</a:t>
            </a:r>
            <a:endParaRPr lang="pt-BR" sz="1464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17873CD-53B6-408A-954C-87DA11E6366B}"/>
              </a:ext>
            </a:extLst>
          </p:cNvPr>
          <p:cNvSpPr txBox="1"/>
          <p:nvPr userDrawn="1"/>
        </p:nvSpPr>
        <p:spPr>
          <a:xfrm rot="5400000">
            <a:off x="2804678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6B2FB07-62A7-446C-BBC2-66A9B9CEF1EE}"/>
              </a:ext>
            </a:extLst>
          </p:cNvPr>
          <p:cNvSpPr txBox="1"/>
          <p:nvPr userDrawn="1"/>
        </p:nvSpPr>
        <p:spPr>
          <a:xfrm rot="5400000">
            <a:off x="3798729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ÉDI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6B5E66D-5882-4A25-BEDD-6CFF28D51FEF}"/>
              </a:ext>
            </a:extLst>
          </p:cNvPr>
          <p:cNvSpPr txBox="1"/>
          <p:nvPr userDrawn="1"/>
        </p:nvSpPr>
        <p:spPr>
          <a:xfrm rot="5400000">
            <a:off x="4864053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0E2CB01-3845-4CCA-97C0-EFEC2E0241D2}"/>
              </a:ext>
            </a:extLst>
          </p:cNvPr>
          <p:cNvSpPr txBox="1"/>
          <p:nvPr userDrawn="1"/>
        </p:nvSpPr>
        <p:spPr>
          <a:xfrm rot="5400000">
            <a:off x="5771950" y="3305635"/>
            <a:ext cx="409984" cy="95377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96027F1-9C9E-4AF1-98CD-22200F3A0EB7}"/>
              </a:ext>
            </a:extLst>
          </p:cNvPr>
          <p:cNvSpPr txBox="1"/>
          <p:nvPr userDrawn="1"/>
        </p:nvSpPr>
        <p:spPr>
          <a:xfrm rot="5400000">
            <a:off x="1731148" y="3296871"/>
            <a:ext cx="409984" cy="97130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093BB404-8FAE-4705-B24B-1A75491A31D9}"/>
              </a:ext>
            </a:extLst>
          </p:cNvPr>
          <p:cNvSpPr txBox="1"/>
          <p:nvPr userDrawn="1"/>
        </p:nvSpPr>
        <p:spPr>
          <a:xfrm>
            <a:off x="1346831" y="8047142"/>
            <a:ext cx="3873875" cy="362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IMPACTO</a:t>
            </a:r>
            <a:endParaRPr lang="pt-BR" sz="1172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505F0ED0-D0FB-40BC-B7B3-A9CB2E73D3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37610" y="2911319"/>
            <a:ext cx="8054879" cy="496858"/>
          </a:xfrm>
          <a:prstGeom prst="rect">
            <a:avLst/>
          </a:prstGeom>
          <a:noFill/>
          <a:effectLst>
            <a:softEdge rad="25400"/>
          </a:effectLst>
        </p:spPr>
        <p:txBody>
          <a:bodyPr wrap="square" lIns="36000" tIns="36000" rIns="36000" bIns="36000" rtlCol="0" anchor="t">
            <a:spAutoFit/>
          </a:bodyPr>
          <a:lstStyle>
            <a:lvl1pPr>
              <a:defRPr kumimoji="0" lang="pt-BR" sz="2049" b="0" i="0" u="none" strike="noStrike" kern="0" cap="none" spc="0" normalizeH="0" baseline="0" smtClean="0">
                <a:ln>
                  <a:noFill/>
                </a:ln>
                <a:solidFill>
                  <a:srgbClr val="494949">
                    <a:lumMod val="75000"/>
                  </a:srgbClr>
                </a:solidFill>
                <a:effectLst/>
                <a:uLnTx/>
                <a:uFillTx/>
                <a:latin typeface="Trebuchet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R="0" lvl="0" indent="0" defTabSz="13381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</a:t>
            </a: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2C617125-8B7B-4A4F-B5E2-6C0E0402910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5510597"/>
              </p:ext>
            </p:extLst>
          </p:nvPr>
        </p:nvGraphicFramePr>
        <p:xfrm>
          <a:off x="1377496" y="3970248"/>
          <a:ext cx="5029770" cy="3959840"/>
        </p:xfrm>
        <a:graphic>
          <a:graphicData uri="http://schemas.openxmlformats.org/drawingml/2006/table">
            <a:tbl>
              <a:tblPr firstRow="1" bandRow="1"/>
              <a:tblGrid>
                <a:gridCol w="1005954">
                  <a:extLst>
                    <a:ext uri="{9D8B030D-6E8A-4147-A177-3AD203B41FA5}">
                      <a16:colId xmlns:a16="http://schemas.microsoft.com/office/drawing/2014/main" val="3535774680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220368540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83239892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439988134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335711226"/>
                    </a:ext>
                  </a:extLst>
                </a:gridCol>
              </a:tblGrid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095737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425353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672481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981036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06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447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o_Result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14" y="379536"/>
            <a:ext cx="2930915" cy="845575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8A18C4B2-FD75-4F97-8F51-C272B8A145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84AFFBBA-7188-436C-A24C-9EDAE35A56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A980B7AB-4664-4E0E-9972-B46332BFD374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angle 74">
            <a:extLst>
              <a:ext uri="{FF2B5EF4-FFF2-40B4-BE49-F238E27FC236}">
                <a16:creationId xmlns:a16="http://schemas.microsoft.com/office/drawing/2014/main" id="{3838FEA5-FBE7-4E2D-B8A8-1016AE18F6CE}"/>
              </a:ext>
            </a:extLst>
          </p:cNvPr>
          <p:cNvSpPr/>
          <p:nvPr userDrawn="1"/>
        </p:nvSpPr>
        <p:spPr>
          <a:xfrm>
            <a:off x="3755470" y="2550355"/>
            <a:ext cx="14242852" cy="7530271"/>
          </a:xfrm>
          <a:prstGeom prst="rect">
            <a:avLst/>
          </a:prstGeom>
          <a:gradFill>
            <a:gsLst>
              <a:gs pos="100000">
                <a:srgbClr val="2A3A54"/>
              </a:gs>
              <a:gs pos="0">
                <a:srgbClr val="004165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3C51927C-01D9-4BEB-9731-DA87ED407D47}"/>
              </a:ext>
            </a:extLst>
          </p:cNvPr>
          <p:cNvSpPr/>
          <p:nvPr userDrawn="1"/>
        </p:nvSpPr>
        <p:spPr>
          <a:xfrm>
            <a:off x="11815282" y="2533498"/>
            <a:ext cx="6183040" cy="1299281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3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6" name="Straight Connector 34">
            <a:extLst>
              <a:ext uri="{FF2B5EF4-FFF2-40B4-BE49-F238E27FC236}">
                <a16:creationId xmlns:a16="http://schemas.microsoft.com/office/drawing/2014/main" id="{1D971FFA-3691-4246-99DA-E4935964AEB8}"/>
              </a:ext>
            </a:extLst>
          </p:cNvPr>
          <p:cNvCxnSpPr>
            <a:cxnSpLocks/>
          </p:cNvCxnSpPr>
          <p:nvPr userDrawn="1"/>
        </p:nvCxnSpPr>
        <p:spPr>
          <a:xfrm>
            <a:off x="5041458" y="3886260"/>
            <a:ext cx="0" cy="5982018"/>
          </a:xfrm>
          <a:prstGeom prst="line">
            <a:avLst/>
          </a:prstGeom>
          <a:noFill/>
          <a:ln w="1016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pic>
        <p:nvPicPr>
          <p:cNvPr id="22" name="Imagem 21" descr="Navio no mar&#10;&#10;Descrição gerada automaticamente com confiança média">
            <a:extLst>
              <a:ext uri="{FF2B5EF4-FFF2-40B4-BE49-F238E27FC236}">
                <a16:creationId xmlns:a16="http://schemas.microsoft.com/office/drawing/2014/main" id="{5A1C2C8F-EE19-4E9C-9F92-69B8FA0D83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4892" y="2550357"/>
            <a:ext cx="5037891" cy="7515271"/>
          </a:xfrm>
          <a:prstGeom prst="rect">
            <a:avLst/>
          </a:prstGeom>
        </p:spPr>
      </p:pic>
      <p:sp>
        <p:nvSpPr>
          <p:cNvPr id="24" name="Espaço Reservado para Conteúdo 2">
            <a:extLst>
              <a:ext uri="{FF2B5EF4-FFF2-40B4-BE49-F238E27FC236}">
                <a16:creationId xmlns:a16="http://schemas.microsoft.com/office/drawing/2014/main" id="{0F4A50CF-897E-4E5A-A3DC-148002FB439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1777257" y="5177834"/>
            <a:ext cx="6183039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5" name="Espaço Reservado para Conteúdo 2">
            <a:extLst>
              <a:ext uri="{FF2B5EF4-FFF2-40B4-BE49-F238E27FC236}">
                <a16:creationId xmlns:a16="http://schemas.microsoft.com/office/drawing/2014/main" id="{F0A763E7-27DC-4C4C-999B-8B8B4E75AC8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1684246" y="7797178"/>
            <a:ext cx="6183039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6" name="Espaço Reservado para Conteúdo 2">
            <a:extLst>
              <a:ext uri="{FF2B5EF4-FFF2-40B4-BE49-F238E27FC236}">
                <a16:creationId xmlns:a16="http://schemas.microsoft.com/office/drawing/2014/main" id="{D49E7FCA-5A9A-4FE1-996C-B7C06082C38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441442" y="4129936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5B05624A-CB0C-48AF-926E-A341B2AA70D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520511" y="6355112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791EE106-3CC3-4CDD-B010-95A19758336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441442" y="8284916"/>
            <a:ext cx="5607173" cy="376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49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>
                <a:solidFill>
                  <a:schemeClr val="tx1"/>
                </a:solidFill>
              </a:defRPr>
            </a:lvl2pPr>
            <a:lvl3pPr>
              <a:defRPr lang="pt-BR" sz="1327" smtClean="0">
                <a:solidFill>
                  <a:schemeClr val="tx1"/>
                </a:solidFill>
              </a:defRPr>
            </a:lvl3pPr>
            <a:lvl4pPr>
              <a:defRPr lang="pt-BR" sz="1327" smtClean="0">
                <a:solidFill>
                  <a:schemeClr val="tx1"/>
                </a:solidFill>
              </a:defRPr>
            </a:lvl4pPr>
            <a:lvl5pPr>
              <a:defRPr lang="pt-BR" sz="1327">
                <a:solidFill>
                  <a:schemeClr val="tx1"/>
                </a:solidFill>
              </a:defRPr>
            </a:lvl5pPr>
          </a:lstStyle>
          <a:p>
            <a:pPr marL="0" lvl="0" defTabSz="1337846"/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2">
            <a:extLst>
              <a:ext uri="{FF2B5EF4-FFF2-40B4-BE49-F238E27FC236}">
                <a16:creationId xmlns:a16="http://schemas.microsoft.com/office/drawing/2014/main" id="{6258B816-08DA-4575-9E5E-3450BA17686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643487" y="2678024"/>
            <a:ext cx="5607173" cy="1065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13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2">
            <a:extLst>
              <a:ext uri="{FF2B5EF4-FFF2-40B4-BE49-F238E27FC236}">
                <a16:creationId xmlns:a16="http://schemas.microsoft.com/office/drawing/2014/main" id="{9A9F0572-273A-41C3-89D3-4F696EAD098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2260113" y="2667534"/>
            <a:ext cx="5607173" cy="1065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13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7547975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30C1B2-A21E-4C5A-97D0-5B7E62F7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8822A-E0EF-40DD-94E6-5D5381F7D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7" name="Título 1">
            <a:extLst>
              <a:ext uri="{FF2B5EF4-FFF2-40B4-BE49-F238E27FC236}">
                <a16:creationId xmlns:a16="http://schemas.microsoft.com/office/drawing/2014/main" id="{8E7C3A4A-C904-408B-AF80-CF448F4D71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681" y="4497049"/>
            <a:ext cx="4185649" cy="1037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grpSp>
        <p:nvGrpSpPr>
          <p:cNvPr id="364" name="Grupo 3">
            <a:extLst>
              <a:ext uri="{FF2B5EF4-FFF2-40B4-BE49-F238E27FC236}">
                <a16:creationId xmlns:a16="http://schemas.microsoft.com/office/drawing/2014/main" id="{9A07BDD1-D780-406C-A592-6BBC559413A3}"/>
              </a:ext>
            </a:extLst>
          </p:cNvPr>
          <p:cNvGrpSpPr/>
          <p:nvPr userDrawn="1"/>
        </p:nvGrpSpPr>
        <p:grpSpPr>
          <a:xfrm>
            <a:off x="6636057" y="402969"/>
            <a:ext cx="9793421" cy="9274687"/>
            <a:chOff x="8986138" y="548292"/>
            <a:chExt cx="13266332" cy="12619416"/>
          </a:xfrm>
        </p:grpSpPr>
        <p:sp>
          <p:nvSpPr>
            <p:cNvPr id="365" name="Freeform 548">
              <a:extLst>
                <a:ext uri="{FF2B5EF4-FFF2-40B4-BE49-F238E27FC236}">
                  <a16:creationId xmlns:a16="http://schemas.microsoft.com/office/drawing/2014/main" id="{639784E3-C209-42C6-AE65-D10D16C9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549">
              <a:extLst>
                <a:ext uri="{FF2B5EF4-FFF2-40B4-BE49-F238E27FC236}">
                  <a16:creationId xmlns:a16="http://schemas.microsoft.com/office/drawing/2014/main" id="{7BD114B7-F88B-4800-AD84-30715077D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7" name="Grupo 1277">
            <a:extLst>
              <a:ext uri="{FF2B5EF4-FFF2-40B4-BE49-F238E27FC236}">
                <a16:creationId xmlns:a16="http://schemas.microsoft.com/office/drawing/2014/main" id="{BA5647BA-7E8E-4DE3-AEAB-BFB8BE81CDB6}"/>
              </a:ext>
            </a:extLst>
          </p:cNvPr>
          <p:cNvGrpSpPr/>
          <p:nvPr userDrawn="1"/>
        </p:nvGrpSpPr>
        <p:grpSpPr>
          <a:xfrm>
            <a:off x="6623122" y="396272"/>
            <a:ext cx="9793421" cy="9274687"/>
            <a:chOff x="8986138" y="548292"/>
            <a:chExt cx="13266332" cy="12619416"/>
          </a:xfrm>
        </p:grpSpPr>
        <p:sp>
          <p:nvSpPr>
            <p:cNvPr id="368" name="Freeform 548">
              <a:extLst>
                <a:ext uri="{FF2B5EF4-FFF2-40B4-BE49-F238E27FC236}">
                  <a16:creationId xmlns:a16="http://schemas.microsoft.com/office/drawing/2014/main" id="{FF104208-347D-4C51-B785-58E8F84B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549">
              <a:extLst>
                <a:ext uri="{FF2B5EF4-FFF2-40B4-BE49-F238E27FC236}">
                  <a16:creationId xmlns:a16="http://schemas.microsoft.com/office/drawing/2014/main" id="{1D3C6BE9-D1EA-4485-BB06-6C324300D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0" name="Line 565">
            <a:extLst>
              <a:ext uri="{FF2B5EF4-FFF2-40B4-BE49-F238E27FC236}">
                <a16:creationId xmlns:a16="http://schemas.microsoft.com/office/drawing/2014/main" id="{3C649AD0-6946-4391-9012-15357E63F4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902051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1" name="Line 566">
            <a:extLst>
              <a:ext uri="{FF2B5EF4-FFF2-40B4-BE49-F238E27FC236}">
                <a16:creationId xmlns:a16="http://schemas.microsoft.com/office/drawing/2014/main" id="{1A7BABB7-E3A3-40A7-9781-49AF93CFB02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815363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2" name="Line 567">
            <a:extLst>
              <a:ext uri="{FF2B5EF4-FFF2-40B4-BE49-F238E27FC236}">
                <a16:creationId xmlns:a16="http://schemas.microsoft.com/office/drawing/2014/main" id="{C5E3353C-045A-4B77-8377-76C617136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606848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3" name="Line 568">
            <a:extLst>
              <a:ext uri="{FF2B5EF4-FFF2-40B4-BE49-F238E27FC236}">
                <a16:creationId xmlns:a16="http://schemas.microsoft.com/office/drawing/2014/main" id="{4C2AA826-29CD-435B-99DA-7EDB936A81EB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398336" y="4651915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4" name="Line 569">
            <a:extLst>
              <a:ext uri="{FF2B5EF4-FFF2-40B4-BE49-F238E27FC236}">
                <a16:creationId xmlns:a16="http://schemas.microsoft.com/office/drawing/2014/main" id="{74BBF0BE-118D-41A2-8C56-826ED304A3DE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3184" y="4651915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5" name="Line 704">
            <a:extLst>
              <a:ext uri="{FF2B5EF4-FFF2-40B4-BE49-F238E27FC236}">
                <a16:creationId xmlns:a16="http://schemas.microsoft.com/office/drawing/2014/main" id="{E5FBC4F7-0625-4E76-8671-0D0D71815F1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926253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6" name="Line 705">
            <a:extLst>
              <a:ext uri="{FF2B5EF4-FFF2-40B4-BE49-F238E27FC236}">
                <a16:creationId xmlns:a16="http://schemas.microsoft.com/office/drawing/2014/main" id="{A03D99AD-E15A-4EA2-ADC7-8A1EDEB0F1E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721103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7" name="Line 706">
            <a:extLst>
              <a:ext uri="{FF2B5EF4-FFF2-40B4-BE49-F238E27FC236}">
                <a16:creationId xmlns:a16="http://schemas.microsoft.com/office/drawing/2014/main" id="{C07BA8E1-2DA1-4B4D-8C2D-644EB523F65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12588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8" name="Line 707">
            <a:extLst>
              <a:ext uri="{FF2B5EF4-FFF2-40B4-BE49-F238E27FC236}">
                <a16:creationId xmlns:a16="http://schemas.microsoft.com/office/drawing/2014/main" id="{8ED9AB92-3524-43A8-896D-74C9BC0B324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304076" y="7246821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9" name="Line 708">
            <a:extLst>
              <a:ext uri="{FF2B5EF4-FFF2-40B4-BE49-F238E27FC236}">
                <a16:creationId xmlns:a16="http://schemas.microsoft.com/office/drawing/2014/main" id="{07741A84-29A4-4A17-A1A0-C69AA34AEFA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098924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0" name="Line 722">
            <a:extLst>
              <a:ext uri="{FF2B5EF4-FFF2-40B4-BE49-F238E27FC236}">
                <a16:creationId xmlns:a16="http://schemas.microsoft.com/office/drawing/2014/main" id="{7B4C4713-35BF-47A6-8D62-14ED1D6D7E3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9911" y="7246821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1" name="Freeform 742">
            <a:extLst>
              <a:ext uri="{FF2B5EF4-FFF2-40B4-BE49-F238E27FC236}">
                <a16:creationId xmlns:a16="http://schemas.microsoft.com/office/drawing/2014/main" id="{24D9E696-303F-44F8-B934-9B1E1D82F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1461022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09750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09750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17"/>
                  <a:pt x="1579" y="1417"/>
                  <a:pt x="1579" y="1417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2" name="Freeform 743">
            <a:extLst>
              <a:ext uri="{FF2B5EF4-FFF2-40B4-BE49-F238E27FC236}">
                <a16:creationId xmlns:a16="http://schemas.microsoft.com/office/drawing/2014/main" id="{3C4D5722-13C6-423F-8FD9-C65076615A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900409" y="1461022"/>
            <a:ext cx="1197273" cy="1191982"/>
          </a:xfrm>
          <a:custGeom>
            <a:avLst/>
            <a:gdLst>
              <a:gd name="T0" fmla="*/ 512988 w 1571"/>
              <a:gd name="T1" fmla="*/ 564790 h 1571"/>
              <a:gd name="T2" fmla="*/ 512988 w 1571"/>
              <a:gd name="T3" fmla="*/ 564790 h 1571"/>
              <a:gd name="T4" fmla="*/ 55040 w 1571"/>
              <a:gd name="T5" fmla="*/ 564790 h 1571"/>
              <a:gd name="T6" fmla="*/ 0 w 1571"/>
              <a:gd name="T7" fmla="*/ 509750 h 1571"/>
              <a:gd name="T8" fmla="*/ 0 w 1571"/>
              <a:gd name="T9" fmla="*/ 55040 h 1571"/>
              <a:gd name="T10" fmla="*/ 55040 w 1571"/>
              <a:gd name="T11" fmla="*/ 0 h 1571"/>
              <a:gd name="T12" fmla="*/ 512988 w 1571"/>
              <a:gd name="T13" fmla="*/ 0 h 1571"/>
              <a:gd name="T14" fmla="*/ 564790 w 1571"/>
              <a:gd name="T15" fmla="*/ 55040 h 1571"/>
              <a:gd name="T16" fmla="*/ 564790 w 1571"/>
              <a:gd name="T17" fmla="*/ 509750 h 1571"/>
              <a:gd name="T18" fmla="*/ 512988 w 1571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8"/>
                  <a:pt x="1570" y="153"/>
                </a:cubicBezTo>
                <a:cubicBezTo>
                  <a:pt x="1570" y="1417"/>
                  <a:pt x="1570" y="1417"/>
                  <a:pt x="1570" y="1417"/>
                </a:cubicBezTo>
                <a:cubicBezTo>
                  <a:pt x="1570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6215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3" name="Freeform 744">
            <a:extLst>
              <a:ext uri="{FF2B5EF4-FFF2-40B4-BE49-F238E27FC236}">
                <a16:creationId xmlns:a16="http://schemas.microsoft.com/office/drawing/2014/main" id="{5E95C423-2B0F-4CC9-96D6-1305215EF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48571" y="4052578"/>
            <a:ext cx="1197273" cy="1198679"/>
          </a:xfrm>
          <a:custGeom>
            <a:avLst/>
            <a:gdLst>
              <a:gd name="T0" fmla="*/ 510075 w 1570"/>
              <a:gd name="T1" fmla="*/ 567965 h 1578"/>
              <a:gd name="T2" fmla="*/ 510075 w 1570"/>
              <a:gd name="T3" fmla="*/ 567965 h 1578"/>
              <a:gd name="T4" fmla="*/ 52195 w 1570"/>
              <a:gd name="T5" fmla="*/ 567965 h 1578"/>
              <a:gd name="T6" fmla="*/ 0 w 1570"/>
              <a:gd name="T7" fmla="*/ 512861 h 1578"/>
              <a:gd name="T8" fmla="*/ 0 w 1570"/>
              <a:gd name="T9" fmla="*/ 54744 h 1578"/>
              <a:gd name="T10" fmla="*/ 52195 w 1570"/>
              <a:gd name="T11" fmla="*/ 0 h 1578"/>
              <a:gd name="T12" fmla="*/ 510075 w 1570"/>
              <a:gd name="T13" fmla="*/ 0 h 1578"/>
              <a:gd name="T14" fmla="*/ 564790 w 1570"/>
              <a:gd name="T15" fmla="*/ 54744 h 1578"/>
              <a:gd name="T16" fmla="*/ 564790 w 1570"/>
              <a:gd name="T17" fmla="*/ 512861 h 1578"/>
              <a:gd name="T18" fmla="*/ 510075 w 157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8">
                <a:moveTo>
                  <a:pt x="1417" y="1577"/>
                </a:moveTo>
                <a:lnTo>
                  <a:pt x="1417" y="1577"/>
                </a:lnTo>
                <a:cubicBezTo>
                  <a:pt x="145" y="1577"/>
                  <a:pt x="145" y="1577"/>
                  <a:pt x="145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7"/>
                  <a:pt x="1569" y="152"/>
                </a:cubicBezTo>
                <a:cubicBezTo>
                  <a:pt x="1569" y="1424"/>
                  <a:pt x="1569" y="1424"/>
                  <a:pt x="1569" y="1424"/>
                </a:cubicBezTo>
                <a:cubicBezTo>
                  <a:pt x="1569" y="1509"/>
                  <a:pt x="1502" y="1577"/>
                  <a:pt x="1417" y="1577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6298"/>
            </a:solidFill>
            <a:prstDash val="solid"/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4" name="Freeform 745">
            <a:extLst>
              <a:ext uri="{FF2B5EF4-FFF2-40B4-BE49-F238E27FC236}">
                <a16:creationId xmlns:a16="http://schemas.microsoft.com/office/drawing/2014/main" id="{43615B0E-E93C-4E5A-9A90-A6A13900D3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4052578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4F5B7C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5" name="Freeform 748">
            <a:extLst>
              <a:ext uri="{FF2B5EF4-FFF2-40B4-BE49-F238E27FC236}">
                <a16:creationId xmlns:a16="http://schemas.microsoft.com/office/drawing/2014/main" id="{4A18BC58-BD57-46EC-A547-B576665384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9" y="6647480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12988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12988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26"/>
                  <a:pt x="1579" y="1426"/>
                  <a:pt x="1579" y="1426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4165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grpSp>
        <p:nvGrpSpPr>
          <p:cNvPr id="386" name="Agrupar 385">
            <a:extLst>
              <a:ext uri="{FF2B5EF4-FFF2-40B4-BE49-F238E27FC236}">
                <a16:creationId xmlns:a16="http://schemas.microsoft.com/office/drawing/2014/main" id="{9FDB7CCE-09A1-4286-955C-898BB859333B}"/>
              </a:ext>
            </a:extLst>
          </p:cNvPr>
          <p:cNvGrpSpPr/>
          <p:nvPr userDrawn="1"/>
        </p:nvGrpSpPr>
        <p:grpSpPr>
          <a:xfrm>
            <a:off x="11277169" y="4382378"/>
            <a:ext cx="844146" cy="585945"/>
            <a:chOff x="5617647" y="4729666"/>
            <a:chExt cx="571747" cy="398627"/>
          </a:xfrm>
          <a:solidFill>
            <a:srgbClr val="4F5B7C"/>
          </a:solidFill>
        </p:grpSpPr>
        <p:sp>
          <p:nvSpPr>
            <p:cNvPr id="387" name="Line 718">
              <a:extLst>
                <a:ext uri="{FF2B5EF4-FFF2-40B4-BE49-F238E27FC236}">
                  <a16:creationId xmlns:a16="http://schemas.microsoft.com/office/drawing/2014/main" id="{3ADE10D1-04D4-49A0-9AF5-7A316B2DB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4223" y="4930119"/>
              <a:ext cx="75171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Line 719">
              <a:extLst>
                <a:ext uri="{FF2B5EF4-FFF2-40B4-BE49-F238E27FC236}">
                  <a16:creationId xmlns:a16="http://schemas.microsoft.com/office/drawing/2014/main" id="{2CA9A0AD-69C9-4232-A373-D3F46DAD8C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5274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Line 720">
              <a:extLst>
                <a:ext uri="{FF2B5EF4-FFF2-40B4-BE49-F238E27FC236}">
                  <a16:creationId xmlns:a16="http://schemas.microsoft.com/office/drawing/2014/main" id="{5711C788-55F8-4FF1-9076-FDECC0E337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34046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Line 721">
              <a:extLst>
                <a:ext uri="{FF2B5EF4-FFF2-40B4-BE49-F238E27FC236}">
                  <a16:creationId xmlns:a16="http://schemas.microsoft.com/office/drawing/2014/main" id="{329E4C7D-C9AB-4558-BFED-4EBF6A07F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818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989">
              <a:extLst>
                <a:ext uri="{FF2B5EF4-FFF2-40B4-BE49-F238E27FC236}">
                  <a16:creationId xmlns:a16="http://schemas.microsoft.com/office/drawing/2014/main" id="{BFB8EC47-6662-417B-90B0-576A149F1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729666"/>
              <a:ext cx="473798" cy="398627"/>
            </a:xfrm>
            <a:custGeom>
              <a:avLst/>
              <a:gdLst>
                <a:gd name="T0" fmla="*/ 164740 w 918"/>
                <a:gd name="T1" fmla="*/ 277453 h 773"/>
                <a:gd name="T2" fmla="*/ 164740 w 918"/>
                <a:gd name="T3" fmla="*/ 277453 h 773"/>
                <a:gd name="T4" fmla="*/ 164740 w 918"/>
                <a:gd name="T5" fmla="*/ 277453 h 773"/>
                <a:gd name="T6" fmla="*/ 158625 w 918"/>
                <a:gd name="T7" fmla="*/ 274577 h 773"/>
                <a:gd name="T8" fmla="*/ 2878 w 918"/>
                <a:gd name="T9" fmla="*/ 63972 h 773"/>
                <a:gd name="T10" fmla="*/ 2878 w 918"/>
                <a:gd name="T11" fmla="*/ 54987 h 773"/>
                <a:gd name="T12" fmla="*/ 55033 w 918"/>
                <a:gd name="T13" fmla="*/ 2875 h 773"/>
                <a:gd name="T14" fmla="*/ 61148 w 918"/>
                <a:gd name="T15" fmla="*/ 0 h 773"/>
                <a:gd name="T16" fmla="*/ 61148 w 918"/>
                <a:gd name="T17" fmla="*/ 0 h 773"/>
                <a:gd name="T18" fmla="*/ 268692 w 918"/>
                <a:gd name="T19" fmla="*/ 0 h 773"/>
                <a:gd name="T20" fmla="*/ 274807 w 918"/>
                <a:gd name="T21" fmla="*/ 2875 h 773"/>
                <a:gd name="T22" fmla="*/ 326603 w 918"/>
                <a:gd name="T23" fmla="*/ 57863 h 773"/>
                <a:gd name="T24" fmla="*/ 329840 w 918"/>
                <a:gd name="T25" fmla="*/ 66847 h 773"/>
                <a:gd name="T26" fmla="*/ 170855 w 918"/>
                <a:gd name="T27" fmla="*/ 274577 h 773"/>
                <a:gd name="T28" fmla="*/ 164740 w 918"/>
                <a:gd name="T29" fmla="*/ 277453 h 773"/>
                <a:gd name="T30" fmla="*/ 18344 w 918"/>
                <a:gd name="T31" fmla="*/ 61097 h 773"/>
                <a:gd name="T32" fmla="*/ 18344 w 918"/>
                <a:gd name="T33" fmla="*/ 61097 h 773"/>
                <a:gd name="T34" fmla="*/ 164740 w 918"/>
                <a:gd name="T35" fmla="*/ 256248 h 773"/>
                <a:gd name="T36" fmla="*/ 311496 w 918"/>
                <a:gd name="T37" fmla="*/ 63972 h 773"/>
                <a:gd name="T38" fmla="*/ 265455 w 918"/>
                <a:gd name="T39" fmla="*/ 15095 h 773"/>
                <a:gd name="T40" fmla="*/ 64026 w 918"/>
                <a:gd name="T41" fmla="*/ 15095 h 773"/>
                <a:gd name="T42" fmla="*/ 18344 w 918"/>
                <a:gd name="T43" fmla="*/ 61097 h 7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18" h="773">
                  <a:moveTo>
                    <a:pt x="458" y="772"/>
                  </a:moveTo>
                  <a:lnTo>
                    <a:pt x="458" y="772"/>
                  </a:lnTo>
                  <a:cubicBezTo>
                    <a:pt x="458" y="772"/>
                    <a:pt x="450" y="772"/>
                    <a:pt x="441" y="764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0" y="170"/>
                    <a:pt x="0" y="161"/>
                    <a:pt x="8" y="153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61" y="8"/>
                    <a:pt x="170" y="0"/>
                    <a:pt x="170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55" y="0"/>
                    <a:pt x="764" y="8"/>
                    <a:pt x="764" y="8"/>
                  </a:cubicBezTo>
                  <a:cubicBezTo>
                    <a:pt x="908" y="161"/>
                    <a:pt x="908" y="161"/>
                    <a:pt x="908" y="161"/>
                  </a:cubicBezTo>
                  <a:cubicBezTo>
                    <a:pt x="917" y="170"/>
                    <a:pt x="917" y="178"/>
                    <a:pt x="917" y="186"/>
                  </a:cubicBezTo>
                  <a:cubicBezTo>
                    <a:pt x="475" y="764"/>
                    <a:pt x="475" y="764"/>
                    <a:pt x="475" y="764"/>
                  </a:cubicBezTo>
                  <a:cubicBezTo>
                    <a:pt x="475" y="772"/>
                    <a:pt x="467" y="772"/>
                    <a:pt x="458" y="772"/>
                  </a:cubicBezTo>
                  <a:close/>
                  <a:moveTo>
                    <a:pt x="51" y="170"/>
                  </a:moveTo>
                  <a:lnTo>
                    <a:pt x="51" y="170"/>
                  </a:lnTo>
                  <a:cubicBezTo>
                    <a:pt x="458" y="713"/>
                    <a:pt x="458" y="713"/>
                    <a:pt x="458" y="713"/>
                  </a:cubicBezTo>
                  <a:cubicBezTo>
                    <a:pt x="866" y="178"/>
                    <a:pt x="866" y="178"/>
                    <a:pt x="866" y="178"/>
                  </a:cubicBezTo>
                  <a:cubicBezTo>
                    <a:pt x="738" y="42"/>
                    <a:pt x="738" y="42"/>
                    <a:pt x="738" y="42"/>
                  </a:cubicBezTo>
                  <a:cubicBezTo>
                    <a:pt x="178" y="42"/>
                    <a:pt x="178" y="42"/>
                    <a:pt x="178" y="42"/>
                  </a:cubicBezTo>
                  <a:lnTo>
                    <a:pt x="51" y="17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990">
              <a:extLst>
                <a:ext uri="{FF2B5EF4-FFF2-40B4-BE49-F238E27FC236}">
                  <a16:creationId xmlns:a16="http://schemas.microsoft.com/office/drawing/2014/main" id="{1CC0B80B-8A5B-435E-8BF3-D97832EB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818" y="4729666"/>
              <a:ext cx="325735" cy="100227"/>
            </a:xfrm>
            <a:custGeom>
              <a:avLst/>
              <a:gdLst>
                <a:gd name="T0" fmla="*/ 61355 w 629"/>
                <a:gd name="T1" fmla="*/ 69494 h 196"/>
                <a:gd name="T2" fmla="*/ 61355 w 629"/>
                <a:gd name="T3" fmla="*/ 69494 h 196"/>
                <a:gd name="T4" fmla="*/ 55219 w 629"/>
                <a:gd name="T5" fmla="*/ 66286 h 196"/>
                <a:gd name="T6" fmla="*/ 3248 w 629"/>
                <a:gd name="T7" fmla="*/ 14968 h 196"/>
                <a:gd name="T8" fmla="*/ 3248 w 629"/>
                <a:gd name="T9" fmla="*/ 2851 h 196"/>
                <a:gd name="T10" fmla="*/ 15519 w 629"/>
                <a:gd name="T11" fmla="*/ 2851 h 196"/>
                <a:gd name="T12" fmla="*/ 61355 w 629"/>
                <a:gd name="T13" fmla="*/ 48467 h 196"/>
                <a:gd name="T14" fmla="*/ 110438 w 629"/>
                <a:gd name="T15" fmla="*/ 2851 h 196"/>
                <a:gd name="T16" fmla="*/ 119461 w 629"/>
                <a:gd name="T17" fmla="*/ 2851 h 196"/>
                <a:gd name="T18" fmla="*/ 165296 w 629"/>
                <a:gd name="T19" fmla="*/ 48467 h 196"/>
                <a:gd name="T20" fmla="*/ 214380 w 629"/>
                <a:gd name="T21" fmla="*/ 2851 h 196"/>
                <a:gd name="T22" fmla="*/ 223764 w 629"/>
                <a:gd name="T23" fmla="*/ 2851 h 196"/>
                <a:gd name="T24" fmla="*/ 223764 w 629"/>
                <a:gd name="T25" fmla="*/ 14968 h 196"/>
                <a:gd name="T26" fmla="*/ 171432 w 629"/>
                <a:gd name="T27" fmla="*/ 66286 h 196"/>
                <a:gd name="T28" fmla="*/ 162409 w 629"/>
                <a:gd name="T29" fmla="*/ 66286 h 196"/>
                <a:gd name="T30" fmla="*/ 113326 w 629"/>
                <a:gd name="T31" fmla="*/ 18175 h 196"/>
                <a:gd name="T32" fmla="*/ 67490 w 629"/>
                <a:gd name="T33" fmla="*/ 66286 h 196"/>
                <a:gd name="T34" fmla="*/ 61355 w 629"/>
                <a:gd name="T35" fmla="*/ 69494 h 1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9" h="196">
                  <a:moveTo>
                    <a:pt x="170" y="195"/>
                  </a:moveTo>
                  <a:lnTo>
                    <a:pt x="170" y="195"/>
                  </a:lnTo>
                  <a:cubicBezTo>
                    <a:pt x="170" y="195"/>
                    <a:pt x="162" y="186"/>
                    <a:pt x="153" y="18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4"/>
                    <a:pt x="0" y="17"/>
                    <a:pt x="9" y="8"/>
                  </a:cubicBezTo>
                  <a:cubicBezTo>
                    <a:pt x="17" y="0"/>
                    <a:pt x="34" y="0"/>
                    <a:pt x="43" y="8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306" y="8"/>
                    <a:pt x="306" y="8"/>
                    <a:pt x="306" y="8"/>
                  </a:cubicBezTo>
                  <a:cubicBezTo>
                    <a:pt x="314" y="0"/>
                    <a:pt x="323" y="0"/>
                    <a:pt x="331" y="8"/>
                  </a:cubicBezTo>
                  <a:cubicBezTo>
                    <a:pt x="458" y="136"/>
                    <a:pt x="458" y="136"/>
                    <a:pt x="458" y="136"/>
                  </a:cubicBezTo>
                  <a:cubicBezTo>
                    <a:pt x="594" y="8"/>
                    <a:pt x="594" y="8"/>
                    <a:pt x="594" y="8"/>
                  </a:cubicBezTo>
                  <a:cubicBezTo>
                    <a:pt x="603" y="0"/>
                    <a:pt x="611" y="0"/>
                    <a:pt x="620" y="8"/>
                  </a:cubicBezTo>
                  <a:cubicBezTo>
                    <a:pt x="628" y="17"/>
                    <a:pt x="628" y="34"/>
                    <a:pt x="620" y="42"/>
                  </a:cubicBezTo>
                  <a:cubicBezTo>
                    <a:pt x="475" y="186"/>
                    <a:pt x="475" y="186"/>
                    <a:pt x="475" y="186"/>
                  </a:cubicBezTo>
                  <a:cubicBezTo>
                    <a:pt x="467" y="195"/>
                    <a:pt x="458" y="195"/>
                    <a:pt x="450" y="186"/>
                  </a:cubicBezTo>
                  <a:cubicBezTo>
                    <a:pt x="314" y="51"/>
                    <a:pt x="314" y="51"/>
                    <a:pt x="314" y="51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78" y="186"/>
                    <a:pt x="178" y="195"/>
                    <a:pt x="170" y="19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991">
              <a:extLst>
                <a:ext uri="{FF2B5EF4-FFF2-40B4-BE49-F238E27FC236}">
                  <a16:creationId xmlns:a16="http://schemas.microsoft.com/office/drawing/2014/main" id="{9946B5AA-028D-448E-BC58-3B621B75D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5710" y="4802558"/>
              <a:ext cx="175396" cy="325735"/>
            </a:xfrm>
            <a:custGeom>
              <a:avLst/>
              <a:gdLst>
                <a:gd name="T0" fmla="*/ 60939 w 341"/>
                <a:gd name="T1" fmla="*/ 226651 h 629"/>
                <a:gd name="T2" fmla="*/ 60939 w 341"/>
                <a:gd name="T3" fmla="*/ 226651 h 629"/>
                <a:gd name="T4" fmla="*/ 54845 w 341"/>
                <a:gd name="T5" fmla="*/ 220516 h 629"/>
                <a:gd name="T6" fmla="*/ 3226 w 341"/>
                <a:gd name="T7" fmla="*/ 12271 h 629"/>
                <a:gd name="T8" fmla="*/ 9320 w 341"/>
                <a:gd name="T9" fmla="*/ 3248 h 629"/>
                <a:gd name="T10" fmla="*/ 18282 w 341"/>
                <a:gd name="T11" fmla="*/ 6135 h 629"/>
                <a:gd name="T12" fmla="*/ 60939 w 341"/>
                <a:gd name="T13" fmla="*/ 186951 h 629"/>
                <a:gd name="T14" fmla="*/ 106823 w 341"/>
                <a:gd name="T15" fmla="*/ 6135 h 629"/>
                <a:gd name="T16" fmla="*/ 115785 w 341"/>
                <a:gd name="T17" fmla="*/ 3248 h 629"/>
                <a:gd name="T18" fmla="*/ 121879 w 341"/>
                <a:gd name="T19" fmla="*/ 12271 h 629"/>
                <a:gd name="T20" fmla="*/ 70259 w 341"/>
                <a:gd name="T21" fmla="*/ 220516 h 629"/>
                <a:gd name="T22" fmla="*/ 60939 w 341"/>
                <a:gd name="T23" fmla="*/ 226651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41" h="629">
                  <a:moveTo>
                    <a:pt x="170" y="628"/>
                  </a:moveTo>
                  <a:lnTo>
                    <a:pt x="170" y="628"/>
                  </a:lnTo>
                  <a:cubicBezTo>
                    <a:pt x="162" y="628"/>
                    <a:pt x="153" y="620"/>
                    <a:pt x="153" y="61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0" y="17"/>
                    <a:pt x="9" y="9"/>
                    <a:pt x="26" y="9"/>
                  </a:cubicBezTo>
                  <a:cubicBezTo>
                    <a:pt x="34" y="0"/>
                    <a:pt x="43" y="9"/>
                    <a:pt x="51" y="17"/>
                  </a:cubicBezTo>
                  <a:cubicBezTo>
                    <a:pt x="170" y="518"/>
                    <a:pt x="170" y="518"/>
                    <a:pt x="170" y="5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9"/>
                    <a:pt x="314" y="0"/>
                    <a:pt x="323" y="9"/>
                  </a:cubicBezTo>
                  <a:cubicBezTo>
                    <a:pt x="331" y="9"/>
                    <a:pt x="340" y="17"/>
                    <a:pt x="340" y="34"/>
                  </a:cubicBezTo>
                  <a:cubicBezTo>
                    <a:pt x="196" y="611"/>
                    <a:pt x="196" y="611"/>
                    <a:pt x="196" y="611"/>
                  </a:cubicBezTo>
                  <a:cubicBezTo>
                    <a:pt x="196" y="620"/>
                    <a:pt x="187" y="628"/>
                    <a:pt x="170" y="62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992">
              <a:extLst>
                <a:ext uri="{FF2B5EF4-FFF2-40B4-BE49-F238E27FC236}">
                  <a16:creationId xmlns:a16="http://schemas.microsoft.com/office/drawing/2014/main" id="{1DF6D6EE-B0D9-4272-82F3-7F1E0F2E9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802558"/>
              <a:ext cx="473798" cy="27335"/>
            </a:xfrm>
            <a:custGeom>
              <a:avLst/>
              <a:gdLst>
                <a:gd name="T0" fmla="*/ 323725 w 918"/>
                <a:gd name="T1" fmla="*/ 18684 h 52"/>
                <a:gd name="T2" fmla="*/ 323725 w 918"/>
                <a:gd name="T3" fmla="*/ 18684 h 52"/>
                <a:gd name="T4" fmla="*/ 323725 w 918"/>
                <a:gd name="T5" fmla="*/ 18684 h 52"/>
                <a:gd name="T6" fmla="*/ 8992 w 918"/>
                <a:gd name="T7" fmla="*/ 15387 h 52"/>
                <a:gd name="T8" fmla="*/ 2878 w 918"/>
                <a:gd name="T9" fmla="*/ 9525 h 52"/>
                <a:gd name="T10" fmla="*/ 8992 w 918"/>
                <a:gd name="T11" fmla="*/ 0 h 52"/>
                <a:gd name="T12" fmla="*/ 8992 w 918"/>
                <a:gd name="T13" fmla="*/ 0 h 52"/>
                <a:gd name="T14" fmla="*/ 323725 w 918"/>
                <a:gd name="T15" fmla="*/ 3297 h 52"/>
                <a:gd name="T16" fmla="*/ 329840 w 918"/>
                <a:gd name="T17" fmla="*/ 9525 h 52"/>
                <a:gd name="T18" fmla="*/ 323725 w 918"/>
                <a:gd name="T19" fmla="*/ 18684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8" h="52">
                  <a:moveTo>
                    <a:pt x="900" y="51"/>
                  </a:moveTo>
                  <a:lnTo>
                    <a:pt x="900" y="51"/>
                  </a:lnTo>
                  <a:cubicBezTo>
                    <a:pt x="25" y="42"/>
                    <a:pt x="25" y="42"/>
                    <a:pt x="25" y="42"/>
                  </a:cubicBezTo>
                  <a:cubicBezTo>
                    <a:pt x="17" y="42"/>
                    <a:pt x="0" y="34"/>
                    <a:pt x="8" y="26"/>
                  </a:cubicBezTo>
                  <a:cubicBezTo>
                    <a:pt x="8" y="17"/>
                    <a:pt x="17" y="0"/>
                    <a:pt x="25" y="0"/>
                  </a:cubicBezTo>
                  <a:cubicBezTo>
                    <a:pt x="900" y="9"/>
                    <a:pt x="900" y="9"/>
                    <a:pt x="900" y="9"/>
                  </a:cubicBezTo>
                  <a:cubicBezTo>
                    <a:pt x="908" y="9"/>
                    <a:pt x="917" y="17"/>
                    <a:pt x="917" y="26"/>
                  </a:cubicBezTo>
                  <a:cubicBezTo>
                    <a:pt x="917" y="42"/>
                    <a:pt x="908" y="51"/>
                    <a:pt x="900" y="51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5" name="Freeform 993">
            <a:extLst>
              <a:ext uri="{FF2B5EF4-FFF2-40B4-BE49-F238E27FC236}">
                <a16:creationId xmlns:a16="http://schemas.microsoft.com/office/drawing/2014/main" id="{0B3951D2-84CB-429A-8375-49DB4AA3A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77169" y="6885207"/>
            <a:ext cx="686077" cy="813628"/>
          </a:xfrm>
          <a:custGeom>
            <a:avLst/>
            <a:gdLst>
              <a:gd name="T0" fmla="*/ 308377 w 900"/>
              <a:gd name="T1" fmla="*/ 385401 h 1070"/>
              <a:gd name="T2" fmla="*/ 308377 w 900"/>
              <a:gd name="T3" fmla="*/ 385401 h 1070"/>
              <a:gd name="T4" fmla="*/ 12234 w 900"/>
              <a:gd name="T5" fmla="*/ 385401 h 1070"/>
              <a:gd name="T6" fmla="*/ 0 w 900"/>
              <a:gd name="T7" fmla="*/ 370259 h 1070"/>
              <a:gd name="T8" fmla="*/ 0 w 900"/>
              <a:gd name="T9" fmla="*/ 15142 h 1070"/>
              <a:gd name="T10" fmla="*/ 12234 w 900"/>
              <a:gd name="T11" fmla="*/ 0 h 1070"/>
              <a:gd name="T12" fmla="*/ 70168 w 900"/>
              <a:gd name="T13" fmla="*/ 0 h 1070"/>
              <a:gd name="T14" fmla="*/ 79163 w 900"/>
              <a:gd name="T15" fmla="*/ 9013 h 1070"/>
              <a:gd name="T16" fmla="*/ 70168 w 900"/>
              <a:gd name="T17" fmla="*/ 18387 h 1070"/>
              <a:gd name="T18" fmla="*/ 18352 w 900"/>
              <a:gd name="T19" fmla="*/ 18387 h 1070"/>
              <a:gd name="T20" fmla="*/ 18352 w 900"/>
              <a:gd name="T21" fmla="*/ 367015 h 1070"/>
              <a:gd name="T22" fmla="*/ 305499 w 900"/>
              <a:gd name="T23" fmla="*/ 367015 h 1070"/>
              <a:gd name="T24" fmla="*/ 305499 w 900"/>
              <a:gd name="T25" fmla="*/ 18387 h 1070"/>
              <a:gd name="T26" fmla="*/ 253323 w 900"/>
              <a:gd name="T27" fmla="*/ 18387 h 1070"/>
              <a:gd name="T28" fmla="*/ 244327 w 900"/>
              <a:gd name="T29" fmla="*/ 9013 h 1070"/>
              <a:gd name="T30" fmla="*/ 253323 w 900"/>
              <a:gd name="T31" fmla="*/ 0 h 1070"/>
              <a:gd name="T32" fmla="*/ 308377 w 900"/>
              <a:gd name="T33" fmla="*/ 0 h 1070"/>
              <a:gd name="T34" fmla="*/ 323490 w 900"/>
              <a:gd name="T35" fmla="*/ 15142 h 1070"/>
              <a:gd name="T36" fmla="*/ 323490 w 900"/>
              <a:gd name="T37" fmla="*/ 370259 h 1070"/>
              <a:gd name="T38" fmla="*/ 308377 w 900"/>
              <a:gd name="T39" fmla="*/ 385401 h 1070"/>
              <a:gd name="T40" fmla="*/ 308377 w 900"/>
              <a:gd name="T41" fmla="*/ 18387 h 1070"/>
              <a:gd name="T42" fmla="*/ 308377 w 900"/>
              <a:gd name="T43" fmla="*/ 18387 h 10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00" h="1070">
                <a:moveTo>
                  <a:pt x="857" y="1069"/>
                </a:moveTo>
                <a:lnTo>
                  <a:pt x="857" y="1069"/>
                </a:lnTo>
                <a:cubicBezTo>
                  <a:pt x="34" y="1069"/>
                  <a:pt x="34" y="1069"/>
                  <a:pt x="34" y="1069"/>
                </a:cubicBezTo>
                <a:cubicBezTo>
                  <a:pt x="17" y="1069"/>
                  <a:pt x="0" y="1052"/>
                  <a:pt x="0" y="102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"/>
                  <a:pt x="17" y="0"/>
                  <a:pt x="34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212" y="0"/>
                  <a:pt x="220" y="17"/>
                  <a:pt x="220" y="25"/>
                </a:cubicBezTo>
                <a:cubicBezTo>
                  <a:pt x="220" y="42"/>
                  <a:pt x="212" y="51"/>
                  <a:pt x="195" y="51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1018"/>
                  <a:pt x="51" y="1018"/>
                  <a:pt x="51" y="1018"/>
                </a:cubicBezTo>
                <a:cubicBezTo>
                  <a:pt x="849" y="1018"/>
                  <a:pt x="849" y="1018"/>
                  <a:pt x="849" y="1018"/>
                </a:cubicBezTo>
                <a:cubicBezTo>
                  <a:pt x="849" y="51"/>
                  <a:pt x="849" y="51"/>
                  <a:pt x="849" y="51"/>
                </a:cubicBezTo>
                <a:cubicBezTo>
                  <a:pt x="704" y="51"/>
                  <a:pt x="704" y="51"/>
                  <a:pt x="704" y="51"/>
                </a:cubicBezTo>
                <a:cubicBezTo>
                  <a:pt x="687" y="51"/>
                  <a:pt x="679" y="42"/>
                  <a:pt x="679" y="25"/>
                </a:cubicBezTo>
                <a:cubicBezTo>
                  <a:pt x="679" y="17"/>
                  <a:pt x="687" y="0"/>
                  <a:pt x="704" y="0"/>
                </a:cubicBezTo>
                <a:cubicBezTo>
                  <a:pt x="857" y="0"/>
                  <a:pt x="857" y="0"/>
                  <a:pt x="857" y="0"/>
                </a:cubicBezTo>
                <a:cubicBezTo>
                  <a:pt x="882" y="0"/>
                  <a:pt x="899" y="17"/>
                  <a:pt x="899" y="42"/>
                </a:cubicBezTo>
                <a:cubicBezTo>
                  <a:pt x="899" y="1027"/>
                  <a:pt x="899" y="1027"/>
                  <a:pt x="899" y="1027"/>
                </a:cubicBezTo>
                <a:cubicBezTo>
                  <a:pt x="899" y="1052"/>
                  <a:pt x="882" y="1069"/>
                  <a:pt x="857" y="1069"/>
                </a:cubicBezTo>
                <a:close/>
                <a:moveTo>
                  <a:pt x="857" y="51"/>
                </a:moveTo>
                <a:lnTo>
                  <a:pt x="857" y="51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6" name="Freeform 994">
            <a:extLst>
              <a:ext uri="{FF2B5EF4-FFF2-40B4-BE49-F238E27FC236}">
                <a16:creationId xmlns:a16="http://schemas.microsoft.com/office/drawing/2014/main" id="{ACBDEDE4-BD17-4D3A-A06F-5E7E84316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079405"/>
            <a:ext cx="137887" cy="137278"/>
          </a:xfrm>
          <a:custGeom>
            <a:avLst/>
            <a:gdLst>
              <a:gd name="T0" fmla="*/ 55324 w 180"/>
              <a:gd name="T1" fmla="*/ 64723 h 179"/>
              <a:gd name="T2" fmla="*/ 55324 w 180"/>
              <a:gd name="T3" fmla="*/ 64723 h 179"/>
              <a:gd name="T4" fmla="*/ 9401 w 180"/>
              <a:gd name="T5" fmla="*/ 64723 h 179"/>
              <a:gd name="T6" fmla="*/ 0 w 180"/>
              <a:gd name="T7" fmla="*/ 55269 h 179"/>
              <a:gd name="T8" fmla="*/ 0 w 180"/>
              <a:gd name="T9" fmla="*/ 9090 h 179"/>
              <a:gd name="T10" fmla="*/ 9401 w 180"/>
              <a:gd name="T11" fmla="*/ 0 h 179"/>
              <a:gd name="T12" fmla="*/ 55324 w 180"/>
              <a:gd name="T13" fmla="*/ 0 h 179"/>
              <a:gd name="T14" fmla="*/ 64725 w 180"/>
              <a:gd name="T15" fmla="*/ 9090 h 179"/>
              <a:gd name="T16" fmla="*/ 64725 w 180"/>
              <a:gd name="T17" fmla="*/ 55269 h 179"/>
              <a:gd name="T18" fmla="*/ 55324 w 180"/>
              <a:gd name="T19" fmla="*/ 64723 h 179"/>
              <a:gd name="T20" fmla="*/ 18441 w 180"/>
              <a:gd name="T21" fmla="*/ 46179 h 179"/>
              <a:gd name="T22" fmla="*/ 18441 w 180"/>
              <a:gd name="T23" fmla="*/ 46179 h 179"/>
              <a:gd name="T24" fmla="*/ 46284 w 180"/>
              <a:gd name="T25" fmla="*/ 46179 h 179"/>
              <a:gd name="T26" fmla="*/ 46284 w 180"/>
              <a:gd name="T27" fmla="*/ 18181 h 179"/>
              <a:gd name="T28" fmla="*/ 18441 w 180"/>
              <a:gd name="T29" fmla="*/ 18181 h 179"/>
              <a:gd name="T30" fmla="*/ 18441 w 180"/>
              <a:gd name="T31" fmla="*/ 46179 h 1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9">
                <a:moveTo>
                  <a:pt x="153" y="178"/>
                </a:moveTo>
                <a:lnTo>
                  <a:pt x="153" y="178"/>
                </a:lnTo>
                <a:cubicBezTo>
                  <a:pt x="26" y="178"/>
                  <a:pt x="26" y="178"/>
                  <a:pt x="26" y="178"/>
                </a:cubicBezTo>
                <a:cubicBezTo>
                  <a:pt x="9" y="178"/>
                  <a:pt x="0" y="161"/>
                  <a:pt x="0" y="1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8"/>
                  <a:pt x="179" y="25"/>
                </a:cubicBezTo>
                <a:cubicBezTo>
                  <a:pt x="179" y="152"/>
                  <a:pt x="179" y="152"/>
                  <a:pt x="179" y="152"/>
                </a:cubicBezTo>
                <a:cubicBezTo>
                  <a:pt x="179" y="161"/>
                  <a:pt x="162" y="178"/>
                  <a:pt x="153" y="178"/>
                </a:cubicBezTo>
                <a:close/>
                <a:moveTo>
                  <a:pt x="51" y="127"/>
                </a:moveTo>
                <a:lnTo>
                  <a:pt x="51" y="127"/>
                </a:lnTo>
                <a:cubicBezTo>
                  <a:pt x="128" y="127"/>
                  <a:pt x="128" y="127"/>
                  <a:pt x="128" y="127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51" y="50"/>
                  <a:pt x="51" y="50"/>
                  <a:pt x="51" y="50"/>
                </a:cubicBezTo>
                <a:lnTo>
                  <a:pt x="51" y="127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7" name="Freeform 995">
            <a:extLst>
              <a:ext uri="{FF2B5EF4-FFF2-40B4-BE49-F238E27FC236}">
                <a16:creationId xmlns:a16="http://schemas.microsoft.com/office/drawing/2014/main" id="{7C4C8CB3-1114-430B-B23C-F50D560A6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273605"/>
            <a:ext cx="137887" cy="130582"/>
          </a:xfrm>
          <a:custGeom>
            <a:avLst/>
            <a:gdLst>
              <a:gd name="T0" fmla="*/ 55324 w 180"/>
              <a:gd name="T1" fmla="*/ 61550 h 171"/>
              <a:gd name="T2" fmla="*/ 55324 w 180"/>
              <a:gd name="T3" fmla="*/ 61550 h 171"/>
              <a:gd name="T4" fmla="*/ 9401 w 180"/>
              <a:gd name="T5" fmla="*/ 61550 h 171"/>
              <a:gd name="T6" fmla="*/ 0 w 180"/>
              <a:gd name="T7" fmla="*/ 52136 h 171"/>
              <a:gd name="T8" fmla="*/ 0 w 180"/>
              <a:gd name="T9" fmla="*/ 9414 h 171"/>
              <a:gd name="T10" fmla="*/ 9401 w 180"/>
              <a:gd name="T11" fmla="*/ 0 h 171"/>
              <a:gd name="T12" fmla="*/ 55324 w 180"/>
              <a:gd name="T13" fmla="*/ 0 h 171"/>
              <a:gd name="T14" fmla="*/ 64725 w 180"/>
              <a:gd name="T15" fmla="*/ 9414 h 171"/>
              <a:gd name="T16" fmla="*/ 64725 w 180"/>
              <a:gd name="T17" fmla="*/ 52136 h 171"/>
              <a:gd name="T18" fmla="*/ 55324 w 180"/>
              <a:gd name="T19" fmla="*/ 61550 h 171"/>
              <a:gd name="T20" fmla="*/ 18441 w 180"/>
              <a:gd name="T21" fmla="*/ 43085 h 171"/>
              <a:gd name="T22" fmla="*/ 18441 w 180"/>
              <a:gd name="T23" fmla="*/ 43085 h 171"/>
              <a:gd name="T24" fmla="*/ 46284 w 180"/>
              <a:gd name="T25" fmla="*/ 43085 h 171"/>
              <a:gd name="T26" fmla="*/ 46284 w 180"/>
              <a:gd name="T27" fmla="*/ 15206 h 171"/>
              <a:gd name="T28" fmla="*/ 18441 w 180"/>
              <a:gd name="T29" fmla="*/ 15206 h 171"/>
              <a:gd name="T30" fmla="*/ 18441 w 180"/>
              <a:gd name="T31" fmla="*/ 43085 h 1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1">
                <a:moveTo>
                  <a:pt x="153" y="170"/>
                </a:moveTo>
                <a:lnTo>
                  <a:pt x="153" y="170"/>
                </a:lnTo>
                <a:cubicBezTo>
                  <a:pt x="26" y="170"/>
                  <a:pt x="26" y="170"/>
                  <a:pt x="26" y="170"/>
                </a:cubicBezTo>
                <a:cubicBezTo>
                  <a:pt x="9" y="170"/>
                  <a:pt x="0" y="161"/>
                  <a:pt x="0" y="144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9"/>
                  <a:pt x="179" y="26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9" y="161"/>
                  <a:pt x="162" y="170"/>
                  <a:pt x="153" y="170"/>
                </a:cubicBezTo>
                <a:close/>
                <a:moveTo>
                  <a:pt x="51" y="119"/>
                </a:moveTo>
                <a:lnTo>
                  <a:pt x="51" y="119"/>
                </a:lnTo>
                <a:cubicBezTo>
                  <a:pt x="128" y="119"/>
                  <a:pt x="128" y="119"/>
                  <a:pt x="128" y="119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1" y="42"/>
                  <a:pt x="51" y="42"/>
                  <a:pt x="51" y="42"/>
                </a:cubicBezTo>
                <a:lnTo>
                  <a:pt x="51" y="11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8" name="Freeform 996">
            <a:extLst>
              <a:ext uri="{FF2B5EF4-FFF2-40B4-BE49-F238E27FC236}">
                <a16:creationId xmlns:a16="http://schemas.microsoft.com/office/drawing/2014/main" id="{8588F888-9A9D-41CD-8E35-D3D1D38798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461106"/>
            <a:ext cx="137887" cy="137278"/>
          </a:xfrm>
          <a:custGeom>
            <a:avLst/>
            <a:gdLst>
              <a:gd name="T0" fmla="*/ 55324 w 180"/>
              <a:gd name="T1" fmla="*/ 64725 h 180"/>
              <a:gd name="T2" fmla="*/ 55324 w 180"/>
              <a:gd name="T3" fmla="*/ 64725 h 180"/>
              <a:gd name="T4" fmla="*/ 9401 w 180"/>
              <a:gd name="T5" fmla="*/ 64725 h 180"/>
              <a:gd name="T6" fmla="*/ 0 w 180"/>
              <a:gd name="T7" fmla="*/ 55324 h 180"/>
              <a:gd name="T8" fmla="*/ 0 w 180"/>
              <a:gd name="T9" fmla="*/ 9401 h 180"/>
              <a:gd name="T10" fmla="*/ 9401 w 180"/>
              <a:gd name="T11" fmla="*/ 0 h 180"/>
              <a:gd name="T12" fmla="*/ 55324 w 180"/>
              <a:gd name="T13" fmla="*/ 0 h 180"/>
              <a:gd name="T14" fmla="*/ 64725 w 180"/>
              <a:gd name="T15" fmla="*/ 9401 h 180"/>
              <a:gd name="T16" fmla="*/ 64725 w 180"/>
              <a:gd name="T17" fmla="*/ 55324 h 180"/>
              <a:gd name="T18" fmla="*/ 55324 w 180"/>
              <a:gd name="T19" fmla="*/ 64725 h 180"/>
              <a:gd name="T20" fmla="*/ 18441 w 180"/>
              <a:gd name="T21" fmla="*/ 46284 h 180"/>
              <a:gd name="T22" fmla="*/ 18441 w 180"/>
              <a:gd name="T23" fmla="*/ 46284 h 180"/>
              <a:gd name="T24" fmla="*/ 46284 w 180"/>
              <a:gd name="T25" fmla="*/ 46284 h 180"/>
              <a:gd name="T26" fmla="*/ 46284 w 180"/>
              <a:gd name="T27" fmla="*/ 18441 h 180"/>
              <a:gd name="T28" fmla="*/ 18441 w 180"/>
              <a:gd name="T29" fmla="*/ 18441 h 180"/>
              <a:gd name="T30" fmla="*/ 18441 w 180"/>
              <a:gd name="T31" fmla="*/ 46284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80">
                <a:moveTo>
                  <a:pt x="153" y="179"/>
                </a:moveTo>
                <a:lnTo>
                  <a:pt x="153" y="179"/>
                </a:lnTo>
                <a:cubicBezTo>
                  <a:pt x="26" y="179"/>
                  <a:pt x="26" y="179"/>
                  <a:pt x="26" y="179"/>
                </a:cubicBezTo>
                <a:cubicBezTo>
                  <a:pt x="9" y="179"/>
                  <a:pt x="0" y="170"/>
                  <a:pt x="0" y="1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17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17"/>
                  <a:pt x="179" y="26"/>
                </a:cubicBezTo>
                <a:cubicBezTo>
                  <a:pt x="179" y="153"/>
                  <a:pt x="179" y="153"/>
                  <a:pt x="179" y="153"/>
                </a:cubicBezTo>
                <a:cubicBezTo>
                  <a:pt x="179" y="170"/>
                  <a:pt x="162" y="179"/>
                  <a:pt x="153" y="179"/>
                </a:cubicBezTo>
                <a:close/>
                <a:moveTo>
                  <a:pt x="51" y="128"/>
                </a:moveTo>
                <a:lnTo>
                  <a:pt x="51" y="128"/>
                </a:lnTo>
                <a:cubicBezTo>
                  <a:pt x="128" y="128"/>
                  <a:pt x="128" y="128"/>
                  <a:pt x="128" y="128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51" y="51"/>
                  <a:pt x="51" y="51"/>
                  <a:pt x="51" y="51"/>
                </a:cubicBezTo>
                <a:lnTo>
                  <a:pt x="51" y="128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9" name="Freeform 997">
            <a:extLst>
              <a:ext uri="{FF2B5EF4-FFF2-40B4-BE49-F238E27FC236}">
                <a16:creationId xmlns:a16="http://schemas.microsoft.com/office/drawing/2014/main" id="{BF5CA5D1-0929-444B-B010-E4E723B3FF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126282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159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159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42"/>
                  <a:pt x="0" y="25"/>
                </a:cubicBezTo>
                <a:cubicBezTo>
                  <a:pt x="0" y="17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17"/>
                  <a:pt x="297" y="25"/>
                </a:cubicBezTo>
                <a:cubicBezTo>
                  <a:pt x="297" y="42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0" name="Freeform 998">
            <a:extLst>
              <a:ext uri="{FF2B5EF4-FFF2-40B4-BE49-F238E27FC236}">
                <a16:creationId xmlns:a16="http://schemas.microsoft.com/office/drawing/2014/main" id="{3CE96516-AB9D-4D6B-8784-EC569722DF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317132"/>
            <a:ext cx="228693" cy="40180"/>
          </a:xfrm>
          <a:custGeom>
            <a:avLst/>
            <a:gdLst>
              <a:gd name="T0" fmla="*/ 101430 w 298"/>
              <a:gd name="T1" fmla="*/ 18676 h 51"/>
              <a:gd name="T2" fmla="*/ 101430 w 298"/>
              <a:gd name="T3" fmla="*/ 18676 h 51"/>
              <a:gd name="T4" fmla="*/ 9418 w 298"/>
              <a:gd name="T5" fmla="*/ 18676 h 51"/>
              <a:gd name="T6" fmla="*/ 0 w 298"/>
              <a:gd name="T7" fmla="*/ 9338 h 51"/>
              <a:gd name="T8" fmla="*/ 9418 w 298"/>
              <a:gd name="T9" fmla="*/ 0 h 51"/>
              <a:gd name="T10" fmla="*/ 101430 w 298"/>
              <a:gd name="T11" fmla="*/ 0 h 51"/>
              <a:gd name="T12" fmla="*/ 107588 w 298"/>
              <a:gd name="T13" fmla="*/ 9338 h 51"/>
              <a:gd name="T14" fmla="*/ 101430 w 298"/>
              <a:gd name="T15" fmla="*/ 18676 h 5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1">
                <a:moveTo>
                  <a:pt x="280" y="50"/>
                </a:moveTo>
                <a:lnTo>
                  <a:pt x="280" y="50"/>
                </a:lnTo>
                <a:cubicBezTo>
                  <a:pt x="26" y="50"/>
                  <a:pt x="26" y="50"/>
                  <a:pt x="26" y="50"/>
                </a:cubicBezTo>
                <a:cubicBezTo>
                  <a:pt x="9" y="50"/>
                  <a:pt x="0" y="42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8"/>
                  <a:pt x="297" y="25"/>
                </a:cubicBezTo>
                <a:cubicBezTo>
                  <a:pt x="297" y="42"/>
                  <a:pt x="289" y="50"/>
                  <a:pt x="280" y="50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1" name="Freeform 999">
            <a:extLst>
              <a:ext uri="{FF2B5EF4-FFF2-40B4-BE49-F238E27FC236}">
                <a16:creationId xmlns:a16="http://schemas.microsoft.com/office/drawing/2014/main" id="{FD353D14-0162-4434-81F9-8EFBDDB8F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511330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525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525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34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9"/>
                  <a:pt x="297" y="26"/>
                </a:cubicBezTo>
                <a:cubicBezTo>
                  <a:pt x="297" y="34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2" name="Freeform 1000">
            <a:extLst>
              <a:ext uri="{FF2B5EF4-FFF2-40B4-BE49-F238E27FC236}">
                <a16:creationId xmlns:a16="http://schemas.microsoft.com/office/drawing/2014/main" id="{014ACAB3-6894-47BD-BB7D-0B110CDC0E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778" y="6794801"/>
            <a:ext cx="326222" cy="214289"/>
          </a:xfrm>
          <a:custGeom>
            <a:avLst/>
            <a:gdLst>
              <a:gd name="T0" fmla="*/ 141335 w 426"/>
              <a:gd name="T1" fmla="*/ 101238 h 281"/>
              <a:gd name="T2" fmla="*/ 141335 w 426"/>
              <a:gd name="T3" fmla="*/ 101238 h 281"/>
              <a:gd name="T4" fmla="*/ 9398 w 426"/>
              <a:gd name="T5" fmla="*/ 101238 h 281"/>
              <a:gd name="T6" fmla="*/ 0 w 426"/>
              <a:gd name="T7" fmla="*/ 88945 h 281"/>
              <a:gd name="T8" fmla="*/ 0 w 426"/>
              <a:gd name="T9" fmla="*/ 52065 h 281"/>
              <a:gd name="T10" fmla="*/ 0 w 426"/>
              <a:gd name="T11" fmla="*/ 49173 h 281"/>
              <a:gd name="T12" fmla="*/ 30725 w 426"/>
              <a:gd name="T13" fmla="*/ 12293 h 281"/>
              <a:gd name="T14" fmla="*/ 76994 w 426"/>
              <a:gd name="T15" fmla="*/ 0 h 281"/>
              <a:gd name="T16" fmla="*/ 122900 w 426"/>
              <a:gd name="T17" fmla="*/ 12293 h 281"/>
              <a:gd name="T18" fmla="*/ 150372 w 426"/>
              <a:gd name="T19" fmla="*/ 49173 h 281"/>
              <a:gd name="T20" fmla="*/ 153626 w 426"/>
              <a:gd name="T21" fmla="*/ 52065 h 281"/>
              <a:gd name="T22" fmla="*/ 153626 w 426"/>
              <a:gd name="T23" fmla="*/ 88945 h 281"/>
              <a:gd name="T24" fmla="*/ 141335 w 426"/>
              <a:gd name="T25" fmla="*/ 101238 h 281"/>
              <a:gd name="T26" fmla="*/ 18435 w 426"/>
              <a:gd name="T27" fmla="*/ 82799 h 281"/>
              <a:gd name="T28" fmla="*/ 18435 w 426"/>
              <a:gd name="T29" fmla="*/ 82799 h 281"/>
              <a:gd name="T30" fmla="*/ 135190 w 426"/>
              <a:gd name="T31" fmla="*/ 82799 h 281"/>
              <a:gd name="T32" fmla="*/ 135190 w 426"/>
              <a:gd name="T33" fmla="*/ 55320 h 281"/>
              <a:gd name="T34" fmla="*/ 113502 w 426"/>
              <a:gd name="T35" fmla="*/ 27841 h 281"/>
              <a:gd name="T36" fmla="*/ 76994 w 426"/>
              <a:gd name="T37" fmla="*/ 15547 h 281"/>
              <a:gd name="T38" fmla="*/ 40123 w 426"/>
              <a:gd name="T39" fmla="*/ 27841 h 281"/>
              <a:gd name="T40" fmla="*/ 18435 w 426"/>
              <a:gd name="T41" fmla="*/ 55320 h 281"/>
              <a:gd name="T42" fmla="*/ 18435 w 426"/>
              <a:gd name="T43" fmla="*/ 82799 h 2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26" h="281">
                <a:moveTo>
                  <a:pt x="391" y="280"/>
                </a:moveTo>
                <a:lnTo>
                  <a:pt x="391" y="280"/>
                </a:lnTo>
                <a:cubicBezTo>
                  <a:pt x="26" y="280"/>
                  <a:pt x="26" y="280"/>
                  <a:pt x="26" y="280"/>
                </a:cubicBezTo>
                <a:cubicBezTo>
                  <a:pt x="17" y="280"/>
                  <a:pt x="0" y="263"/>
                  <a:pt x="0" y="246"/>
                </a:cubicBezTo>
                <a:cubicBezTo>
                  <a:pt x="0" y="144"/>
                  <a:pt x="0" y="144"/>
                  <a:pt x="0" y="144"/>
                </a:cubicBezTo>
                <a:lnTo>
                  <a:pt x="0" y="136"/>
                </a:lnTo>
                <a:cubicBezTo>
                  <a:pt x="17" y="93"/>
                  <a:pt x="43" y="59"/>
                  <a:pt x="85" y="34"/>
                </a:cubicBezTo>
                <a:cubicBezTo>
                  <a:pt x="119" y="9"/>
                  <a:pt x="162" y="0"/>
                  <a:pt x="213" y="0"/>
                </a:cubicBezTo>
                <a:cubicBezTo>
                  <a:pt x="255" y="0"/>
                  <a:pt x="298" y="9"/>
                  <a:pt x="340" y="34"/>
                </a:cubicBezTo>
                <a:cubicBezTo>
                  <a:pt x="374" y="59"/>
                  <a:pt x="408" y="93"/>
                  <a:pt x="416" y="136"/>
                </a:cubicBezTo>
                <a:cubicBezTo>
                  <a:pt x="425" y="136"/>
                  <a:pt x="425" y="144"/>
                  <a:pt x="425" y="144"/>
                </a:cubicBezTo>
                <a:cubicBezTo>
                  <a:pt x="425" y="246"/>
                  <a:pt x="425" y="246"/>
                  <a:pt x="425" y="246"/>
                </a:cubicBezTo>
                <a:cubicBezTo>
                  <a:pt x="425" y="263"/>
                  <a:pt x="408" y="280"/>
                  <a:pt x="391" y="280"/>
                </a:cubicBezTo>
                <a:close/>
                <a:moveTo>
                  <a:pt x="51" y="229"/>
                </a:moveTo>
                <a:lnTo>
                  <a:pt x="51" y="229"/>
                </a:lnTo>
                <a:cubicBezTo>
                  <a:pt x="374" y="229"/>
                  <a:pt x="374" y="229"/>
                  <a:pt x="374" y="229"/>
                </a:cubicBezTo>
                <a:cubicBezTo>
                  <a:pt x="374" y="153"/>
                  <a:pt x="374" y="153"/>
                  <a:pt x="374" y="153"/>
                </a:cubicBezTo>
                <a:cubicBezTo>
                  <a:pt x="357" y="119"/>
                  <a:pt x="340" y="93"/>
                  <a:pt x="314" y="77"/>
                </a:cubicBezTo>
                <a:cubicBezTo>
                  <a:pt x="280" y="59"/>
                  <a:pt x="246" y="43"/>
                  <a:pt x="213" y="43"/>
                </a:cubicBezTo>
                <a:cubicBezTo>
                  <a:pt x="170" y="43"/>
                  <a:pt x="136" y="59"/>
                  <a:pt x="111" y="77"/>
                </a:cubicBezTo>
                <a:cubicBezTo>
                  <a:pt x="85" y="93"/>
                  <a:pt x="60" y="119"/>
                  <a:pt x="51" y="153"/>
                </a:cubicBezTo>
                <a:lnTo>
                  <a:pt x="51" y="22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  <a:latin typeface="Trebuchet"/>
            </a:endParaRPr>
          </a:p>
        </p:txBody>
      </p:sp>
      <p:sp>
        <p:nvSpPr>
          <p:cNvPr id="403" name="CuadroTexto 395">
            <a:extLst>
              <a:ext uri="{FF2B5EF4-FFF2-40B4-BE49-F238E27FC236}">
                <a16:creationId xmlns:a16="http://schemas.microsoft.com/office/drawing/2014/main" id="{79B8F1CF-7E8A-4FE0-8BAF-4760D6184066}"/>
              </a:ext>
            </a:extLst>
          </p:cNvPr>
          <p:cNvSpPr txBox="1"/>
          <p:nvPr userDrawn="1"/>
        </p:nvSpPr>
        <p:spPr>
          <a:xfrm>
            <a:off x="7562158" y="2766582"/>
            <a:ext cx="224959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esquisa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e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Satisf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4" name="CuadroTexto 395">
            <a:extLst>
              <a:ext uri="{FF2B5EF4-FFF2-40B4-BE49-F238E27FC236}">
                <a16:creationId xmlns:a16="http://schemas.microsoft.com/office/drawing/2014/main" id="{A1BCD024-7372-46CF-814C-8BC0569CE1E8}"/>
              </a:ext>
            </a:extLst>
          </p:cNvPr>
          <p:cNvSpPr txBox="1"/>
          <p:nvPr userDrawn="1"/>
        </p:nvSpPr>
        <p:spPr>
          <a:xfrm>
            <a:off x="10775350" y="2767123"/>
            <a:ext cx="1758930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Relatório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Final</a:t>
            </a:r>
          </a:p>
        </p:txBody>
      </p:sp>
      <p:sp>
        <p:nvSpPr>
          <p:cNvPr id="405" name="CuadroTexto 395">
            <a:extLst>
              <a:ext uri="{FF2B5EF4-FFF2-40B4-BE49-F238E27FC236}">
                <a16:creationId xmlns:a16="http://schemas.microsoft.com/office/drawing/2014/main" id="{95DDD58E-A317-4E91-8E51-185D92974733}"/>
              </a:ext>
            </a:extLst>
          </p:cNvPr>
          <p:cNvSpPr txBox="1"/>
          <p:nvPr userDrawn="1"/>
        </p:nvSpPr>
        <p:spPr>
          <a:xfrm>
            <a:off x="12987438" y="2767124"/>
            <a:ext cx="3081905" cy="903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companhamento</a:t>
            </a:r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as </a:t>
            </a:r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ções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7" name="CuadroTexto 395">
            <a:extLst>
              <a:ext uri="{FF2B5EF4-FFF2-40B4-BE49-F238E27FC236}">
                <a16:creationId xmlns:a16="http://schemas.microsoft.com/office/drawing/2014/main" id="{F851D7B0-C06E-4256-9B76-A3B7965A7FC7}"/>
              </a:ext>
            </a:extLst>
          </p:cNvPr>
          <p:cNvSpPr txBox="1"/>
          <p:nvPr/>
        </p:nvSpPr>
        <p:spPr>
          <a:xfrm>
            <a:off x="7481526" y="5378484"/>
            <a:ext cx="2420158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presentaç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0" name="CuadroTexto 395">
            <a:extLst>
              <a:ext uri="{FF2B5EF4-FFF2-40B4-BE49-F238E27FC236}">
                <a16:creationId xmlns:a16="http://schemas.microsoft.com/office/drawing/2014/main" id="{E0947B8F-13EC-4AEE-B215-504608D02E3A}"/>
              </a:ext>
            </a:extLst>
          </p:cNvPr>
          <p:cNvSpPr txBox="1"/>
          <p:nvPr/>
        </p:nvSpPr>
        <p:spPr>
          <a:xfrm>
            <a:off x="10550343" y="5378484"/>
            <a:ext cx="2128245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Conclusã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3" name="CuadroTexto 395">
            <a:extLst>
              <a:ext uri="{FF2B5EF4-FFF2-40B4-BE49-F238E27FC236}">
                <a16:creationId xmlns:a16="http://schemas.microsoft.com/office/drawing/2014/main" id="{2441EB75-C4C9-46E4-BF8E-21D9963ECEC2}"/>
              </a:ext>
            </a:extLst>
          </p:cNvPr>
          <p:cNvSpPr txBox="1"/>
          <p:nvPr/>
        </p:nvSpPr>
        <p:spPr>
          <a:xfrm>
            <a:off x="13555809" y="5359816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Testes</a:t>
            </a:r>
          </a:p>
        </p:txBody>
      </p:sp>
      <p:sp>
        <p:nvSpPr>
          <p:cNvPr id="416" name="CuadroTexto 395">
            <a:extLst>
              <a:ext uri="{FF2B5EF4-FFF2-40B4-BE49-F238E27FC236}">
                <a16:creationId xmlns:a16="http://schemas.microsoft.com/office/drawing/2014/main" id="{B6B8AAAE-4FEC-4406-B6DD-3789C7298F2F}"/>
              </a:ext>
            </a:extLst>
          </p:cNvPr>
          <p:cNvSpPr txBox="1"/>
          <p:nvPr/>
        </p:nvSpPr>
        <p:spPr>
          <a:xfrm>
            <a:off x="7767739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o</a:t>
            </a:r>
          </a:p>
        </p:txBody>
      </p:sp>
      <p:sp>
        <p:nvSpPr>
          <p:cNvPr id="419" name="CuadroTexto 395">
            <a:extLst>
              <a:ext uri="{FF2B5EF4-FFF2-40B4-BE49-F238E27FC236}">
                <a16:creationId xmlns:a16="http://schemas.microsoft.com/office/drawing/2014/main" id="{7CE93F1D-6021-42E6-AD64-E80F88023975}"/>
              </a:ext>
            </a:extLst>
          </p:cNvPr>
          <p:cNvSpPr txBox="1"/>
          <p:nvPr/>
        </p:nvSpPr>
        <p:spPr>
          <a:xfrm>
            <a:off x="10260125" y="8028248"/>
            <a:ext cx="2714377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ejamento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2" name="CuadroTexto 395">
            <a:extLst>
              <a:ext uri="{FF2B5EF4-FFF2-40B4-BE49-F238E27FC236}">
                <a16:creationId xmlns:a16="http://schemas.microsoft.com/office/drawing/2014/main" id="{4D8A3DDB-871E-42BC-912B-B301C2332C60}"/>
              </a:ext>
            </a:extLst>
          </p:cNvPr>
          <p:cNvSpPr txBox="1"/>
          <p:nvPr/>
        </p:nvSpPr>
        <p:spPr>
          <a:xfrm>
            <a:off x="13630813" y="8028248"/>
            <a:ext cx="1758930" cy="49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37846"/>
            <a:r>
              <a:rPr lang="en-US" sz="2634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bertura</a:t>
            </a:r>
            <a:endParaRPr lang="en-US" sz="2634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4" name="Freeform 747">
            <a:extLst>
              <a:ext uri="{FF2B5EF4-FFF2-40B4-BE49-F238E27FC236}">
                <a16:creationId xmlns:a16="http://schemas.microsoft.com/office/drawing/2014/main" id="{4783C306-DCB0-42E7-B793-C48B008FB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25028" y="6647480"/>
            <a:ext cx="1197273" cy="1191982"/>
          </a:xfrm>
          <a:custGeom>
            <a:avLst/>
            <a:gdLst>
              <a:gd name="T0" fmla="*/ 510075 w 1570"/>
              <a:gd name="T1" fmla="*/ 564790 h 1571"/>
              <a:gd name="T2" fmla="*/ 510075 w 1570"/>
              <a:gd name="T3" fmla="*/ 564790 h 1571"/>
              <a:gd name="T4" fmla="*/ 52195 w 1570"/>
              <a:gd name="T5" fmla="*/ 564790 h 1571"/>
              <a:gd name="T6" fmla="*/ 0 w 1570"/>
              <a:gd name="T7" fmla="*/ 512988 h 1571"/>
              <a:gd name="T8" fmla="*/ 0 w 1570"/>
              <a:gd name="T9" fmla="*/ 55040 h 1571"/>
              <a:gd name="T10" fmla="*/ 52195 w 1570"/>
              <a:gd name="T11" fmla="*/ 0 h 1571"/>
              <a:gd name="T12" fmla="*/ 510075 w 1570"/>
              <a:gd name="T13" fmla="*/ 0 h 1571"/>
              <a:gd name="T14" fmla="*/ 564790 w 1570"/>
              <a:gd name="T15" fmla="*/ 55040 h 1571"/>
              <a:gd name="T16" fmla="*/ 564790 w 1570"/>
              <a:gd name="T17" fmla="*/ 512988 h 1571"/>
              <a:gd name="T18" fmla="*/ 510075 w 157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1">
                <a:moveTo>
                  <a:pt x="1417" y="1570"/>
                </a:moveTo>
                <a:lnTo>
                  <a:pt x="1417" y="1570"/>
                </a:lnTo>
                <a:cubicBezTo>
                  <a:pt x="145" y="1570"/>
                  <a:pt x="145" y="1570"/>
                  <a:pt x="145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8"/>
                  <a:pt x="1569" y="153"/>
                </a:cubicBezTo>
                <a:cubicBezTo>
                  <a:pt x="1569" y="1426"/>
                  <a:pt x="1569" y="1426"/>
                  <a:pt x="1569" y="1426"/>
                </a:cubicBezTo>
                <a:cubicBezTo>
                  <a:pt x="1569" y="1502"/>
                  <a:pt x="1502" y="1570"/>
                  <a:pt x="1417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02B4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5" name="Gráfico 424" descr="Marca de verificação do selo com preenchimento sólido">
            <a:extLst>
              <a:ext uri="{FF2B5EF4-FFF2-40B4-BE49-F238E27FC236}">
                <a16:creationId xmlns:a16="http://schemas.microsoft.com/office/drawing/2014/main" id="{E80A37E3-2EE5-4667-96F5-D5EFE57D0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8891" y="6799453"/>
            <a:ext cx="939063" cy="934913"/>
          </a:xfrm>
          <a:prstGeom prst="rect">
            <a:avLst/>
          </a:prstGeom>
        </p:spPr>
      </p:pic>
      <p:sp>
        <p:nvSpPr>
          <p:cNvPr id="426" name="Freeform 746">
            <a:extLst>
              <a:ext uri="{FF2B5EF4-FFF2-40B4-BE49-F238E27FC236}">
                <a16:creationId xmlns:a16="http://schemas.microsoft.com/office/drawing/2014/main" id="{66F9DD58-260A-4B08-804F-9138455CA9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836507" y="4059270"/>
            <a:ext cx="1197273" cy="1198679"/>
          </a:xfrm>
          <a:custGeom>
            <a:avLst/>
            <a:gdLst>
              <a:gd name="T0" fmla="*/ 512988 w 1571"/>
              <a:gd name="T1" fmla="*/ 567965 h 1578"/>
              <a:gd name="T2" fmla="*/ 512988 w 1571"/>
              <a:gd name="T3" fmla="*/ 567965 h 1578"/>
              <a:gd name="T4" fmla="*/ 55040 w 1571"/>
              <a:gd name="T5" fmla="*/ 567965 h 1578"/>
              <a:gd name="T6" fmla="*/ 0 w 1571"/>
              <a:gd name="T7" fmla="*/ 512861 h 1578"/>
              <a:gd name="T8" fmla="*/ 0 w 1571"/>
              <a:gd name="T9" fmla="*/ 54744 h 1578"/>
              <a:gd name="T10" fmla="*/ 55040 w 1571"/>
              <a:gd name="T11" fmla="*/ 0 h 1578"/>
              <a:gd name="T12" fmla="*/ 512988 w 1571"/>
              <a:gd name="T13" fmla="*/ 0 h 1578"/>
              <a:gd name="T14" fmla="*/ 564790 w 1571"/>
              <a:gd name="T15" fmla="*/ 54744 h 1578"/>
              <a:gd name="T16" fmla="*/ 564790 w 1571"/>
              <a:gd name="T17" fmla="*/ 512861 h 1578"/>
              <a:gd name="T18" fmla="*/ 512988 w 1571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7"/>
                  <a:pt x="1570" y="152"/>
                </a:cubicBezTo>
                <a:cubicBezTo>
                  <a:pt x="1570" y="1424"/>
                  <a:pt x="1570" y="1424"/>
                  <a:pt x="1570" y="1424"/>
                </a:cubicBezTo>
                <a:cubicBezTo>
                  <a:pt x="1570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8AABCA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7" name="Gráfico 426" descr="Análise do cliente com preenchimento sólido">
            <a:extLst>
              <a:ext uri="{FF2B5EF4-FFF2-40B4-BE49-F238E27FC236}">
                <a16:creationId xmlns:a16="http://schemas.microsoft.com/office/drawing/2014/main" id="{4CA941C0-45E4-48D2-A80A-E5C6E802D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9163" y="4225593"/>
            <a:ext cx="851955" cy="848189"/>
          </a:xfrm>
          <a:prstGeom prst="rect">
            <a:avLst/>
          </a:prstGeom>
        </p:spPr>
      </p:pic>
      <p:pic>
        <p:nvPicPr>
          <p:cNvPr id="428" name="Gráfico 427" descr="Apresentação com lista de verificação com preenchimento sólido">
            <a:extLst>
              <a:ext uri="{FF2B5EF4-FFF2-40B4-BE49-F238E27FC236}">
                <a16:creationId xmlns:a16="http://schemas.microsoft.com/office/drawing/2014/main" id="{293E3D97-C3CF-413A-A942-75202E79EA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434" y="4221502"/>
            <a:ext cx="851955" cy="848189"/>
          </a:xfrm>
          <a:prstGeom prst="rect">
            <a:avLst/>
          </a:prstGeom>
        </p:spPr>
      </p:pic>
      <p:sp>
        <p:nvSpPr>
          <p:cNvPr id="429" name="Line 551">
            <a:extLst>
              <a:ext uri="{FF2B5EF4-FFF2-40B4-BE49-F238E27FC236}">
                <a16:creationId xmlns:a16="http://schemas.microsoft.com/office/drawing/2014/main" id="{036000FA-7E43-45DA-963D-2407AF86D98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91884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0" name="Line 552">
            <a:extLst>
              <a:ext uri="{FF2B5EF4-FFF2-40B4-BE49-F238E27FC236}">
                <a16:creationId xmlns:a16="http://schemas.microsoft.com/office/drawing/2014/main" id="{0A8742C1-6B96-46D0-B81A-86F6901140A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713691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1" name="Line 553">
            <a:extLst>
              <a:ext uri="{FF2B5EF4-FFF2-40B4-BE49-F238E27FC236}">
                <a16:creationId xmlns:a16="http://schemas.microsoft.com/office/drawing/2014/main" id="{123518FE-426F-419A-BE07-8B36031F8173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505179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2" name="Line 554">
            <a:extLst>
              <a:ext uri="{FF2B5EF4-FFF2-40B4-BE49-F238E27FC236}">
                <a16:creationId xmlns:a16="http://schemas.microsoft.com/office/drawing/2014/main" id="{0EA0BB59-C4E4-4042-A760-84BC1D215BD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296664" y="7280180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3" name="Line 555">
            <a:extLst>
              <a:ext uri="{FF2B5EF4-FFF2-40B4-BE49-F238E27FC236}">
                <a16:creationId xmlns:a16="http://schemas.microsoft.com/office/drawing/2014/main" id="{A26B4481-C68F-4E41-A208-74C54C5F477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091512" y="7280180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4" name="Line 648">
            <a:extLst>
              <a:ext uri="{FF2B5EF4-FFF2-40B4-BE49-F238E27FC236}">
                <a16:creationId xmlns:a16="http://schemas.microsoft.com/office/drawing/2014/main" id="{E84E94BE-A2CE-4434-9E4B-44DF3FA4A9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148685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5" name="Line 649">
            <a:extLst>
              <a:ext uri="{FF2B5EF4-FFF2-40B4-BE49-F238E27FC236}">
                <a16:creationId xmlns:a16="http://schemas.microsoft.com/office/drawing/2014/main" id="{B0A5A7EE-8140-4D7C-8383-474D2B6B9A8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353836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6" name="Line 650">
            <a:extLst>
              <a:ext uri="{FF2B5EF4-FFF2-40B4-BE49-F238E27FC236}">
                <a16:creationId xmlns:a16="http://schemas.microsoft.com/office/drawing/2014/main" id="{DF5F3856-B351-464F-93B1-63B51A4AE60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562351" y="7280180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7" name="Line 651">
            <a:extLst>
              <a:ext uri="{FF2B5EF4-FFF2-40B4-BE49-F238E27FC236}">
                <a16:creationId xmlns:a16="http://schemas.microsoft.com/office/drawing/2014/main" id="{E4F5D741-4D83-4BA7-A9C6-A26AF3B9E1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767502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8" name="Line 652">
            <a:extLst>
              <a:ext uri="{FF2B5EF4-FFF2-40B4-BE49-F238E27FC236}">
                <a16:creationId xmlns:a16="http://schemas.microsoft.com/office/drawing/2014/main" id="{11B78DA9-5BF0-471E-8A4F-986B14F590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976014" y="7280180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9" name="Freeform 745">
            <a:extLst>
              <a:ext uri="{FF2B5EF4-FFF2-40B4-BE49-F238E27FC236}">
                <a16:creationId xmlns:a16="http://schemas.microsoft.com/office/drawing/2014/main" id="{84BF3944-148B-42A1-A7A9-27B2185139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7522" y="6680843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0" name="Freeform 966">
            <a:extLst>
              <a:ext uri="{FF2B5EF4-FFF2-40B4-BE49-F238E27FC236}">
                <a16:creationId xmlns:a16="http://schemas.microsoft.com/office/drawing/2014/main" id="{0FA8A307-33F5-42B8-944C-8428255AF0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458094" y="6814772"/>
            <a:ext cx="319496" cy="800234"/>
          </a:xfrm>
          <a:custGeom>
            <a:avLst/>
            <a:gdLst>
              <a:gd name="T0" fmla="*/ 122964 w 417"/>
              <a:gd name="T1" fmla="*/ 379052 h 1053"/>
              <a:gd name="T2" fmla="*/ 122964 w 417"/>
              <a:gd name="T3" fmla="*/ 379052 h 1053"/>
              <a:gd name="T4" fmla="*/ 27848 w 417"/>
              <a:gd name="T5" fmla="*/ 379052 h 1053"/>
              <a:gd name="T6" fmla="*/ 15551 w 417"/>
              <a:gd name="T7" fmla="*/ 366801 h 1053"/>
              <a:gd name="T8" fmla="*/ 6148 w 417"/>
              <a:gd name="T9" fmla="*/ 256905 h 1053"/>
              <a:gd name="T10" fmla="*/ 58589 w 417"/>
              <a:gd name="T11" fmla="*/ 21259 h 1053"/>
              <a:gd name="T12" fmla="*/ 64737 w 417"/>
              <a:gd name="T13" fmla="*/ 6125 h 1053"/>
              <a:gd name="T14" fmla="*/ 73779 w 417"/>
              <a:gd name="T15" fmla="*/ 0 h 1053"/>
              <a:gd name="T16" fmla="*/ 73779 w 417"/>
              <a:gd name="T17" fmla="*/ 0 h 1053"/>
              <a:gd name="T18" fmla="*/ 83182 w 417"/>
              <a:gd name="T19" fmla="*/ 6125 h 1053"/>
              <a:gd name="T20" fmla="*/ 86075 w 417"/>
              <a:gd name="T21" fmla="*/ 12251 h 1053"/>
              <a:gd name="T22" fmla="*/ 141409 w 417"/>
              <a:gd name="T23" fmla="*/ 269156 h 1053"/>
              <a:gd name="T24" fmla="*/ 132006 w 417"/>
              <a:gd name="T25" fmla="*/ 269156 h 1053"/>
              <a:gd name="T26" fmla="*/ 141409 w 417"/>
              <a:gd name="T27" fmla="*/ 269156 h 1053"/>
              <a:gd name="T28" fmla="*/ 132006 w 417"/>
              <a:gd name="T29" fmla="*/ 370044 h 1053"/>
              <a:gd name="T30" fmla="*/ 122964 w 417"/>
              <a:gd name="T31" fmla="*/ 379052 h 1053"/>
              <a:gd name="T32" fmla="*/ 36889 w 417"/>
              <a:gd name="T33" fmla="*/ 357793 h 1053"/>
              <a:gd name="T34" fmla="*/ 36889 w 417"/>
              <a:gd name="T35" fmla="*/ 357793 h 1053"/>
              <a:gd name="T36" fmla="*/ 113561 w 417"/>
              <a:gd name="T37" fmla="*/ 357793 h 1053"/>
              <a:gd name="T38" fmla="*/ 122964 w 417"/>
              <a:gd name="T39" fmla="*/ 269156 h 1053"/>
              <a:gd name="T40" fmla="*/ 73779 w 417"/>
              <a:gd name="T41" fmla="*/ 33509 h 1053"/>
              <a:gd name="T42" fmla="*/ 27848 w 417"/>
              <a:gd name="T43" fmla="*/ 253662 h 1053"/>
              <a:gd name="T44" fmla="*/ 36889 w 417"/>
              <a:gd name="T45" fmla="*/ 357793 h 105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17" h="1053">
                <a:moveTo>
                  <a:pt x="340" y="1052"/>
                </a:moveTo>
                <a:lnTo>
                  <a:pt x="340" y="1052"/>
                </a:lnTo>
                <a:cubicBezTo>
                  <a:pt x="77" y="1052"/>
                  <a:pt x="77" y="1052"/>
                  <a:pt x="77" y="1052"/>
                </a:cubicBezTo>
                <a:cubicBezTo>
                  <a:pt x="60" y="1052"/>
                  <a:pt x="43" y="1035"/>
                  <a:pt x="43" y="1018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501"/>
                  <a:pt x="51" y="280"/>
                  <a:pt x="162" y="59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7" y="8"/>
                  <a:pt x="196" y="0"/>
                  <a:pt x="204" y="0"/>
                </a:cubicBezTo>
                <a:cubicBezTo>
                  <a:pt x="213" y="0"/>
                  <a:pt x="230" y="8"/>
                  <a:pt x="230" y="17"/>
                </a:cubicBezTo>
                <a:cubicBezTo>
                  <a:pt x="238" y="34"/>
                  <a:pt x="238" y="34"/>
                  <a:pt x="238" y="34"/>
                </a:cubicBezTo>
                <a:cubicBezTo>
                  <a:pt x="365" y="254"/>
                  <a:pt x="416" y="501"/>
                  <a:pt x="391" y="747"/>
                </a:cubicBezTo>
                <a:cubicBezTo>
                  <a:pt x="365" y="747"/>
                  <a:pt x="365" y="747"/>
                  <a:pt x="365" y="747"/>
                </a:cubicBezTo>
                <a:cubicBezTo>
                  <a:pt x="391" y="747"/>
                  <a:pt x="391" y="747"/>
                  <a:pt x="391" y="747"/>
                </a:cubicBezTo>
                <a:cubicBezTo>
                  <a:pt x="365" y="1027"/>
                  <a:pt x="365" y="1027"/>
                  <a:pt x="365" y="1027"/>
                </a:cubicBezTo>
                <a:cubicBezTo>
                  <a:pt x="365" y="1035"/>
                  <a:pt x="357" y="1052"/>
                  <a:pt x="340" y="1052"/>
                </a:cubicBezTo>
                <a:close/>
                <a:moveTo>
                  <a:pt x="102" y="993"/>
                </a:moveTo>
                <a:lnTo>
                  <a:pt x="102" y="993"/>
                </a:lnTo>
                <a:cubicBezTo>
                  <a:pt x="314" y="993"/>
                  <a:pt x="314" y="993"/>
                  <a:pt x="314" y="993"/>
                </a:cubicBezTo>
                <a:cubicBezTo>
                  <a:pt x="340" y="747"/>
                  <a:pt x="340" y="747"/>
                  <a:pt x="340" y="747"/>
                </a:cubicBezTo>
                <a:cubicBezTo>
                  <a:pt x="357" y="518"/>
                  <a:pt x="314" y="297"/>
                  <a:pt x="204" y="93"/>
                </a:cubicBezTo>
                <a:cubicBezTo>
                  <a:pt x="102" y="297"/>
                  <a:pt x="60" y="501"/>
                  <a:pt x="77" y="704"/>
                </a:cubicBezTo>
                <a:lnTo>
                  <a:pt x="102" y="99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1" name="Freeform 967">
            <a:extLst>
              <a:ext uri="{FF2B5EF4-FFF2-40B4-BE49-F238E27FC236}">
                <a16:creationId xmlns:a16="http://schemas.microsoft.com/office/drawing/2014/main" id="{318E693C-FF7B-45C1-A48E-79C090D4C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690147" y="7397371"/>
            <a:ext cx="161430" cy="348220"/>
          </a:xfrm>
          <a:custGeom>
            <a:avLst/>
            <a:gdLst>
              <a:gd name="T0" fmla="*/ 66899 w 213"/>
              <a:gd name="T1" fmla="*/ 164740 h 458"/>
              <a:gd name="T2" fmla="*/ 66899 w 213"/>
              <a:gd name="T3" fmla="*/ 164740 h 458"/>
              <a:gd name="T4" fmla="*/ 57597 w 213"/>
              <a:gd name="T5" fmla="*/ 161495 h 458"/>
              <a:gd name="T6" fmla="*/ 2862 w 213"/>
              <a:gd name="T7" fmla="*/ 94806 h 458"/>
              <a:gd name="T8" fmla="*/ 6082 w 213"/>
              <a:gd name="T9" fmla="*/ 79306 h 458"/>
              <a:gd name="T10" fmla="*/ 21107 w 213"/>
              <a:gd name="T11" fmla="*/ 79306 h 458"/>
              <a:gd name="T12" fmla="*/ 54735 w 213"/>
              <a:gd name="T13" fmla="*/ 125447 h 458"/>
              <a:gd name="T14" fmla="*/ 54735 w 213"/>
              <a:gd name="T15" fmla="*/ 107063 h 458"/>
              <a:gd name="T16" fmla="*/ 8944 w 213"/>
              <a:gd name="T17" fmla="*/ 18024 h 458"/>
              <a:gd name="T18" fmla="*/ 15025 w 213"/>
              <a:gd name="T19" fmla="*/ 2884 h 458"/>
              <a:gd name="T20" fmla="*/ 27189 w 213"/>
              <a:gd name="T21" fmla="*/ 9012 h 458"/>
              <a:gd name="T22" fmla="*/ 75842 w 213"/>
              <a:gd name="T23" fmla="*/ 100934 h 458"/>
              <a:gd name="T24" fmla="*/ 75842 w 213"/>
              <a:gd name="T25" fmla="*/ 103818 h 458"/>
              <a:gd name="T26" fmla="*/ 75842 w 213"/>
              <a:gd name="T27" fmla="*/ 155728 h 458"/>
              <a:gd name="T28" fmla="*/ 69761 w 213"/>
              <a:gd name="T29" fmla="*/ 164740 h 458"/>
              <a:gd name="T30" fmla="*/ 66899 w 213"/>
              <a:gd name="T31" fmla="*/ 164740 h 4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13" h="458">
                <a:moveTo>
                  <a:pt x="187" y="457"/>
                </a:moveTo>
                <a:lnTo>
                  <a:pt x="187" y="457"/>
                </a:lnTo>
                <a:cubicBezTo>
                  <a:pt x="178" y="457"/>
                  <a:pt x="170" y="457"/>
                  <a:pt x="161" y="448"/>
                </a:cubicBezTo>
                <a:cubicBezTo>
                  <a:pt x="8" y="263"/>
                  <a:pt x="8" y="263"/>
                  <a:pt x="8" y="263"/>
                </a:cubicBezTo>
                <a:cubicBezTo>
                  <a:pt x="0" y="246"/>
                  <a:pt x="8" y="229"/>
                  <a:pt x="17" y="220"/>
                </a:cubicBezTo>
                <a:cubicBezTo>
                  <a:pt x="25" y="212"/>
                  <a:pt x="51" y="212"/>
                  <a:pt x="59" y="220"/>
                </a:cubicBezTo>
                <a:cubicBezTo>
                  <a:pt x="153" y="348"/>
                  <a:pt x="153" y="348"/>
                  <a:pt x="153" y="348"/>
                </a:cubicBezTo>
                <a:cubicBezTo>
                  <a:pt x="153" y="297"/>
                  <a:pt x="153" y="297"/>
                  <a:pt x="153" y="297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34"/>
                  <a:pt x="25" y="17"/>
                  <a:pt x="42" y="8"/>
                </a:cubicBezTo>
                <a:cubicBezTo>
                  <a:pt x="59" y="0"/>
                  <a:pt x="76" y="8"/>
                  <a:pt x="76" y="25"/>
                </a:cubicBezTo>
                <a:cubicBezTo>
                  <a:pt x="212" y="280"/>
                  <a:pt x="212" y="280"/>
                  <a:pt x="212" y="280"/>
                </a:cubicBezTo>
                <a:lnTo>
                  <a:pt x="212" y="288"/>
                </a:lnTo>
                <a:cubicBezTo>
                  <a:pt x="212" y="432"/>
                  <a:pt x="212" y="432"/>
                  <a:pt x="212" y="432"/>
                </a:cubicBezTo>
                <a:cubicBezTo>
                  <a:pt x="212" y="440"/>
                  <a:pt x="204" y="448"/>
                  <a:pt x="195" y="457"/>
                </a:cubicBezTo>
                <a:cubicBezTo>
                  <a:pt x="187" y="457"/>
                  <a:pt x="187" y="457"/>
                  <a:pt x="187" y="457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2" name="Freeform 968">
            <a:extLst>
              <a:ext uri="{FF2B5EF4-FFF2-40B4-BE49-F238E27FC236}">
                <a16:creationId xmlns:a16="http://schemas.microsoft.com/office/drawing/2014/main" id="{B65F1AA9-E852-4BF4-8125-BAB18721D1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387466" y="7400718"/>
            <a:ext cx="147978" cy="341523"/>
          </a:xfrm>
          <a:custGeom>
            <a:avLst/>
            <a:gdLst>
              <a:gd name="T0" fmla="*/ 8909 w 196"/>
              <a:gd name="T1" fmla="*/ 161565 h 450"/>
              <a:gd name="T2" fmla="*/ 8909 w 196"/>
              <a:gd name="T3" fmla="*/ 161565 h 450"/>
              <a:gd name="T4" fmla="*/ 6058 w 196"/>
              <a:gd name="T5" fmla="*/ 161565 h 450"/>
              <a:gd name="T6" fmla="*/ 0 w 196"/>
              <a:gd name="T7" fmla="*/ 152569 h 450"/>
              <a:gd name="T8" fmla="*/ 0 w 196"/>
              <a:gd name="T9" fmla="*/ 100753 h 450"/>
              <a:gd name="T10" fmla="*/ 0 w 196"/>
              <a:gd name="T11" fmla="*/ 97875 h 450"/>
              <a:gd name="T12" fmla="*/ 45260 w 196"/>
              <a:gd name="T13" fmla="*/ 9356 h 450"/>
              <a:gd name="T14" fmla="*/ 57377 w 196"/>
              <a:gd name="T15" fmla="*/ 3239 h 450"/>
              <a:gd name="T16" fmla="*/ 63435 w 196"/>
              <a:gd name="T17" fmla="*/ 18352 h 450"/>
              <a:gd name="T18" fmla="*/ 18175 w 196"/>
              <a:gd name="T19" fmla="*/ 103992 h 450"/>
              <a:gd name="T20" fmla="*/ 18175 w 196"/>
              <a:gd name="T21" fmla="*/ 122343 h 450"/>
              <a:gd name="T22" fmla="*/ 51318 w 196"/>
              <a:gd name="T23" fmla="*/ 82402 h 450"/>
              <a:gd name="T24" fmla="*/ 63435 w 196"/>
              <a:gd name="T25" fmla="*/ 79523 h 450"/>
              <a:gd name="T26" fmla="*/ 66643 w 196"/>
              <a:gd name="T27" fmla="*/ 94636 h 450"/>
              <a:gd name="T28" fmla="*/ 18175 w 196"/>
              <a:gd name="T29" fmla="*/ 158327 h 450"/>
              <a:gd name="T30" fmla="*/ 8909 w 196"/>
              <a:gd name="T31" fmla="*/ 161565 h 4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6" h="450">
                <a:moveTo>
                  <a:pt x="25" y="449"/>
                </a:moveTo>
                <a:lnTo>
                  <a:pt x="25" y="449"/>
                </a:lnTo>
                <a:lnTo>
                  <a:pt x="17" y="449"/>
                </a:lnTo>
                <a:cubicBezTo>
                  <a:pt x="8" y="440"/>
                  <a:pt x="0" y="432"/>
                  <a:pt x="0" y="424"/>
                </a:cubicBezTo>
                <a:cubicBezTo>
                  <a:pt x="0" y="280"/>
                  <a:pt x="0" y="280"/>
                  <a:pt x="0" y="280"/>
                </a:cubicBezTo>
                <a:lnTo>
                  <a:pt x="0" y="272"/>
                </a:lnTo>
                <a:cubicBezTo>
                  <a:pt x="127" y="26"/>
                  <a:pt x="127" y="26"/>
                  <a:pt x="127" y="26"/>
                </a:cubicBezTo>
                <a:cubicBezTo>
                  <a:pt x="127" y="9"/>
                  <a:pt x="144" y="0"/>
                  <a:pt x="161" y="9"/>
                </a:cubicBezTo>
                <a:cubicBezTo>
                  <a:pt x="178" y="17"/>
                  <a:pt x="178" y="34"/>
                  <a:pt x="178" y="51"/>
                </a:cubicBezTo>
                <a:cubicBezTo>
                  <a:pt x="51" y="289"/>
                  <a:pt x="51" y="289"/>
                  <a:pt x="51" y="289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144" y="229"/>
                  <a:pt x="144" y="229"/>
                  <a:pt x="144" y="229"/>
                </a:cubicBezTo>
                <a:cubicBezTo>
                  <a:pt x="153" y="212"/>
                  <a:pt x="170" y="212"/>
                  <a:pt x="178" y="221"/>
                </a:cubicBezTo>
                <a:cubicBezTo>
                  <a:pt x="195" y="238"/>
                  <a:pt x="195" y="255"/>
                  <a:pt x="187" y="263"/>
                </a:cubicBezTo>
                <a:cubicBezTo>
                  <a:pt x="51" y="440"/>
                  <a:pt x="51" y="440"/>
                  <a:pt x="51" y="440"/>
                </a:cubicBezTo>
                <a:cubicBezTo>
                  <a:pt x="42" y="449"/>
                  <a:pt x="34" y="449"/>
                  <a:pt x="25" y="449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3" name="Freeform 969">
            <a:extLst>
              <a:ext uri="{FF2B5EF4-FFF2-40B4-BE49-F238E27FC236}">
                <a16:creationId xmlns:a16="http://schemas.microsoft.com/office/drawing/2014/main" id="{BF2A7272-F818-4738-984B-B5409FB1C7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48896" y="7568129"/>
            <a:ext cx="137890" cy="83708"/>
          </a:xfrm>
          <a:custGeom>
            <a:avLst/>
            <a:gdLst>
              <a:gd name="T0" fmla="*/ 55325 w 180"/>
              <a:gd name="T1" fmla="*/ 39330 h 111"/>
              <a:gd name="T2" fmla="*/ 55325 w 180"/>
              <a:gd name="T3" fmla="*/ 39330 h 111"/>
              <a:gd name="T4" fmla="*/ 9402 w 180"/>
              <a:gd name="T5" fmla="*/ 39330 h 111"/>
              <a:gd name="T6" fmla="*/ 0 w 180"/>
              <a:gd name="T7" fmla="*/ 30392 h 111"/>
              <a:gd name="T8" fmla="*/ 0 w 180"/>
              <a:gd name="T9" fmla="*/ 8939 h 111"/>
              <a:gd name="T10" fmla="*/ 9402 w 180"/>
              <a:gd name="T11" fmla="*/ 0 h 111"/>
              <a:gd name="T12" fmla="*/ 55325 w 180"/>
              <a:gd name="T13" fmla="*/ 0 h 111"/>
              <a:gd name="T14" fmla="*/ 64726 w 180"/>
              <a:gd name="T15" fmla="*/ 8939 h 111"/>
              <a:gd name="T16" fmla="*/ 64726 w 180"/>
              <a:gd name="T17" fmla="*/ 30392 h 111"/>
              <a:gd name="T18" fmla="*/ 55325 w 180"/>
              <a:gd name="T19" fmla="*/ 39330 h 111"/>
              <a:gd name="T20" fmla="*/ 18442 w 180"/>
              <a:gd name="T21" fmla="*/ 21095 h 111"/>
              <a:gd name="T22" fmla="*/ 18442 w 180"/>
              <a:gd name="T23" fmla="*/ 21095 h 111"/>
              <a:gd name="T24" fmla="*/ 45923 w 180"/>
              <a:gd name="T25" fmla="*/ 21095 h 111"/>
              <a:gd name="T26" fmla="*/ 45923 w 180"/>
              <a:gd name="T27" fmla="*/ 21095 h 111"/>
              <a:gd name="T28" fmla="*/ 18442 w 180"/>
              <a:gd name="T29" fmla="*/ 21095 h 11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0" h="111">
                <a:moveTo>
                  <a:pt x="153" y="110"/>
                </a:moveTo>
                <a:lnTo>
                  <a:pt x="153" y="110"/>
                </a:lnTo>
                <a:cubicBezTo>
                  <a:pt x="26" y="110"/>
                  <a:pt x="26" y="110"/>
                  <a:pt x="26" y="110"/>
                </a:cubicBezTo>
                <a:cubicBezTo>
                  <a:pt x="9" y="110"/>
                  <a:pt x="0" y="102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70" y="0"/>
                  <a:pt x="179" y="8"/>
                  <a:pt x="179" y="25"/>
                </a:cubicBezTo>
                <a:cubicBezTo>
                  <a:pt x="179" y="85"/>
                  <a:pt x="179" y="85"/>
                  <a:pt x="179" y="85"/>
                </a:cubicBezTo>
                <a:cubicBezTo>
                  <a:pt x="179" y="102"/>
                  <a:pt x="170" y="110"/>
                  <a:pt x="153" y="110"/>
                </a:cubicBezTo>
                <a:close/>
                <a:moveTo>
                  <a:pt x="51" y="59"/>
                </a:moveTo>
                <a:lnTo>
                  <a:pt x="51" y="59"/>
                </a:lnTo>
                <a:cubicBezTo>
                  <a:pt x="127" y="59"/>
                  <a:pt x="127" y="59"/>
                  <a:pt x="127" y="59"/>
                </a:cubicBezTo>
                <a:cubicBezTo>
                  <a:pt x="51" y="59"/>
                  <a:pt x="51" y="59"/>
                  <a:pt x="51" y="59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4" name="Freeform 970">
            <a:extLst>
              <a:ext uri="{FF2B5EF4-FFF2-40B4-BE49-F238E27FC236}">
                <a16:creationId xmlns:a16="http://schemas.microsoft.com/office/drawing/2014/main" id="{6C5E4509-8C8D-414C-88C5-5798DB3879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55622" y="7052498"/>
            <a:ext cx="124437" cy="123887"/>
          </a:xfrm>
          <a:custGeom>
            <a:avLst/>
            <a:gdLst>
              <a:gd name="T0" fmla="*/ 30819 w 162"/>
              <a:gd name="T1" fmla="*/ 58375 h 162"/>
              <a:gd name="T2" fmla="*/ 30819 w 162"/>
              <a:gd name="T3" fmla="*/ 58375 h 162"/>
              <a:gd name="T4" fmla="*/ 0 w 162"/>
              <a:gd name="T5" fmla="*/ 27556 h 162"/>
              <a:gd name="T6" fmla="*/ 30819 w 162"/>
              <a:gd name="T7" fmla="*/ 0 h 162"/>
              <a:gd name="T8" fmla="*/ 58375 w 162"/>
              <a:gd name="T9" fmla="*/ 27556 h 162"/>
              <a:gd name="T10" fmla="*/ 30819 w 162"/>
              <a:gd name="T11" fmla="*/ 58375 h 162"/>
              <a:gd name="T12" fmla="*/ 30819 w 162"/>
              <a:gd name="T13" fmla="*/ 18492 h 162"/>
              <a:gd name="T14" fmla="*/ 30819 w 162"/>
              <a:gd name="T15" fmla="*/ 18492 h 162"/>
              <a:gd name="T16" fmla="*/ 18492 w 162"/>
              <a:gd name="T17" fmla="*/ 27556 h 162"/>
              <a:gd name="T18" fmla="*/ 30819 w 162"/>
              <a:gd name="T19" fmla="*/ 39884 h 162"/>
              <a:gd name="T20" fmla="*/ 39884 w 162"/>
              <a:gd name="T21" fmla="*/ 27556 h 162"/>
              <a:gd name="T22" fmla="*/ 30819 w 162"/>
              <a:gd name="T23" fmla="*/ 18492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2" h="162">
                <a:moveTo>
                  <a:pt x="85" y="161"/>
                </a:moveTo>
                <a:lnTo>
                  <a:pt x="85" y="161"/>
                </a:lnTo>
                <a:cubicBezTo>
                  <a:pt x="34" y="161"/>
                  <a:pt x="0" y="127"/>
                  <a:pt x="0" y="76"/>
                </a:cubicBezTo>
                <a:cubicBezTo>
                  <a:pt x="0" y="34"/>
                  <a:pt x="34" y="0"/>
                  <a:pt x="85" y="0"/>
                </a:cubicBezTo>
                <a:cubicBezTo>
                  <a:pt x="127" y="0"/>
                  <a:pt x="161" y="34"/>
                  <a:pt x="161" y="76"/>
                </a:cubicBezTo>
                <a:cubicBezTo>
                  <a:pt x="161" y="127"/>
                  <a:pt x="127" y="161"/>
                  <a:pt x="85" y="161"/>
                </a:cubicBezTo>
                <a:close/>
                <a:moveTo>
                  <a:pt x="85" y="51"/>
                </a:moveTo>
                <a:lnTo>
                  <a:pt x="85" y="51"/>
                </a:lnTo>
                <a:cubicBezTo>
                  <a:pt x="68" y="51"/>
                  <a:pt x="51" y="68"/>
                  <a:pt x="51" y="76"/>
                </a:cubicBezTo>
                <a:cubicBezTo>
                  <a:pt x="51" y="93"/>
                  <a:pt x="68" y="110"/>
                  <a:pt x="85" y="110"/>
                </a:cubicBezTo>
                <a:cubicBezTo>
                  <a:pt x="93" y="110"/>
                  <a:pt x="110" y="93"/>
                  <a:pt x="110" y="76"/>
                </a:cubicBezTo>
                <a:cubicBezTo>
                  <a:pt x="110" y="68"/>
                  <a:pt x="93" y="51"/>
                  <a:pt x="85" y="51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5" name="Freeform 971">
            <a:extLst>
              <a:ext uri="{FF2B5EF4-FFF2-40B4-BE49-F238E27FC236}">
                <a16:creationId xmlns:a16="http://schemas.microsoft.com/office/drawing/2014/main" id="{C5694439-A9C1-4665-8ABB-C32C0DD8B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92617" y="7407412"/>
            <a:ext cx="47083" cy="334827"/>
          </a:xfrm>
          <a:custGeom>
            <a:avLst/>
            <a:gdLst>
              <a:gd name="T0" fmla="*/ 9260 w 60"/>
              <a:gd name="T1" fmla="*/ 158390 h 441"/>
              <a:gd name="T2" fmla="*/ 9260 w 60"/>
              <a:gd name="T3" fmla="*/ 158390 h 441"/>
              <a:gd name="T4" fmla="*/ 0 w 60"/>
              <a:gd name="T5" fmla="*/ 149391 h 441"/>
              <a:gd name="T6" fmla="*/ 0 w 60"/>
              <a:gd name="T7" fmla="*/ 8999 h 441"/>
              <a:gd name="T8" fmla="*/ 9260 w 60"/>
              <a:gd name="T9" fmla="*/ 0 h 441"/>
              <a:gd name="T10" fmla="*/ 21855 w 60"/>
              <a:gd name="T11" fmla="*/ 8999 h 441"/>
              <a:gd name="T12" fmla="*/ 21855 w 60"/>
              <a:gd name="T13" fmla="*/ 149391 h 441"/>
              <a:gd name="T14" fmla="*/ 9260 w 60"/>
              <a:gd name="T15" fmla="*/ 158390 h 4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0" h="441">
                <a:moveTo>
                  <a:pt x="25" y="440"/>
                </a:moveTo>
                <a:lnTo>
                  <a:pt x="25" y="440"/>
                </a:lnTo>
                <a:cubicBezTo>
                  <a:pt x="17" y="440"/>
                  <a:pt x="0" y="431"/>
                  <a:pt x="0" y="4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17" y="0"/>
                  <a:pt x="25" y="0"/>
                </a:cubicBezTo>
                <a:cubicBezTo>
                  <a:pt x="42" y="0"/>
                  <a:pt x="59" y="8"/>
                  <a:pt x="59" y="25"/>
                </a:cubicBezTo>
                <a:cubicBezTo>
                  <a:pt x="59" y="415"/>
                  <a:pt x="59" y="415"/>
                  <a:pt x="59" y="415"/>
                </a:cubicBezTo>
                <a:cubicBezTo>
                  <a:pt x="59" y="431"/>
                  <a:pt x="42" y="440"/>
                  <a:pt x="25" y="440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3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34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46" name="Gráfico 445" descr="Aperto de mão com preenchimento sólido">
            <a:extLst>
              <a:ext uri="{FF2B5EF4-FFF2-40B4-BE49-F238E27FC236}">
                <a16:creationId xmlns:a16="http://schemas.microsoft.com/office/drawing/2014/main" id="{6F55FA37-6204-4165-90A9-D0143AB983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85633" y="1674421"/>
            <a:ext cx="988700" cy="984331"/>
          </a:xfrm>
          <a:prstGeom prst="rect">
            <a:avLst/>
          </a:prstGeom>
        </p:spPr>
      </p:pic>
      <p:grpSp>
        <p:nvGrpSpPr>
          <p:cNvPr id="447" name="Agrupar 446">
            <a:extLst>
              <a:ext uri="{FF2B5EF4-FFF2-40B4-BE49-F238E27FC236}">
                <a16:creationId xmlns:a16="http://schemas.microsoft.com/office/drawing/2014/main" id="{08D28F02-F404-4873-AE71-671FC4960EF0}"/>
              </a:ext>
            </a:extLst>
          </p:cNvPr>
          <p:cNvGrpSpPr/>
          <p:nvPr userDrawn="1"/>
        </p:nvGrpSpPr>
        <p:grpSpPr>
          <a:xfrm>
            <a:off x="8008212" y="1469505"/>
            <a:ext cx="1197273" cy="1191982"/>
            <a:chOff x="12445208" y="734178"/>
            <a:chExt cx="810923" cy="810923"/>
          </a:xfrm>
        </p:grpSpPr>
        <p:sp>
          <p:nvSpPr>
            <p:cNvPr id="448" name="Freeform 741">
              <a:extLst>
                <a:ext uri="{FF2B5EF4-FFF2-40B4-BE49-F238E27FC236}">
                  <a16:creationId xmlns:a16="http://schemas.microsoft.com/office/drawing/2014/main" id="{D425A1DB-BDC9-4D91-9A2E-88AACE4B9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5208" y="734178"/>
              <a:ext cx="810923" cy="810923"/>
            </a:xfrm>
            <a:custGeom>
              <a:avLst/>
              <a:gdLst>
                <a:gd name="T0" fmla="*/ 510075 w 1570"/>
                <a:gd name="T1" fmla="*/ 564790 h 1571"/>
                <a:gd name="T2" fmla="*/ 510075 w 1570"/>
                <a:gd name="T3" fmla="*/ 564790 h 1571"/>
                <a:gd name="T4" fmla="*/ 52195 w 1570"/>
                <a:gd name="T5" fmla="*/ 564790 h 1571"/>
                <a:gd name="T6" fmla="*/ 0 w 1570"/>
                <a:gd name="T7" fmla="*/ 509750 h 1571"/>
                <a:gd name="T8" fmla="*/ 0 w 1570"/>
                <a:gd name="T9" fmla="*/ 55040 h 1571"/>
                <a:gd name="T10" fmla="*/ 52195 w 1570"/>
                <a:gd name="T11" fmla="*/ 0 h 1571"/>
                <a:gd name="T12" fmla="*/ 510075 w 1570"/>
                <a:gd name="T13" fmla="*/ 0 h 1571"/>
                <a:gd name="T14" fmla="*/ 564790 w 1570"/>
                <a:gd name="T15" fmla="*/ 55040 h 1571"/>
                <a:gd name="T16" fmla="*/ 564790 w 1570"/>
                <a:gd name="T17" fmla="*/ 509750 h 1571"/>
                <a:gd name="T18" fmla="*/ 510075 w 1570"/>
                <a:gd name="T19" fmla="*/ 564790 h 15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70" h="1571">
                  <a:moveTo>
                    <a:pt x="1417" y="1570"/>
                  </a:moveTo>
                  <a:lnTo>
                    <a:pt x="1417" y="1570"/>
                  </a:lnTo>
                  <a:cubicBezTo>
                    <a:pt x="145" y="1570"/>
                    <a:pt x="145" y="1570"/>
                    <a:pt x="145" y="1570"/>
                  </a:cubicBezTo>
                  <a:cubicBezTo>
                    <a:pt x="68" y="1570"/>
                    <a:pt x="0" y="1502"/>
                    <a:pt x="0" y="141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68"/>
                    <a:pt x="68" y="0"/>
                    <a:pt x="145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502" y="0"/>
                    <a:pt x="1569" y="68"/>
                    <a:pt x="1569" y="153"/>
                  </a:cubicBezTo>
                  <a:cubicBezTo>
                    <a:pt x="1569" y="1417"/>
                    <a:pt x="1569" y="1417"/>
                    <a:pt x="1569" y="1417"/>
                  </a:cubicBezTo>
                  <a:cubicBezTo>
                    <a:pt x="1569" y="1502"/>
                    <a:pt x="1502" y="1570"/>
                    <a:pt x="1417" y="1570"/>
                  </a:cubicBezTo>
                </a:path>
              </a:pathLst>
            </a:custGeom>
            <a:solidFill>
              <a:srgbClr val="FFFFFF"/>
            </a:solidFill>
            <a:ln w="38100" cap="flat">
              <a:solidFill>
                <a:srgbClr val="8AABCA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337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34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pic>
          <p:nvPicPr>
            <p:cNvPr id="449" name="Gráfico 448" descr="Sementes brotando com preenchimento sólido">
              <a:extLst>
                <a:ext uri="{FF2B5EF4-FFF2-40B4-BE49-F238E27FC236}">
                  <a16:creationId xmlns:a16="http://schemas.microsoft.com/office/drawing/2014/main" id="{8BBE1393-B066-4A26-9802-74539168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491024" y="745537"/>
              <a:ext cx="732960" cy="732960"/>
            </a:xfrm>
            <a:prstGeom prst="rect">
              <a:avLst/>
            </a:prstGeom>
          </p:spPr>
        </p:pic>
      </p:grpSp>
      <p:pic>
        <p:nvPicPr>
          <p:cNvPr id="450" name="Gráfico 449" descr="Reunião com preenchimento sólido">
            <a:extLst>
              <a:ext uri="{FF2B5EF4-FFF2-40B4-BE49-F238E27FC236}">
                <a16:creationId xmlns:a16="http://schemas.microsoft.com/office/drawing/2014/main" id="{5768EC7E-B931-4C08-ABA0-F648AE4111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91665" y="1647232"/>
            <a:ext cx="874159" cy="870295"/>
          </a:xfrm>
          <a:prstGeom prst="rect">
            <a:avLst/>
          </a:prstGeom>
        </p:spPr>
      </p:pic>
      <p:pic>
        <p:nvPicPr>
          <p:cNvPr id="451" name="Imagem 450">
            <a:extLst>
              <a:ext uri="{FF2B5EF4-FFF2-40B4-BE49-F238E27FC236}">
                <a16:creationId xmlns:a16="http://schemas.microsoft.com/office/drawing/2014/main" id="{F7D2F15D-932C-471B-B9AA-B115EABA7AB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9742" y="9162644"/>
            <a:ext cx="2198950" cy="6343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2" name="Espaço Reservado para Conteúdo 2">
            <a:extLst>
              <a:ext uri="{FF2B5EF4-FFF2-40B4-BE49-F238E27FC236}">
                <a16:creationId xmlns:a16="http://schemas.microsoft.com/office/drawing/2014/main" id="{5F6FE98F-4F92-4B5C-BEFC-D4A9F4D63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2409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3" name="Espaço Reservado para Conteúdo 2">
            <a:extLst>
              <a:ext uri="{FF2B5EF4-FFF2-40B4-BE49-F238E27FC236}">
                <a16:creationId xmlns:a16="http://schemas.microsoft.com/office/drawing/2014/main" id="{F73C517F-BE08-4C22-8E46-C737249F842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285017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4" name="Espaço Reservado para Conteúdo 2">
            <a:extLst>
              <a:ext uri="{FF2B5EF4-FFF2-40B4-BE49-F238E27FC236}">
                <a16:creationId xmlns:a16="http://schemas.microsoft.com/office/drawing/2014/main" id="{AEE5D094-F050-4211-9E7D-9101EC64725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436706" y="8438802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5" name="Espaço Reservado para Conteúdo 2">
            <a:extLst>
              <a:ext uri="{FF2B5EF4-FFF2-40B4-BE49-F238E27FC236}">
                <a16:creationId xmlns:a16="http://schemas.microsoft.com/office/drawing/2014/main" id="{7AFEFE9E-5F00-471C-9F1F-407B24D96E1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3072911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6" name="Espaço Reservado para Conteúdo 2">
            <a:extLst>
              <a:ext uri="{FF2B5EF4-FFF2-40B4-BE49-F238E27FC236}">
                <a16:creationId xmlns:a16="http://schemas.microsoft.com/office/drawing/2014/main" id="{CFCCF986-0667-465D-B0BA-0AD74A493C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0165519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7" name="Espaço Reservado para Conteúdo 2">
            <a:extLst>
              <a:ext uri="{FF2B5EF4-FFF2-40B4-BE49-F238E27FC236}">
                <a16:creationId xmlns:a16="http://schemas.microsoft.com/office/drawing/2014/main" id="{44894242-CE24-4CC7-B27A-6EE5AF4B1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7208" y="5783351"/>
            <a:ext cx="2629108" cy="579005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57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L="0" lvl="0" algn="ctr" defTabSz="1337846"/>
            <a:r>
              <a:rPr lang="pt-BR"/>
              <a:t>Clique para editar os estilos de texto Mestres</a:t>
            </a:r>
          </a:p>
        </p:txBody>
      </p:sp>
      <p:sp>
        <p:nvSpPr>
          <p:cNvPr id="458" name="Espaço Reservado para Conteúdo 2">
            <a:extLst>
              <a:ext uri="{FF2B5EF4-FFF2-40B4-BE49-F238E27FC236}">
                <a16:creationId xmlns:a16="http://schemas.microsoft.com/office/drawing/2014/main" id="{A66E5C75-438F-401E-A0FF-03C647D6413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267160" y="5595639"/>
            <a:ext cx="4050149" cy="648767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pt-BR" sz="2342" dirty="0" smtClean="0">
                <a:solidFill>
                  <a:schemeClr val="bg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7138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449402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m_Som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5">
            <a:extLst>
              <a:ext uri="{FF2B5EF4-FFF2-40B4-BE49-F238E27FC236}">
                <a16:creationId xmlns:a16="http://schemas.microsoft.com/office/drawing/2014/main" id="{B002C482-A3E0-4CFC-905A-FAAE5373B20B}"/>
              </a:ext>
            </a:extLst>
          </p:cNvPr>
          <p:cNvSpPr/>
          <p:nvPr userDrawn="1"/>
        </p:nvSpPr>
        <p:spPr>
          <a:xfrm>
            <a:off x="5338271" y="1889351"/>
            <a:ext cx="7019975" cy="6855167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34"/>
          </a:p>
        </p:txBody>
      </p:sp>
      <p:sp>
        <p:nvSpPr>
          <p:cNvPr id="7" name="Rounded Rectangular Callout 151">
            <a:extLst>
              <a:ext uri="{FF2B5EF4-FFF2-40B4-BE49-F238E27FC236}">
                <a16:creationId xmlns:a16="http://schemas.microsoft.com/office/drawing/2014/main" id="{505FC901-74FC-4A9F-AE10-427CB07CBDCE}"/>
              </a:ext>
            </a:extLst>
          </p:cNvPr>
          <p:cNvSpPr/>
          <p:nvPr userDrawn="1"/>
        </p:nvSpPr>
        <p:spPr>
          <a:xfrm flipH="1">
            <a:off x="1931865" y="2294757"/>
            <a:ext cx="5581424" cy="1740360"/>
          </a:xfrm>
          <a:prstGeom prst="wedgeRoundRectCallout">
            <a:avLst>
              <a:gd name="adj1" fmla="val -64283"/>
              <a:gd name="adj2" fmla="val 4034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4148E2DE-AEFB-41E1-B36D-5BEE64BAC034}"/>
              </a:ext>
            </a:extLst>
          </p:cNvPr>
          <p:cNvGrpSpPr/>
          <p:nvPr userDrawn="1"/>
        </p:nvGrpSpPr>
        <p:grpSpPr>
          <a:xfrm rot="5400000">
            <a:off x="6838232" y="2467517"/>
            <a:ext cx="4077883" cy="5596623"/>
            <a:chOff x="3471863" y="4257675"/>
            <a:chExt cx="528637" cy="722313"/>
          </a:xfrm>
        </p:grpSpPr>
        <p:sp>
          <p:nvSpPr>
            <p:cNvPr id="9" name="Freeform 316">
              <a:extLst>
                <a:ext uri="{FF2B5EF4-FFF2-40B4-BE49-F238E27FC236}">
                  <a16:creationId xmlns:a16="http://schemas.microsoft.com/office/drawing/2014/main" id="{018DD262-AF02-4483-AA2D-77AFEE74A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805363"/>
              <a:ext cx="130175" cy="95250"/>
            </a:xfrm>
            <a:custGeom>
              <a:avLst/>
              <a:gdLst>
                <a:gd name="T0" fmla="*/ 0 w 363"/>
                <a:gd name="T1" fmla="*/ 0 h 263"/>
                <a:gd name="T2" fmla="*/ 362 w 363"/>
                <a:gd name="T3" fmla="*/ 0 h 263"/>
                <a:gd name="T4" fmla="*/ 362 w 363"/>
                <a:gd name="T5" fmla="*/ 262 h 263"/>
                <a:gd name="T6" fmla="*/ 0 w 363"/>
                <a:gd name="T7" fmla="*/ 262 h 263"/>
                <a:gd name="T8" fmla="*/ 0 w 363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63">
                  <a:moveTo>
                    <a:pt x="0" y="0"/>
                  </a:moveTo>
                  <a:lnTo>
                    <a:pt x="362" y="0"/>
                  </a:lnTo>
                  <a:lnTo>
                    <a:pt x="362" y="262"/>
                  </a:lnTo>
                  <a:lnTo>
                    <a:pt x="0" y="262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:a16="http://schemas.microsoft.com/office/drawing/2014/main" id="{94A4C75F-E6C8-42FD-98ED-15C632F63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338638"/>
              <a:ext cx="130175" cy="98425"/>
            </a:xfrm>
            <a:custGeom>
              <a:avLst/>
              <a:gdLst>
                <a:gd name="T0" fmla="*/ 0 w 363"/>
                <a:gd name="T1" fmla="*/ 0 h 275"/>
                <a:gd name="T2" fmla="*/ 362 w 363"/>
                <a:gd name="T3" fmla="*/ 0 h 275"/>
                <a:gd name="T4" fmla="*/ 362 w 363"/>
                <a:gd name="T5" fmla="*/ 274 h 275"/>
                <a:gd name="T6" fmla="*/ 0 w 363"/>
                <a:gd name="T7" fmla="*/ 274 h 275"/>
                <a:gd name="T8" fmla="*/ 0 w 363"/>
                <a:gd name="T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0" y="0"/>
                  </a:moveTo>
                  <a:lnTo>
                    <a:pt x="362" y="0"/>
                  </a:lnTo>
                  <a:lnTo>
                    <a:pt x="362" y="274"/>
                  </a:lnTo>
                  <a:lnTo>
                    <a:pt x="0" y="274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1" name="Freeform 319">
              <a:extLst>
                <a:ext uri="{FF2B5EF4-FFF2-40B4-BE49-F238E27FC236}">
                  <a16:creationId xmlns:a16="http://schemas.microsoft.com/office/drawing/2014/main" id="{EE42F1CC-1FB4-4B60-B560-93702AA0A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4557713"/>
              <a:ext cx="125412" cy="122237"/>
            </a:xfrm>
            <a:custGeom>
              <a:avLst/>
              <a:gdLst>
                <a:gd name="T0" fmla="*/ 0 w 350"/>
                <a:gd name="T1" fmla="*/ 0 h 338"/>
                <a:gd name="T2" fmla="*/ 349 w 350"/>
                <a:gd name="T3" fmla="*/ 0 h 338"/>
                <a:gd name="T4" fmla="*/ 349 w 350"/>
                <a:gd name="T5" fmla="*/ 337 h 338"/>
                <a:gd name="T6" fmla="*/ 0 w 350"/>
                <a:gd name="T7" fmla="*/ 337 h 338"/>
                <a:gd name="T8" fmla="*/ 0 w 350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38">
                  <a:moveTo>
                    <a:pt x="0" y="0"/>
                  </a:moveTo>
                  <a:lnTo>
                    <a:pt x="349" y="0"/>
                  </a:lnTo>
                  <a:lnTo>
                    <a:pt x="349" y="337"/>
                  </a:lnTo>
                  <a:lnTo>
                    <a:pt x="0" y="337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2" name="Freeform 320">
              <a:extLst>
                <a:ext uri="{FF2B5EF4-FFF2-40B4-BE49-F238E27FC236}">
                  <a16:creationId xmlns:a16="http://schemas.microsoft.com/office/drawing/2014/main" id="{5381B95A-D9AE-4463-B8B8-23BBA8A700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025" y="4410075"/>
              <a:ext cx="350838" cy="417513"/>
            </a:xfrm>
            <a:custGeom>
              <a:avLst/>
              <a:gdLst>
                <a:gd name="T0" fmla="*/ 972 w 973"/>
                <a:gd name="T1" fmla="*/ 0 h 1161"/>
                <a:gd name="T2" fmla="*/ 972 w 973"/>
                <a:gd name="T3" fmla="*/ 0 h 1161"/>
                <a:gd name="T4" fmla="*/ 972 w 973"/>
                <a:gd name="T5" fmla="*/ 1123 h 1161"/>
                <a:gd name="T6" fmla="*/ 922 w 973"/>
                <a:gd name="T7" fmla="*/ 1160 h 1161"/>
                <a:gd name="T8" fmla="*/ 37 w 973"/>
                <a:gd name="T9" fmla="*/ 1160 h 1161"/>
                <a:gd name="T10" fmla="*/ 0 w 973"/>
                <a:gd name="T11" fmla="*/ 1123 h 1161"/>
                <a:gd name="T12" fmla="*/ 0 w 973"/>
                <a:gd name="T13" fmla="*/ 38 h 1161"/>
                <a:gd name="T14" fmla="*/ 37 w 973"/>
                <a:gd name="T15" fmla="*/ 0 h 1161"/>
                <a:gd name="T16" fmla="*/ 972 w 973"/>
                <a:gd name="T17" fmla="*/ 0 h 1161"/>
                <a:gd name="T18" fmla="*/ 972 w 973"/>
                <a:gd name="T19" fmla="*/ 0 h 1161"/>
                <a:gd name="T20" fmla="*/ 972 w 973"/>
                <a:gd name="T21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3" h="1161">
                  <a:moveTo>
                    <a:pt x="972" y="0"/>
                  </a:moveTo>
                  <a:lnTo>
                    <a:pt x="972" y="0"/>
                  </a:lnTo>
                  <a:cubicBezTo>
                    <a:pt x="972" y="1123"/>
                    <a:pt x="972" y="1123"/>
                    <a:pt x="972" y="1123"/>
                  </a:cubicBezTo>
                  <a:cubicBezTo>
                    <a:pt x="972" y="1147"/>
                    <a:pt x="946" y="1160"/>
                    <a:pt x="922" y="1160"/>
                  </a:cubicBezTo>
                  <a:cubicBezTo>
                    <a:pt x="37" y="1160"/>
                    <a:pt x="37" y="1160"/>
                    <a:pt x="37" y="1160"/>
                  </a:cubicBezTo>
                  <a:cubicBezTo>
                    <a:pt x="13" y="1160"/>
                    <a:pt x="0" y="1147"/>
                    <a:pt x="0" y="112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2"/>
                    <a:pt x="13" y="0"/>
                    <a:pt x="37" y="0"/>
                  </a:cubicBezTo>
                  <a:lnTo>
                    <a:pt x="972" y="0"/>
                  </a:lnTo>
                  <a:close/>
                  <a:moveTo>
                    <a:pt x="972" y="0"/>
                  </a:moveTo>
                  <a:lnTo>
                    <a:pt x="972" y="0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3" name="Freeform 321">
              <a:extLst>
                <a:ext uri="{FF2B5EF4-FFF2-40B4-BE49-F238E27FC236}">
                  <a16:creationId xmlns:a16="http://schemas.microsoft.com/office/drawing/2014/main" id="{61ED6D30-1CF3-4F09-BDC6-BC231684D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775" y="4410075"/>
              <a:ext cx="63500" cy="417513"/>
            </a:xfrm>
            <a:custGeom>
              <a:avLst/>
              <a:gdLst>
                <a:gd name="T0" fmla="*/ 175 w 176"/>
                <a:gd name="T1" fmla="*/ 0 h 1161"/>
                <a:gd name="T2" fmla="*/ 175 w 176"/>
                <a:gd name="T3" fmla="*/ 0 h 1161"/>
                <a:gd name="T4" fmla="*/ 175 w 176"/>
                <a:gd name="T5" fmla="*/ 1123 h 1161"/>
                <a:gd name="T6" fmla="*/ 125 w 176"/>
                <a:gd name="T7" fmla="*/ 1160 h 1161"/>
                <a:gd name="T8" fmla="*/ 0 w 176"/>
                <a:gd name="T9" fmla="*/ 1160 h 1161"/>
                <a:gd name="T10" fmla="*/ 37 w 176"/>
                <a:gd name="T11" fmla="*/ 1097 h 1161"/>
                <a:gd name="T12" fmla="*/ 37 w 176"/>
                <a:gd name="T13" fmla="*/ 62 h 1161"/>
                <a:gd name="T14" fmla="*/ 13 w 176"/>
                <a:gd name="T15" fmla="*/ 0 h 1161"/>
                <a:gd name="T16" fmla="*/ 0 w 176"/>
                <a:gd name="T17" fmla="*/ 0 h 1161"/>
                <a:gd name="T18" fmla="*/ 175 w 176"/>
                <a:gd name="T19" fmla="*/ 0 h 1161"/>
                <a:gd name="T20" fmla="*/ 175 w 176"/>
                <a:gd name="T21" fmla="*/ 0 h 1161"/>
                <a:gd name="T22" fmla="*/ 175 w 176"/>
                <a:gd name="T23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161">
                  <a:moveTo>
                    <a:pt x="175" y="0"/>
                  </a:moveTo>
                  <a:lnTo>
                    <a:pt x="175" y="0"/>
                  </a:lnTo>
                  <a:cubicBezTo>
                    <a:pt x="175" y="1123"/>
                    <a:pt x="175" y="1123"/>
                    <a:pt x="175" y="1123"/>
                  </a:cubicBezTo>
                  <a:cubicBezTo>
                    <a:pt x="175" y="1147"/>
                    <a:pt x="149" y="1160"/>
                    <a:pt x="125" y="1160"/>
                  </a:cubicBezTo>
                  <a:cubicBezTo>
                    <a:pt x="0" y="1160"/>
                    <a:pt x="0" y="1160"/>
                    <a:pt x="0" y="1160"/>
                  </a:cubicBezTo>
                  <a:cubicBezTo>
                    <a:pt x="25" y="1147"/>
                    <a:pt x="37" y="1123"/>
                    <a:pt x="37" y="109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38"/>
                    <a:pt x="25" y="1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5" y="0"/>
                  </a:lnTo>
                  <a:close/>
                  <a:moveTo>
                    <a:pt x="175" y="0"/>
                  </a:moveTo>
                  <a:lnTo>
                    <a:pt x="175" y="0"/>
                  </a:lnTo>
                  <a:close/>
                </a:path>
              </a:pathLst>
            </a:custGeom>
            <a:solidFill>
              <a:srgbClr val="75787B">
                <a:alpha val="2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4" name="Freeform 326">
              <a:extLst>
                <a:ext uri="{FF2B5EF4-FFF2-40B4-BE49-F238E27FC236}">
                  <a16:creationId xmlns:a16="http://schemas.microsoft.com/office/drawing/2014/main" id="{38FFEEE4-A334-4B58-B6B0-3790E42C5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4527550"/>
              <a:ext cx="90488" cy="184150"/>
            </a:xfrm>
            <a:custGeom>
              <a:avLst/>
              <a:gdLst>
                <a:gd name="T0" fmla="*/ 250 w 251"/>
                <a:gd name="T1" fmla="*/ 124 h 512"/>
                <a:gd name="T2" fmla="*/ 250 w 251"/>
                <a:gd name="T3" fmla="*/ 124 h 512"/>
                <a:gd name="T4" fmla="*/ 250 w 251"/>
                <a:gd name="T5" fmla="*/ 386 h 512"/>
                <a:gd name="T6" fmla="*/ 125 w 251"/>
                <a:gd name="T7" fmla="*/ 511 h 512"/>
                <a:gd name="T8" fmla="*/ 88 w 251"/>
                <a:gd name="T9" fmla="*/ 511 h 512"/>
                <a:gd name="T10" fmla="*/ 62 w 251"/>
                <a:gd name="T11" fmla="*/ 511 h 512"/>
                <a:gd name="T12" fmla="*/ 0 w 251"/>
                <a:gd name="T13" fmla="*/ 436 h 512"/>
                <a:gd name="T14" fmla="*/ 0 w 251"/>
                <a:gd name="T15" fmla="*/ 74 h 512"/>
                <a:gd name="T16" fmla="*/ 62 w 251"/>
                <a:gd name="T17" fmla="*/ 0 h 512"/>
                <a:gd name="T18" fmla="*/ 88 w 251"/>
                <a:gd name="T19" fmla="*/ 0 h 512"/>
                <a:gd name="T20" fmla="*/ 125 w 251"/>
                <a:gd name="T21" fmla="*/ 0 h 512"/>
                <a:gd name="T22" fmla="*/ 250 w 251"/>
                <a:gd name="T23" fmla="*/ 124 h 512"/>
                <a:gd name="T24" fmla="*/ 250 w 251"/>
                <a:gd name="T25" fmla="*/ 124 h 512"/>
                <a:gd name="T26" fmla="*/ 250 w 251"/>
                <a:gd name="T27" fmla="*/ 1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512">
                  <a:moveTo>
                    <a:pt x="250" y="124"/>
                  </a:moveTo>
                  <a:lnTo>
                    <a:pt x="250" y="124"/>
                  </a:lnTo>
                  <a:cubicBezTo>
                    <a:pt x="250" y="386"/>
                    <a:pt x="250" y="386"/>
                    <a:pt x="250" y="386"/>
                  </a:cubicBezTo>
                  <a:cubicBezTo>
                    <a:pt x="250" y="461"/>
                    <a:pt x="187" y="511"/>
                    <a:pt x="125" y="511"/>
                  </a:cubicBezTo>
                  <a:cubicBezTo>
                    <a:pt x="88" y="511"/>
                    <a:pt x="88" y="511"/>
                    <a:pt x="88" y="511"/>
                  </a:cubicBezTo>
                  <a:cubicBezTo>
                    <a:pt x="75" y="511"/>
                    <a:pt x="62" y="511"/>
                    <a:pt x="62" y="511"/>
                  </a:cubicBezTo>
                  <a:cubicBezTo>
                    <a:pt x="25" y="498"/>
                    <a:pt x="0" y="473"/>
                    <a:pt x="0" y="4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7"/>
                    <a:pt x="25" y="12"/>
                    <a:pt x="62" y="0"/>
                  </a:cubicBezTo>
                  <a:cubicBezTo>
                    <a:pt x="62" y="0"/>
                    <a:pt x="75" y="0"/>
                    <a:pt x="8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87" y="0"/>
                    <a:pt x="250" y="49"/>
                    <a:pt x="250" y="124"/>
                  </a:cubicBezTo>
                  <a:close/>
                  <a:moveTo>
                    <a:pt x="250" y="124"/>
                  </a:moveTo>
                  <a:lnTo>
                    <a:pt x="250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5" name="Freeform 328">
              <a:extLst>
                <a:ext uri="{FF2B5EF4-FFF2-40B4-BE49-F238E27FC236}">
                  <a16:creationId xmlns:a16="http://schemas.microsoft.com/office/drawing/2014/main" id="{59A90E96-F095-4FAA-B389-4EA923D22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1863" y="4579938"/>
              <a:ext cx="85725" cy="76200"/>
            </a:xfrm>
            <a:custGeom>
              <a:avLst/>
              <a:gdLst>
                <a:gd name="T0" fmla="*/ 236 w 237"/>
                <a:gd name="T1" fmla="*/ 99 h 213"/>
                <a:gd name="T2" fmla="*/ 236 w 237"/>
                <a:gd name="T3" fmla="*/ 99 h 213"/>
                <a:gd name="T4" fmla="*/ 236 w 237"/>
                <a:gd name="T5" fmla="*/ 112 h 213"/>
                <a:gd name="T6" fmla="*/ 136 w 237"/>
                <a:gd name="T7" fmla="*/ 212 h 213"/>
                <a:gd name="T8" fmla="*/ 74 w 237"/>
                <a:gd name="T9" fmla="*/ 212 h 213"/>
                <a:gd name="T10" fmla="*/ 62 w 237"/>
                <a:gd name="T11" fmla="*/ 212 h 213"/>
                <a:gd name="T12" fmla="*/ 0 w 237"/>
                <a:gd name="T13" fmla="*/ 137 h 213"/>
                <a:gd name="T14" fmla="*/ 0 w 237"/>
                <a:gd name="T15" fmla="*/ 75 h 213"/>
                <a:gd name="T16" fmla="*/ 62 w 237"/>
                <a:gd name="T17" fmla="*/ 12 h 213"/>
                <a:gd name="T18" fmla="*/ 74 w 237"/>
                <a:gd name="T19" fmla="*/ 0 h 213"/>
                <a:gd name="T20" fmla="*/ 136 w 237"/>
                <a:gd name="T21" fmla="*/ 0 h 213"/>
                <a:gd name="T22" fmla="*/ 236 w 237"/>
                <a:gd name="T23" fmla="*/ 99 h 213"/>
                <a:gd name="T24" fmla="*/ 236 w 237"/>
                <a:gd name="T25" fmla="*/ 99 h 213"/>
                <a:gd name="T26" fmla="*/ 236 w 237"/>
                <a:gd name="T27" fmla="*/ 9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7" h="213">
                  <a:moveTo>
                    <a:pt x="236" y="99"/>
                  </a:moveTo>
                  <a:lnTo>
                    <a:pt x="236" y="99"/>
                  </a:lnTo>
                  <a:cubicBezTo>
                    <a:pt x="236" y="112"/>
                    <a:pt x="236" y="112"/>
                    <a:pt x="236" y="112"/>
                  </a:cubicBezTo>
                  <a:cubicBezTo>
                    <a:pt x="236" y="162"/>
                    <a:pt x="186" y="212"/>
                    <a:pt x="136" y="212"/>
                  </a:cubicBezTo>
                  <a:cubicBezTo>
                    <a:pt x="74" y="212"/>
                    <a:pt x="74" y="212"/>
                    <a:pt x="74" y="212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24" y="200"/>
                    <a:pt x="0" y="174"/>
                    <a:pt x="0" y="13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37"/>
                    <a:pt x="24" y="12"/>
                    <a:pt x="62" y="12"/>
                  </a:cubicBezTo>
                  <a:cubicBezTo>
                    <a:pt x="62" y="0"/>
                    <a:pt x="62" y="0"/>
                    <a:pt x="7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86" y="0"/>
                    <a:pt x="236" y="50"/>
                    <a:pt x="236" y="99"/>
                  </a:cubicBezTo>
                  <a:close/>
                  <a:moveTo>
                    <a:pt x="236" y="99"/>
                  </a:moveTo>
                  <a:lnTo>
                    <a:pt x="236" y="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6" name="Freeform 330">
              <a:extLst>
                <a:ext uri="{FF2B5EF4-FFF2-40B4-BE49-F238E27FC236}">
                  <a16:creationId xmlns:a16="http://schemas.microsoft.com/office/drawing/2014/main" id="{968B7C9C-B8E3-447A-98E8-5CC9ECBFD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867275"/>
              <a:ext cx="184150" cy="85725"/>
            </a:xfrm>
            <a:custGeom>
              <a:avLst/>
              <a:gdLst>
                <a:gd name="T0" fmla="*/ 511 w 512"/>
                <a:gd name="T1" fmla="*/ 125 h 238"/>
                <a:gd name="T2" fmla="*/ 511 w 512"/>
                <a:gd name="T3" fmla="*/ 125 h 238"/>
                <a:gd name="T4" fmla="*/ 511 w 512"/>
                <a:gd name="T5" fmla="*/ 162 h 238"/>
                <a:gd name="T6" fmla="*/ 437 w 512"/>
                <a:gd name="T7" fmla="*/ 237 h 238"/>
                <a:gd name="T8" fmla="*/ 75 w 512"/>
                <a:gd name="T9" fmla="*/ 237 h 238"/>
                <a:gd name="T10" fmla="*/ 0 w 512"/>
                <a:gd name="T11" fmla="*/ 162 h 238"/>
                <a:gd name="T12" fmla="*/ 0 w 512"/>
                <a:gd name="T13" fmla="*/ 125 h 238"/>
                <a:gd name="T14" fmla="*/ 125 w 512"/>
                <a:gd name="T15" fmla="*/ 0 h 238"/>
                <a:gd name="T16" fmla="*/ 387 w 512"/>
                <a:gd name="T17" fmla="*/ 0 h 238"/>
                <a:gd name="T18" fmla="*/ 511 w 512"/>
                <a:gd name="T19" fmla="*/ 125 h 238"/>
                <a:gd name="T20" fmla="*/ 511 w 512"/>
                <a:gd name="T21" fmla="*/ 125 h 238"/>
                <a:gd name="T22" fmla="*/ 511 w 512"/>
                <a:gd name="T23" fmla="*/ 12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2" h="238">
                  <a:moveTo>
                    <a:pt x="511" y="125"/>
                  </a:moveTo>
                  <a:lnTo>
                    <a:pt x="511" y="125"/>
                  </a:lnTo>
                  <a:cubicBezTo>
                    <a:pt x="511" y="162"/>
                    <a:pt x="511" y="162"/>
                    <a:pt x="511" y="162"/>
                  </a:cubicBezTo>
                  <a:cubicBezTo>
                    <a:pt x="511" y="212"/>
                    <a:pt x="474" y="237"/>
                    <a:pt x="437" y="237"/>
                  </a:cubicBezTo>
                  <a:cubicBezTo>
                    <a:pt x="75" y="237"/>
                    <a:pt x="75" y="237"/>
                    <a:pt x="75" y="237"/>
                  </a:cubicBezTo>
                  <a:cubicBezTo>
                    <a:pt x="38" y="237"/>
                    <a:pt x="0" y="212"/>
                    <a:pt x="0" y="16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0"/>
                    <a:pt x="63" y="0"/>
                    <a:pt x="125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62" y="0"/>
                    <a:pt x="511" y="50"/>
                    <a:pt x="511" y="125"/>
                  </a:cubicBezTo>
                  <a:close/>
                  <a:moveTo>
                    <a:pt x="511" y="125"/>
                  </a:moveTo>
                  <a:lnTo>
                    <a:pt x="511" y="1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7" name="Freeform 332">
              <a:extLst>
                <a:ext uri="{FF2B5EF4-FFF2-40B4-BE49-F238E27FC236}">
                  <a16:creationId xmlns:a16="http://schemas.microsoft.com/office/drawing/2014/main" id="{265F8020-554A-4849-B4FF-2BD4C513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899025"/>
              <a:ext cx="73025" cy="80963"/>
            </a:xfrm>
            <a:custGeom>
              <a:avLst/>
              <a:gdLst>
                <a:gd name="T0" fmla="*/ 200 w 201"/>
                <a:gd name="T1" fmla="*/ 100 h 226"/>
                <a:gd name="T2" fmla="*/ 200 w 201"/>
                <a:gd name="T3" fmla="*/ 100 h 226"/>
                <a:gd name="T4" fmla="*/ 200 w 201"/>
                <a:gd name="T5" fmla="*/ 163 h 226"/>
                <a:gd name="T6" fmla="*/ 125 w 201"/>
                <a:gd name="T7" fmla="*/ 225 h 226"/>
                <a:gd name="T8" fmla="*/ 63 w 201"/>
                <a:gd name="T9" fmla="*/ 225 h 226"/>
                <a:gd name="T10" fmla="*/ 50 w 201"/>
                <a:gd name="T11" fmla="*/ 225 h 226"/>
                <a:gd name="T12" fmla="*/ 0 w 201"/>
                <a:gd name="T13" fmla="*/ 163 h 226"/>
                <a:gd name="T14" fmla="*/ 0 w 201"/>
                <a:gd name="T15" fmla="*/ 100 h 226"/>
                <a:gd name="T16" fmla="*/ 50 w 201"/>
                <a:gd name="T17" fmla="*/ 13 h 226"/>
                <a:gd name="T18" fmla="*/ 88 w 201"/>
                <a:gd name="T19" fmla="*/ 0 h 226"/>
                <a:gd name="T20" fmla="*/ 100 w 201"/>
                <a:gd name="T21" fmla="*/ 0 h 226"/>
                <a:gd name="T22" fmla="*/ 200 w 201"/>
                <a:gd name="T23" fmla="*/ 100 h 226"/>
                <a:gd name="T24" fmla="*/ 200 w 201"/>
                <a:gd name="T25" fmla="*/ 100 h 226"/>
                <a:gd name="T26" fmla="*/ 200 w 201"/>
                <a:gd name="T27" fmla="*/ 10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100"/>
                  </a:moveTo>
                  <a:lnTo>
                    <a:pt x="200" y="100"/>
                  </a:lnTo>
                  <a:cubicBezTo>
                    <a:pt x="200" y="163"/>
                    <a:pt x="200" y="163"/>
                    <a:pt x="200" y="163"/>
                  </a:cubicBezTo>
                  <a:cubicBezTo>
                    <a:pt x="200" y="200"/>
                    <a:pt x="162" y="225"/>
                    <a:pt x="125" y="225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3" y="225"/>
                    <a:pt x="63" y="225"/>
                    <a:pt x="50" y="225"/>
                  </a:cubicBezTo>
                  <a:cubicBezTo>
                    <a:pt x="26" y="225"/>
                    <a:pt x="0" y="200"/>
                    <a:pt x="0" y="16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63"/>
                    <a:pt x="26" y="25"/>
                    <a:pt x="50" y="13"/>
                  </a:cubicBezTo>
                  <a:cubicBezTo>
                    <a:pt x="63" y="0"/>
                    <a:pt x="75" y="0"/>
                    <a:pt x="8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0" y="0"/>
                    <a:pt x="200" y="50"/>
                    <a:pt x="200" y="100"/>
                  </a:cubicBezTo>
                  <a:close/>
                  <a:moveTo>
                    <a:pt x="200" y="100"/>
                  </a:moveTo>
                  <a:lnTo>
                    <a:pt x="200" y="100"/>
                  </a:lnTo>
                  <a:close/>
                </a:path>
              </a:pathLst>
            </a:custGeom>
            <a:solidFill>
              <a:srgbClr val="C4D6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8" name="Freeform 334">
              <a:extLst>
                <a:ext uri="{FF2B5EF4-FFF2-40B4-BE49-F238E27FC236}">
                  <a16:creationId xmlns:a16="http://schemas.microsoft.com/office/drawing/2014/main" id="{DB5260A3-3B9B-43AC-AE15-4E9931477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475" y="4468813"/>
              <a:ext cx="93663" cy="117475"/>
            </a:xfrm>
            <a:custGeom>
              <a:avLst/>
              <a:gdLst>
                <a:gd name="T0" fmla="*/ 261 w 262"/>
                <a:gd name="T1" fmla="*/ 13 h 325"/>
                <a:gd name="T2" fmla="*/ 261 w 262"/>
                <a:gd name="T3" fmla="*/ 13 h 325"/>
                <a:gd name="T4" fmla="*/ 261 w 262"/>
                <a:gd name="T5" fmla="*/ 312 h 325"/>
                <a:gd name="T6" fmla="*/ 237 w 262"/>
                <a:gd name="T7" fmla="*/ 324 h 325"/>
                <a:gd name="T8" fmla="*/ 24 w 262"/>
                <a:gd name="T9" fmla="*/ 324 h 325"/>
                <a:gd name="T10" fmla="*/ 0 w 262"/>
                <a:gd name="T11" fmla="*/ 312 h 325"/>
                <a:gd name="T12" fmla="*/ 0 w 262"/>
                <a:gd name="T13" fmla="*/ 13 h 325"/>
                <a:gd name="T14" fmla="*/ 24 w 262"/>
                <a:gd name="T15" fmla="*/ 0 h 325"/>
                <a:gd name="T16" fmla="*/ 237 w 262"/>
                <a:gd name="T17" fmla="*/ 0 h 325"/>
                <a:gd name="T18" fmla="*/ 261 w 262"/>
                <a:gd name="T19" fmla="*/ 13 h 325"/>
                <a:gd name="T20" fmla="*/ 261 w 262"/>
                <a:gd name="T21" fmla="*/ 13 h 325"/>
                <a:gd name="T22" fmla="*/ 261 w 262"/>
                <a:gd name="T23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325">
                  <a:moveTo>
                    <a:pt x="261" y="13"/>
                  </a:moveTo>
                  <a:lnTo>
                    <a:pt x="261" y="13"/>
                  </a:lnTo>
                  <a:cubicBezTo>
                    <a:pt x="261" y="312"/>
                    <a:pt x="261" y="312"/>
                    <a:pt x="261" y="312"/>
                  </a:cubicBezTo>
                  <a:cubicBezTo>
                    <a:pt x="261" y="324"/>
                    <a:pt x="249" y="324"/>
                    <a:pt x="237" y="324"/>
                  </a:cubicBezTo>
                  <a:cubicBezTo>
                    <a:pt x="24" y="324"/>
                    <a:pt x="24" y="324"/>
                    <a:pt x="24" y="324"/>
                  </a:cubicBezTo>
                  <a:cubicBezTo>
                    <a:pt x="12" y="324"/>
                    <a:pt x="0" y="324"/>
                    <a:pt x="0" y="3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12" y="0"/>
                    <a:pt x="24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9" y="0"/>
                    <a:pt x="261" y="0"/>
                    <a:pt x="261" y="13"/>
                  </a:cubicBezTo>
                  <a:close/>
                  <a:moveTo>
                    <a:pt x="261" y="13"/>
                  </a:moveTo>
                  <a:lnTo>
                    <a:pt x="261" y="1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9" name="Freeform 335">
              <a:extLst>
                <a:ext uri="{FF2B5EF4-FFF2-40B4-BE49-F238E27FC236}">
                  <a16:creationId xmlns:a16="http://schemas.microsoft.com/office/drawing/2014/main" id="{331C7D23-830E-4472-8CAF-0DB30DCC9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0" y="4468813"/>
              <a:ext cx="41275" cy="117475"/>
            </a:xfrm>
            <a:custGeom>
              <a:avLst/>
              <a:gdLst>
                <a:gd name="T0" fmla="*/ 112 w 113"/>
                <a:gd name="T1" fmla="*/ 13 h 325"/>
                <a:gd name="T2" fmla="*/ 112 w 113"/>
                <a:gd name="T3" fmla="*/ 13 h 325"/>
                <a:gd name="T4" fmla="*/ 112 w 113"/>
                <a:gd name="T5" fmla="*/ 312 h 325"/>
                <a:gd name="T6" fmla="*/ 88 w 113"/>
                <a:gd name="T7" fmla="*/ 324 h 325"/>
                <a:gd name="T8" fmla="*/ 0 w 113"/>
                <a:gd name="T9" fmla="*/ 324 h 325"/>
                <a:gd name="T10" fmla="*/ 25 w 113"/>
                <a:gd name="T11" fmla="*/ 299 h 325"/>
                <a:gd name="T12" fmla="*/ 25 w 113"/>
                <a:gd name="T13" fmla="*/ 0 h 325"/>
                <a:gd name="T14" fmla="*/ 88 w 113"/>
                <a:gd name="T15" fmla="*/ 0 h 325"/>
                <a:gd name="T16" fmla="*/ 112 w 113"/>
                <a:gd name="T17" fmla="*/ 13 h 325"/>
                <a:gd name="T18" fmla="*/ 112 w 113"/>
                <a:gd name="T19" fmla="*/ 13 h 325"/>
                <a:gd name="T20" fmla="*/ 112 w 113"/>
                <a:gd name="T21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325">
                  <a:moveTo>
                    <a:pt x="112" y="13"/>
                  </a:moveTo>
                  <a:lnTo>
                    <a:pt x="112" y="13"/>
                  </a:lnTo>
                  <a:cubicBezTo>
                    <a:pt x="112" y="312"/>
                    <a:pt x="112" y="312"/>
                    <a:pt x="112" y="312"/>
                  </a:cubicBezTo>
                  <a:cubicBezTo>
                    <a:pt x="112" y="324"/>
                    <a:pt x="100" y="324"/>
                    <a:pt x="88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3" y="324"/>
                    <a:pt x="25" y="312"/>
                    <a:pt x="25" y="299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0" y="0"/>
                    <a:pt x="112" y="0"/>
                    <a:pt x="112" y="13"/>
                  </a:cubicBezTo>
                  <a:close/>
                  <a:moveTo>
                    <a:pt x="112" y="13"/>
                  </a:moveTo>
                  <a:lnTo>
                    <a:pt x="112" y="1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0" name="Freeform 336">
              <a:extLst>
                <a:ext uri="{FF2B5EF4-FFF2-40B4-BE49-F238E27FC236}">
                  <a16:creationId xmlns:a16="http://schemas.microsoft.com/office/drawing/2014/main" id="{B41B3E9E-C93F-4020-8B48-3340E43E3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438" y="4630738"/>
              <a:ext cx="95250" cy="122237"/>
            </a:xfrm>
            <a:custGeom>
              <a:avLst/>
              <a:gdLst>
                <a:gd name="T0" fmla="*/ 262 w 263"/>
                <a:gd name="T1" fmla="*/ 0 h 338"/>
                <a:gd name="T2" fmla="*/ 262 w 263"/>
                <a:gd name="T3" fmla="*/ 0 h 338"/>
                <a:gd name="T4" fmla="*/ 262 w 263"/>
                <a:gd name="T5" fmla="*/ 324 h 338"/>
                <a:gd name="T6" fmla="*/ 237 w 263"/>
                <a:gd name="T7" fmla="*/ 337 h 338"/>
                <a:gd name="T8" fmla="*/ 25 w 263"/>
                <a:gd name="T9" fmla="*/ 337 h 338"/>
                <a:gd name="T10" fmla="*/ 0 w 263"/>
                <a:gd name="T11" fmla="*/ 324 h 338"/>
                <a:gd name="T12" fmla="*/ 0 w 263"/>
                <a:gd name="T13" fmla="*/ 25 h 338"/>
                <a:gd name="T14" fmla="*/ 25 w 263"/>
                <a:gd name="T15" fmla="*/ 0 h 338"/>
                <a:gd name="T16" fmla="*/ 262 w 263"/>
                <a:gd name="T17" fmla="*/ 0 h 338"/>
                <a:gd name="T18" fmla="*/ 262 w 263"/>
                <a:gd name="T19" fmla="*/ 0 h 338"/>
                <a:gd name="T20" fmla="*/ 262 w 263"/>
                <a:gd name="T2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38">
                  <a:moveTo>
                    <a:pt x="262" y="0"/>
                  </a:moveTo>
                  <a:lnTo>
                    <a:pt x="262" y="0"/>
                  </a:lnTo>
                  <a:cubicBezTo>
                    <a:pt x="262" y="324"/>
                    <a:pt x="262" y="324"/>
                    <a:pt x="262" y="324"/>
                  </a:cubicBezTo>
                  <a:cubicBezTo>
                    <a:pt x="262" y="337"/>
                    <a:pt x="249" y="337"/>
                    <a:pt x="237" y="337"/>
                  </a:cubicBezTo>
                  <a:cubicBezTo>
                    <a:pt x="25" y="337"/>
                    <a:pt x="25" y="337"/>
                    <a:pt x="25" y="337"/>
                  </a:cubicBezTo>
                  <a:cubicBezTo>
                    <a:pt x="13" y="337"/>
                    <a:pt x="0" y="337"/>
                    <a:pt x="0" y="3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3"/>
                    <a:pt x="13" y="0"/>
                    <a:pt x="25" y="0"/>
                  </a:cubicBez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2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1" name="Freeform 337">
              <a:extLst>
                <a:ext uri="{FF2B5EF4-FFF2-40B4-BE49-F238E27FC236}">
                  <a16:creationId xmlns:a16="http://schemas.microsoft.com/office/drawing/2014/main" id="{DFC3E9BE-C9EA-44EC-8E78-1CF6B0BE2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175" y="4630738"/>
              <a:ext cx="36513" cy="122237"/>
            </a:xfrm>
            <a:custGeom>
              <a:avLst/>
              <a:gdLst>
                <a:gd name="T0" fmla="*/ 100 w 101"/>
                <a:gd name="T1" fmla="*/ 0 h 338"/>
                <a:gd name="T2" fmla="*/ 100 w 101"/>
                <a:gd name="T3" fmla="*/ 0 h 338"/>
                <a:gd name="T4" fmla="*/ 100 w 101"/>
                <a:gd name="T5" fmla="*/ 324 h 338"/>
                <a:gd name="T6" fmla="*/ 75 w 101"/>
                <a:gd name="T7" fmla="*/ 337 h 338"/>
                <a:gd name="T8" fmla="*/ 0 w 101"/>
                <a:gd name="T9" fmla="*/ 337 h 338"/>
                <a:gd name="T10" fmla="*/ 13 w 101"/>
                <a:gd name="T11" fmla="*/ 324 h 338"/>
                <a:gd name="T12" fmla="*/ 13 w 101"/>
                <a:gd name="T13" fmla="*/ 0 h 338"/>
                <a:gd name="T14" fmla="*/ 100 w 101"/>
                <a:gd name="T15" fmla="*/ 0 h 338"/>
                <a:gd name="T16" fmla="*/ 100 w 101"/>
                <a:gd name="T17" fmla="*/ 0 h 338"/>
                <a:gd name="T18" fmla="*/ 100 w 101"/>
                <a:gd name="T1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38">
                  <a:moveTo>
                    <a:pt x="100" y="0"/>
                  </a:moveTo>
                  <a:lnTo>
                    <a:pt x="100" y="0"/>
                  </a:lnTo>
                  <a:cubicBezTo>
                    <a:pt x="100" y="324"/>
                    <a:pt x="100" y="324"/>
                    <a:pt x="100" y="324"/>
                  </a:cubicBezTo>
                  <a:cubicBezTo>
                    <a:pt x="100" y="337"/>
                    <a:pt x="87" y="337"/>
                    <a:pt x="75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24"/>
                    <a:pt x="13" y="324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0" y="0"/>
                  </a:lnTo>
                  <a:close/>
                  <a:moveTo>
                    <a:pt x="100" y="0"/>
                  </a:moveTo>
                  <a:lnTo>
                    <a:pt x="100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2" name="Freeform 338">
              <a:extLst>
                <a:ext uri="{FF2B5EF4-FFF2-40B4-BE49-F238E27FC236}">
                  <a16:creationId xmlns:a16="http://schemas.microsoft.com/office/drawing/2014/main" id="{53FE4CC0-8F98-497A-A988-3744C2434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530725"/>
              <a:ext cx="93662" cy="122238"/>
            </a:xfrm>
            <a:custGeom>
              <a:avLst/>
              <a:gdLst>
                <a:gd name="T0" fmla="*/ 261 w 262"/>
                <a:gd name="T1" fmla="*/ 25 h 338"/>
                <a:gd name="T2" fmla="*/ 261 w 262"/>
                <a:gd name="T3" fmla="*/ 25 h 338"/>
                <a:gd name="T4" fmla="*/ 261 w 262"/>
                <a:gd name="T5" fmla="*/ 324 h 338"/>
                <a:gd name="T6" fmla="*/ 236 w 262"/>
                <a:gd name="T7" fmla="*/ 337 h 338"/>
                <a:gd name="T8" fmla="*/ 0 w 262"/>
                <a:gd name="T9" fmla="*/ 337 h 338"/>
                <a:gd name="T10" fmla="*/ 0 w 262"/>
                <a:gd name="T11" fmla="*/ 25 h 338"/>
                <a:gd name="T12" fmla="*/ 25 w 262"/>
                <a:gd name="T13" fmla="*/ 0 h 338"/>
                <a:gd name="T14" fmla="*/ 236 w 262"/>
                <a:gd name="T15" fmla="*/ 0 h 338"/>
                <a:gd name="T16" fmla="*/ 261 w 262"/>
                <a:gd name="T17" fmla="*/ 25 h 338"/>
                <a:gd name="T18" fmla="*/ 261 w 262"/>
                <a:gd name="T19" fmla="*/ 25 h 338"/>
                <a:gd name="T20" fmla="*/ 261 w 262"/>
                <a:gd name="T21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338">
                  <a:moveTo>
                    <a:pt x="261" y="25"/>
                  </a:moveTo>
                  <a:lnTo>
                    <a:pt x="261" y="25"/>
                  </a:lnTo>
                  <a:cubicBezTo>
                    <a:pt x="261" y="324"/>
                    <a:pt x="261" y="324"/>
                    <a:pt x="261" y="324"/>
                  </a:cubicBezTo>
                  <a:cubicBezTo>
                    <a:pt x="261" y="337"/>
                    <a:pt x="248" y="337"/>
                    <a:pt x="236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2" y="0"/>
                    <a:pt x="25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8" y="0"/>
                    <a:pt x="261" y="12"/>
                    <a:pt x="261" y="25"/>
                  </a:cubicBezTo>
                  <a:close/>
                  <a:moveTo>
                    <a:pt x="261" y="25"/>
                  </a:moveTo>
                  <a:lnTo>
                    <a:pt x="261" y="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3" name="Freeform 339">
              <a:extLst>
                <a:ext uri="{FF2B5EF4-FFF2-40B4-BE49-F238E27FC236}">
                  <a16:creationId xmlns:a16="http://schemas.microsoft.com/office/drawing/2014/main" id="{6A60FC3C-09F6-4C0B-8330-1E5CA4E64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388" y="4530725"/>
              <a:ext cx="41275" cy="122238"/>
            </a:xfrm>
            <a:custGeom>
              <a:avLst/>
              <a:gdLst>
                <a:gd name="T0" fmla="*/ 112 w 113"/>
                <a:gd name="T1" fmla="*/ 25 h 338"/>
                <a:gd name="T2" fmla="*/ 112 w 113"/>
                <a:gd name="T3" fmla="*/ 25 h 338"/>
                <a:gd name="T4" fmla="*/ 112 w 113"/>
                <a:gd name="T5" fmla="*/ 324 h 338"/>
                <a:gd name="T6" fmla="*/ 87 w 113"/>
                <a:gd name="T7" fmla="*/ 337 h 338"/>
                <a:gd name="T8" fmla="*/ 0 w 113"/>
                <a:gd name="T9" fmla="*/ 337 h 338"/>
                <a:gd name="T10" fmla="*/ 13 w 113"/>
                <a:gd name="T11" fmla="*/ 337 h 338"/>
                <a:gd name="T12" fmla="*/ 13 w 113"/>
                <a:gd name="T13" fmla="*/ 311 h 338"/>
                <a:gd name="T14" fmla="*/ 13 w 113"/>
                <a:gd name="T15" fmla="*/ 37 h 338"/>
                <a:gd name="T16" fmla="*/ 0 w 113"/>
                <a:gd name="T17" fmla="*/ 0 h 338"/>
                <a:gd name="T18" fmla="*/ 87 w 113"/>
                <a:gd name="T19" fmla="*/ 0 h 338"/>
                <a:gd name="T20" fmla="*/ 112 w 113"/>
                <a:gd name="T21" fmla="*/ 25 h 338"/>
                <a:gd name="T22" fmla="*/ 112 w 113"/>
                <a:gd name="T23" fmla="*/ 25 h 338"/>
                <a:gd name="T24" fmla="*/ 112 w 113"/>
                <a:gd name="T25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38">
                  <a:moveTo>
                    <a:pt x="112" y="25"/>
                  </a:moveTo>
                  <a:lnTo>
                    <a:pt x="112" y="25"/>
                  </a:lnTo>
                  <a:cubicBezTo>
                    <a:pt x="112" y="324"/>
                    <a:pt x="112" y="324"/>
                    <a:pt x="112" y="324"/>
                  </a:cubicBezTo>
                  <a:cubicBezTo>
                    <a:pt x="112" y="337"/>
                    <a:pt x="99" y="337"/>
                    <a:pt x="87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37"/>
                    <a:pt x="13" y="337"/>
                  </a:cubicBezTo>
                  <a:cubicBezTo>
                    <a:pt x="13" y="337"/>
                    <a:pt x="13" y="324"/>
                    <a:pt x="13" y="31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25"/>
                    <a:pt x="13" y="12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9" y="0"/>
                    <a:pt x="112" y="12"/>
                    <a:pt x="112" y="25"/>
                  </a:cubicBezTo>
                  <a:close/>
                  <a:moveTo>
                    <a:pt x="112" y="25"/>
                  </a:moveTo>
                  <a:lnTo>
                    <a:pt x="112" y="25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4" name="Freeform 340">
              <a:extLst>
                <a:ext uri="{FF2B5EF4-FFF2-40B4-BE49-F238E27FC236}">
                  <a16:creationId xmlns:a16="http://schemas.microsoft.com/office/drawing/2014/main" id="{092458D7-36D6-4DFE-BE69-C9017EF46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284663"/>
              <a:ext cx="265113" cy="166687"/>
            </a:xfrm>
            <a:custGeom>
              <a:avLst/>
              <a:gdLst>
                <a:gd name="T0" fmla="*/ 735 w 736"/>
                <a:gd name="T1" fmla="*/ 287 h 462"/>
                <a:gd name="T2" fmla="*/ 735 w 736"/>
                <a:gd name="T3" fmla="*/ 287 h 462"/>
                <a:gd name="T4" fmla="*/ 698 w 736"/>
                <a:gd name="T5" fmla="*/ 324 h 462"/>
                <a:gd name="T6" fmla="*/ 673 w 736"/>
                <a:gd name="T7" fmla="*/ 374 h 462"/>
                <a:gd name="T8" fmla="*/ 449 w 736"/>
                <a:gd name="T9" fmla="*/ 225 h 462"/>
                <a:gd name="T10" fmla="*/ 387 w 736"/>
                <a:gd name="T11" fmla="*/ 237 h 462"/>
                <a:gd name="T12" fmla="*/ 125 w 736"/>
                <a:gd name="T13" fmla="*/ 237 h 462"/>
                <a:gd name="T14" fmla="*/ 113 w 736"/>
                <a:gd name="T15" fmla="*/ 461 h 462"/>
                <a:gd name="T16" fmla="*/ 0 w 736"/>
                <a:gd name="T17" fmla="*/ 461 h 462"/>
                <a:gd name="T18" fmla="*/ 0 w 736"/>
                <a:gd name="T19" fmla="*/ 75 h 462"/>
                <a:gd name="T20" fmla="*/ 75 w 736"/>
                <a:gd name="T21" fmla="*/ 0 h 462"/>
                <a:gd name="T22" fmla="*/ 437 w 736"/>
                <a:gd name="T23" fmla="*/ 0 h 462"/>
                <a:gd name="T24" fmla="*/ 511 w 736"/>
                <a:gd name="T25" fmla="*/ 50 h 462"/>
                <a:gd name="T26" fmla="*/ 511 w 736"/>
                <a:gd name="T27" fmla="*/ 50 h 462"/>
                <a:gd name="T28" fmla="*/ 735 w 736"/>
                <a:gd name="T29" fmla="*/ 287 h 462"/>
                <a:gd name="T30" fmla="*/ 735 w 736"/>
                <a:gd name="T31" fmla="*/ 287 h 462"/>
                <a:gd name="T32" fmla="*/ 735 w 736"/>
                <a:gd name="T33" fmla="*/ 287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6" h="462">
                  <a:moveTo>
                    <a:pt x="735" y="287"/>
                  </a:moveTo>
                  <a:lnTo>
                    <a:pt x="735" y="287"/>
                  </a:lnTo>
                  <a:cubicBezTo>
                    <a:pt x="698" y="324"/>
                    <a:pt x="698" y="324"/>
                    <a:pt x="698" y="324"/>
                  </a:cubicBezTo>
                  <a:cubicBezTo>
                    <a:pt x="673" y="374"/>
                    <a:pt x="673" y="374"/>
                    <a:pt x="673" y="374"/>
                  </a:cubicBezTo>
                  <a:cubicBezTo>
                    <a:pt x="449" y="225"/>
                    <a:pt x="449" y="225"/>
                    <a:pt x="449" y="225"/>
                  </a:cubicBezTo>
                  <a:cubicBezTo>
                    <a:pt x="437" y="237"/>
                    <a:pt x="412" y="237"/>
                    <a:pt x="387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13" y="461"/>
                    <a:pt x="113" y="461"/>
                    <a:pt x="113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25"/>
                    <a:pt x="38" y="0"/>
                    <a:pt x="75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74" y="0"/>
                    <a:pt x="498" y="25"/>
                    <a:pt x="511" y="50"/>
                  </a:cubicBezTo>
                  <a:lnTo>
                    <a:pt x="511" y="50"/>
                  </a:lnTo>
                  <a:lnTo>
                    <a:pt x="735" y="287"/>
                  </a:lnTo>
                  <a:close/>
                  <a:moveTo>
                    <a:pt x="735" y="287"/>
                  </a:moveTo>
                  <a:lnTo>
                    <a:pt x="735" y="2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5" name="Freeform 343">
              <a:extLst>
                <a:ext uri="{FF2B5EF4-FFF2-40B4-BE49-F238E27FC236}">
                  <a16:creationId xmlns:a16="http://schemas.microsoft.com/office/drawing/2014/main" id="{4E798978-FA0D-4D1F-B4D2-0CBA0499B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257675"/>
              <a:ext cx="73025" cy="80963"/>
            </a:xfrm>
            <a:custGeom>
              <a:avLst/>
              <a:gdLst>
                <a:gd name="T0" fmla="*/ 200 w 201"/>
                <a:gd name="T1" fmla="*/ 63 h 226"/>
                <a:gd name="T2" fmla="*/ 200 w 201"/>
                <a:gd name="T3" fmla="*/ 63 h 226"/>
                <a:gd name="T4" fmla="*/ 200 w 201"/>
                <a:gd name="T5" fmla="*/ 125 h 226"/>
                <a:gd name="T6" fmla="*/ 100 w 201"/>
                <a:gd name="T7" fmla="*/ 225 h 226"/>
                <a:gd name="T8" fmla="*/ 88 w 201"/>
                <a:gd name="T9" fmla="*/ 225 h 226"/>
                <a:gd name="T10" fmla="*/ 50 w 201"/>
                <a:gd name="T11" fmla="*/ 212 h 226"/>
                <a:gd name="T12" fmla="*/ 0 w 201"/>
                <a:gd name="T13" fmla="*/ 125 h 226"/>
                <a:gd name="T14" fmla="*/ 0 w 201"/>
                <a:gd name="T15" fmla="*/ 63 h 226"/>
                <a:gd name="T16" fmla="*/ 50 w 201"/>
                <a:gd name="T17" fmla="*/ 0 h 226"/>
                <a:gd name="T18" fmla="*/ 63 w 201"/>
                <a:gd name="T19" fmla="*/ 0 h 226"/>
                <a:gd name="T20" fmla="*/ 125 w 201"/>
                <a:gd name="T21" fmla="*/ 0 h 226"/>
                <a:gd name="T22" fmla="*/ 200 w 201"/>
                <a:gd name="T23" fmla="*/ 63 h 226"/>
                <a:gd name="T24" fmla="*/ 200 w 201"/>
                <a:gd name="T25" fmla="*/ 63 h 226"/>
                <a:gd name="T26" fmla="*/ 200 w 201"/>
                <a:gd name="T27" fmla="*/ 6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63"/>
                  </a:moveTo>
                  <a:lnTo>
                    <a:pt x="200" y="63"/>
                  </a:lnTo>
                  <a:cubicBezTo>
                    <a:pt x="200" y="125"/>
                    <a:pt x="200" y="125"/>
                    <a:pt x="200" y="125"/>
                  </a:cubicBezTo>
                  <a:cubicBezTo>
                    <a:pt x="200" y="175"/>
                    <a:pt x="150" y="225"/>
                    <a:pt x="100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75" y="225"/>
                    <a:pt x="63" y="225"/>
                    <a:pt x="50" y="212"/>
                  </a:cubicBezTo>
                  <a:cubicBezTo>
                    <a:pt x="26" y="200"/>
                    <a:pt x="0" y="162"/>
                    <a:pt x="0" y="12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6" y="0"/>
                    <a:pt x="5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62" y="0"/>
                    <a:pt x="200" y="25"/>
                    <a:pt x="200" y="63"/>
                  </a:cubicBezTo>
                  <a:close/>
                  <a:moveTo>
                    <a:pt x="200" y="63"/>
                  </a:moveTo>
                  <a:lnTo>
                    <a:pt x="200" y="6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6" name="Freeform 345">
              <a:extLst>
                <a:ext uri="{FF2B5EF4-FFF2-40B4-BE49-F238E27FC236}">
                  <a16:creationId xmlns:a16="http://schemas.microsoft.com/office/drawing/2014/main" id="{F5B42E5D-E9AB-4F4B-97DD-4D04D9D1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449763"/>
              <a:ext cx="41275" cy="41275"/>
            </a:xfrm>
            <a:custGeom>
              <a:avLst/>
              <a:gdLst>
                <a:gd name="T0" fmla="*/ 113 w 114"/>
                <a:gd name="T1" fmla="*/ 0 h 114"/>
                <a:gd name="T2" fmla="*/ 113 w 114"/>
                <a:gd name="T3" fmla="*/ 0 h 114"/>
                <a:gd name="T4" fmla="*/ 100 w 114"/>
                <a:gd name="T5" fmla="*/ 63 h 114"/>
                <a:gd name="T6" fmla="*/ 50 w 114"/>
                <a:gd name="T7" fmla="*/ 113 h 114"/>
                <a:gd name="T8" fmla="*/ 13 w 114"/>
                <a:gd name="T9" fmla="*/ 100 h 114"/>
                <a:gd name="T10" fmla="*/ 0 w 114"/>
                <a:gd name="T11" fmla="*/ 63 h 114"/>
                <a:gd name="T12" fmla="*/ 0 w 114"/>
                <a:gd name="T13" fmla="*/ 0 h 114"/>
                <a:gd name="T14" fmla="*/ 113 w 114"/>
                <a:gd name="T15" fmla="*/ 0 h 114"/>
                <a:gd name="T16" fmla="*/ 113 w 114"/>
                <a:gd name="T17" fmla="*/ 0 h 114"/>
                <a:gd name="T18" fmla="*/ 113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113" y="0"/>
                  </a:moveTo>
                  <a:lnTo>
                    <a:pt x="113" y="0"/>
                  </a:lnTo>
                  <a:cubicBezTo>
                    <a:pt x="100" y="63"/>
                    <a:pt x="100" y="63"/>
                    <a:pt x="100" y="63"/>
                  </a:cubicBezTo>
                  <a:cubicBezTo>
                    <a:pt x="100" y="100"/>
                    <a:pt x="75" y="113"/>
                    <a:pt x="50" y="113"/>
                  </a:cubicBezTo>
                  <a:cubicBezTo>
                    <a:pt x="38" y="113"/>
                    <a:pt x="25" y="113"/>
                    <a:pt x="13" y="100"/>
                  </a:cubicBezTo>
                  <a:cubicBezTo>
                    <a:pt x="13" y="88"/>
                    <a:pt x="0" y="75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13" y="0"/>
                  </a:lnTo>
                  <a:close/>
                  <a:moveTo>
                    <a:pt x="113" y="0"/>
                  </a:moveTo>
                  <a:lnTo>
                    <a:pt x="113" y="0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7" name="Freeform 346">
              <a:extLst>
                <a:ext uri="{FF2B5EF4-FFF2-40B4-BE49-F238E27FC236}">
                  <a16:creationId xmlns:a16="http://schemas.microsoft.com/office/drawing/2014/main" id="{8F93BFBB-203A-40A6-A160-52D6AF40D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1288" y="4387850"/>
              <a:ext cx="49212" cy="44450"/>
            </a:xfrm>
            <a:custGeom>
              <a:avLst/>
              <a:gdLst>
                <a:gd name="T0" fmla="*/ 99 w 138"/>
                <a:gd name="T1" fmla="*/ 124 h 125"/>
                <a:gd name="T2" fmla="*/ 99 w 138"/>
                <a:gd name="T3" fmla="*/ 124 h 125"/>
                <a:gd name="T4" fmla="*/ 75 w 138"/>
                <a:gd name="T5" fmla="*/ 124 h 125"/>
                <a:gd name="T6" fmla="*/ 49 w 138"/>
                <a:gd name="T7" fmla="*/ 124 h 125"/>
                <a:gd name="T8" fmla="*/ 0 w 138"/>
                <a:gd name="T9" fmla="*/ 87 h 125"/>
                <a:gd name="T10" fmla="*/ 62 w 138"/>
                <a:gd name="T11" fmla="*/ 0 h 125"/>
                <a:gd name="T12" fmla="*/ 112 w 138"/>
                <a:gd name="T13" fmla="*/ 50 h 125"/>
                <a:gd name="T14" fmla="*/ 99 w 138"/>
                <a:gd name="T15" fmla="*/ 124 h 125"/>
                <a:gd name="T16" fmla="*/ 99 w 138"/>
                <a:gd name="T17" fmla="*/ 124 h 125"/>
                <a:gd name="T18" fmla="*/ 99 w 138"/>
                <a:gd name="T19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25">
                  <a:moveTo>
                    <a:pt x="99" y="124"/>
                  </a:moveTo>
                  <a:lnTo>
                    <a:pt x="99" y="124"/>
                  </a:lnTo>
                  <a:cubicBezTo>
                    <a:pt x="87" y="124"/>
                    <a:pt x="87" y="124"/>
                    <a:pt x="75" y="124"/>
                  </a:cubicBezTo>
                  <a:cubicBezTo>
                    <a:pt x="62" y="124"/>
                    <a:pt x="62" y="124"/>
                    <a:pt x="49" y="124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37" y="74"/>
                    <a:pt x="124" y="112"/>
                    <a:pt x="99" y="124"/>
                  </a:cubicBezTo>
                  <a:close/>
                  <a:moveTo>
                    <a:pt x="99" y="124"/>
                  </a:moveTo>
                  <a:lnTo>
                    <a:pt x="99" y="124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37846"/>
              <a:endParaRPr lang="en-SV" sz="2634">
                <a:solidFill>
                  <a:srgbClr val="999999"/>
                </a:solidFill>
                <a:latin typeface="Trebuchet"/>
              </a:endParaRPr>
            </a:p>
          </p:txBody>
        </p:sp>
      </p:grpSp>
      <p:sp>
        <p:nvSpPr>
          <p:cNvPr id="28" name="Rounded Rectangular Callout 151">
            <a:extLst>
              <a:ext uri="{FF2B5EF4-FFF2-40B4-BE49-F238E27FC236}">
                <a16:creationId xmlns:a16="http://schemas.microsoft.com/office/drawing/2014/main" id="{8959E838-EBD1-472E-A49E-A5E21C4E365C}"/>
              </a:ext>
            </a:extLst>
          </p:cNvPr>
          <p:cNvSpPr/>
          <p:nvPr userDrawn="1"/>
        </p:nvSpPr>
        <p:spPr>
          <a:xfrm>
            <a:off x="9867340" y="2208694"/>
            <a:ext cx="5581424" cy="1764372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sp>
        <p:nvSpPr>
          <p:cNvPr id="29" name="Rounded Rectangular Callout 156">
            <a:extLst>
              <a:ext uri="{FF2B5EF4-FFF2-40B4-BE49-F238E27FC236}">
                <a16:creationId xmlns:a16="http://schemas.microsoft.com/office/drawing/2014/main" id="{E53F31DF-B4F8-414B-8F1A-98ECAD73204A}"/>
              </a:ext>
            </a:extLst>
          </p:cNvPr>
          <p:cNvSpPr/>
          <p:nvPr userDrawn="1"/>
        </p:nvSpPr>
        <p:spPr>
          <a:xfrm rot="10800000">
            <a:off x="2193740" y="7414975"/>
            <a:ext cx="5660058" cy="1953673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37846"/>
            <a:endParaRPr lang="en-SV" sz="2634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30" name="Group 157">
            <a:extLst>
              <a:ext uri="{FF2B5EF4-FFF2-40B4-BE49-F238E27FC236}">
                <a16:creationId xmlns:a16="http://schemas.microsoft.com/office/drawing/2014/main" id="{8AA0FC53-A2C3-42A9-911D-15175E5F3C47}"/>
              </a:ext>
            </a:extLst>
          </p:cNvPr>
          <p:cNvGrpSpPr/>
          <p:nvPr userDrawn="1"/>
        </p:nvGrpSpPr>
        <p:grpSpPr>
          <a:xfrm>
            <a:off x="10322455" y="2288005"/>
            <a:ext cx="4805369" cy="1502944"/>
            <a:chOff x="8171269" y="10491269"/>
            <a:chExt cx="9384504" cy="2044950"/>
          </a:xfrm>
        </p:grpSpPr>
        <p:sp>
          <p:nvSpPr>
            <p:cNvPr id="31" name="TextBox 158">
              <a:extLst>
                <a:ext uri="{FF2B5EF4-FFF2-40B4-BE49-F238E27FC236}">
                  <a16:creationId xmlns:a16="http://schemas.microsoft.com/office/drawing/2014/main" id="{31E16170-6CA1-456C-8DFE-73E9F7C741D4}"/>
                </a:ext>
              </a:extLst>
            </p:cNvPr>
            <p:cNvSpPr txBox="1"/>
            <p:nvPr/>
          </p:nvSpPr>
          <p:spPr>
            <a:xfrm>
              <a:off x="8171269" y="11306867"/>
              <a:ext cx="9384504" cy="122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valiação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iscos</a:t>
              </a:r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Maior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o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órgão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overnança</a:t>
              </a:r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2" name="Rectangle 159">
              <a:extLst>
                <a:ext uri="{FF2B5EF4-FFF2-40B4-BE49-F238E27FC236}">
                  <a16:creationId xmlns:a16="http://schemas.microsoft.com/office/drawing/2014/main" id="{A1EC6323-BD12-42E2-8E58-0FC1C7CEC95B}"/>
                </a:ext>
              </a:extLst>
            </p:cNvPr>
            <p:cNvSpPr/>
            <p:nvPr/>
          </p:nvSpPr>
          <p:spPr>
            <a:xfrm>
              <a:off x="8171269" y="10491269"/>
              <a:ext cx="9384500" cy="5546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37846"/>
              <a:r>
                <a:rPr lang="en-US" sz="2049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3ª LINHA</a:t>
              </a:r>
            </a:p>
          </p:txBody>
        </p:sp>
      </p:grpSp>
      <p:grpSp>
        <p:nvGrpSpPr>
          <p:cNvPr id="33" name="Group 160">
            <a:extLst>
              <a:ext uri="{FF2B5EF4-FFF2-40B4-BE49-F238E27FC236}">
                <a16:creationId xmlns:a16="http://schemas.microsoft.com/office/drawing/2014/main" id="{08465304-E26C-4D92-9A4B-E3460F8EF172}"/>
              </a:ext>
            </a:extLst>
          </p:cNvPr>
          <p:cNvGrpSpPr/>
          <p:nvPr userDrawn="1"/>
        </p:nvGrpSpPr>
        <p:grpSpPr>
          <a:xfrm>
            <a:off x="2614659" y="7450913"/>
            <a:ext cx="4805369" cy="2192310"/>
            <a:chOff x="8171269" y="10313469"/>
            <a:chExt cx="9384504" cy="2982918"/>
          </a:xfrm>
        </p:grpSpPr>
        <p:sp>
          <p:nvSpPr>
            <p:cNvPr id="34" name="TextBox 161">
              <a:extLst>
                <a:ext uri="{FF2B5EF4-FFF2-40B4-BE49-F238E27FC236}">
                  <a16:creationId xmlns:a16="http://schemas.microsoft.com/office/drawing/2014/main" id="{DFF8D03F-6E8B-4324-BC16-26DF6B92A341}"/>
                </a:ext>
              </a:extLst>
            </p:cNvPr>
            <p:cNvSpPr txBox="1"/>
            <p:nvPr/>
          </p:nvSpPr>
          <p:spPr>
            <a:xfrm>
              <a:off x="8171269" y="11699131"/>
              <a:ext cx="9384504" cy="15972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Limitad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</a:t>
              </a:r>
            </a:p>
            <a:p>
              <a:pPr marL="250896" indent="-250896" defTabSz="1337846">
                <a:buFont typeface="Arial" panose="020B0604020202020204" pitchFamily="34" charset="0"/>
                <a:buChar char="•"/>
              </a:pP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primariamente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à </a:t>
              </a:r>
              <a:r>
                <a:rPr lang="en-US" sz="1757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erência</a:t>
              </a:r>
              <a:r>
                <a:rPr lang="en-US" sz="1757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 </a:t>
              </a:r>
            </a:p>
            <a:p>
              <a:pPr defTabSz="1337846"/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defTabSz="1337846"/>
              <a:endPara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5" name="Rectangle 162">
              <a:extLst>
                <a:ext uri="{FF2B5EF4-FFF2-40B4-BE49-F238E27FC236}">
                  <a16:creationId xmlns:a16="http://schemas.microsoft.com/office/drawing/2014/main" id="{A28857FF-94BC-4073-BD0D-8D0EFE165BDB}"/>
                </a:ext>
              </a:extLst>
            </p:cNvPr>
            <p:cNvSpPr/>
            <p:nvPr/>
          </p:nvSpPr>
          <p:spPr>
            <a:xfrm>
              <a:off x="8281125" y="10313469"/>
              <a:ext cx="8927241" cy="5546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37846"/>
              <a:r>
                <a:rPr lang="en-US" sz="2049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2ª LINHA</a:t>
              </a:r>
              <a:endParaRPr lang="en-US" sz="2927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sp>
        <p:nvSpPr>
          <p:cNvPr id="36" name="TextBox 163">
            <a:extLst>
              <a:ext uri="{FF2B5EF4-FFF2-40B4-BE49-F238E27FC236}">
                <a16:creationId xmlns:a16="http://schemas.microsoft.com/office/drawing/2014/main" id="{BB82A0A6-E268-42BE-9730-71D44CFA86AE}"/>
              </a:ext>
            </a:extLst>
          </p:cNvPr>
          <p:cNvSpPr txBox="1"/>
          <p:nvPr userDrawn="1"/>
        </p:nvSpPr>
        <p:spPr>
          <a:xfrm>
            <a:off x="2401901" y="2980429"/>
            <a:ext cx="4539369" cy="903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São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o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oprietário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store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isco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a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endParaRPr lang="en-US" sz="1757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0896" indent="-250896" defTabSz="1337846">
              <a:buFont typeface="Arial" panose="020B0604020202020204" pitchFamily="34" charset="0"/>
              <a:buChar char="•"/>
            </a:pP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</a:t>
            </a:r>
            <a:r>
              <a:rPr lang="en-US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57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terno</a:t>
            </a:r>
            <a:endParaRPr lang="en-US" sz="1757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7" name="TextBox 164">
            <a:extLst>
              <a:ext uri="{FF2B5EF4-FFF2-40B4-BE49-F238E27FC236}">
                <a16:creationId xmlns:a16="http://schemas.microsoft.com/office/drawing/2014/main" id="{46A46D57-17C2-4AD1-954C-122B26875916}"/>
              </a:ext>
            </a:extLst>
          </p:cNvPr>
          <p:cNvSpPr txBox="1"/>
          <p:nvPr userDrawn="1"/>
        </p:nvSpPr>
        <p:spPr>
          <a:xfrm>
            <a:off x="12380367" y="6880345"/>
            <a:ext cx="3234972" cy="2641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37846">
              <a:spcBef>
                <a:spcPts val="878"/>
              </a:spcBef>
            </a:pP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ção e Consultoria </a:t>
            </a:r>
            <a:r>
              <a:rPr lang="pt-BR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forma independente e objetiva para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trazer benefícios à unidade </a:t>
            </a:r>
            <a:r>
              <a:rPr lang="pt-BR" sz="1757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e melhorar </a:t>
            </a:r>
            <a:r>
              <a:rPr lang="pt-BR" sz="1757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s operações auxiliando-a a alcançar seus objetivos</a:t>
            </a:r>
            <a:r>
              <a:rPr lang="pt-BR" sz="1757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algn="r" defTabSz="1337846">
              <a:spcBef>
                <a:spcPts val="878"/>
              </a:spcBef>
            </a:pP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r e melhorar </a:t>
            </a:r>
            <a:r>
              <a:rPr lang="pt-BR" sz="1757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 eficácia do gerenciamento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riscos, controle</a:t>
            </a:r>
            <a:r>
              <a:rPr lang="pt-BR" sz="1757" b="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pt-BR" sz="1757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pt-BR" sz="1757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</p:txBody>
      </p:sp>
      <p:sp>
        <p:nvSpPr>
          <p:cNvPr id="38" name="Gráfico 216">
            <a:extLst>
              <a:ext uri="{FF2B5EF4-FFF2-40B4-BE49-F238E27FC236}">
                <a16:creationId xmlns:a16="http://schemas.microsoft.com/office/drawing/2014/main" id="{1716FBB9-C4BA-4FED-9EE6-3DD2E017D2AE}"/>
              </a:ext>
            </a:extLst>
          </p:cNvPr>
          <p:cNvSpPr/>
          <p:nvPr userDrawn="1"/>
        </p:nvSpPr>
        <p:spPr>
          <a:xfrm>
            <a:off x="14632425" y="5786280"/>
            <a:ext cx="746283" cy="742985"/>
          </a:xfrm>
          <a:custGeom>
            <a:avLst/>
            <a:gdLst>
              <a:gd name="connsiteX0" fmla="*/ 285416 w 570831"/>
              <a:gd name="connsiteY0" fmla="*/ 0 h 570831"/>
              <a:gd name="connsiteX1" fmla="*/ 0 w 570831"/>
              <a:gd name="connsiteY1" fmla="*/ 285416 h 570831"/>
              <a:gd name="connsiteX2" fmla="*/ 285416 w 570831"/>
              <a:gd name="connsiteY2" fmla="*/ 570831 h 570831"/>
              <a:gd name="connsiteX3" fmla="*/ 570831 w 570831"/>
              <a:gd name="connsiteY3" fmla="*/ 285416 h 570831"/>
              <a:gd name="connsiteX4" fmla="*/ 285416 w 570831"/>
              <a:gd name="connsiteY4" fmla="*/ 0 h 570831"/>
              <a:gd name="connsiteX5" fmla="*/ 285416 w 570831"/>
              <a:gd name="connsiteY5" fmla="*/ 83247 h 570831"/>
              <a:gd name="connsiteX6" fmla="*/ 422177 w 570831"/>
              <a:gd name="connsiteY6" fmla="*/ 220009 h 570831"/>
              <a:gd name="connsiteX7" fmla="*/ 285416 w 570831"/>
              <a:gd name="connsiteY7" fmla="*/ 356769 h 570831"/>
              <a:gd name="connsiteX8" fmla="*/ 148654 w 570831"/>
              <a:gd name="connsiteY8" fmla="*/ 220007 h 570831"/>
              <a:gd name="connsiteX9" fmla="*/ 285416 w 570831"/>
              <a:gd name="connsiteY9" fmla="*/ 83247 h 570831"/>
              <a:gd name="connsiteX10" fmla="*/ 285416 w 570831"/>
              <a:gd name="connsiteY10" fmla="*/ 523261 h 570831"/>
              <a:gd name="connsiteX11" fmla="*/ 95354 w 570831"/>
              <a:gd name="connsiteY11" fmla="*/ 427809 h 570831"/>
              <a:gd name="connsiteX12" fmla="*/ 285416 w 570831"/>
              <a:gd name="connsiteY12" fmla="*/ 380554 h 570831"/>
              <a:gd name="connsiteX13" fmla="*/ 475478 w 570831"/>
              <a:gd name="connsiteY13" fmla="*/ 427807 h 570831"/>
              <a:gd name="connsiteX14" fmla="*/ 285416 w 570831"/>
              <a:gd name="connsiteY14" fmla="*/ 523261 h 57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0831" h="570831">
                <a:moveTo>
                  <a:pt x="285416" y="0"/>
                </a:moveTo>
                <a:cubicBezTo>
                  <a:pt x="128040" y="0"/>
                  <a:pt x="0" y="128040"/>
                  <a:pt x="0" y="285416"/>
                </a:cubicBezTo>
                <a:cubicBezTo>
                  <a:pt x="0" y="442791"/>
                  <a:pt x="128040" y="570831"/>
                  <a:pt x="285416" y="570831"/>
                </a:cubicBezTo>
                <a:cubicBezTo>
                  <a:pt x="442791" y="570831"/>
                  <a:pt x="570831" y="442791"/>
                  <a:pt x="570831" y="285416"/>
                </a:cubicBezTo>
                <a:cubicBezTo>
                  <a:pt x="570831" y="128040"/>
                  <a:pt x="442791" y="0"/>
                  <a:pt x="285416" y="0"/>
                </a:cubicBezTo>
                <a:close/>
                <a:moveTo>
                  <a:pt x="285416" y="83247"/>
                </a:moveTo>
                <a:cubicBezTo>
                  <a:pt x="360822" y="83247"/>
                  <a:pt x="422177" y="144601"/>
                  <a:pt x="422177" y="220009"/>
                </a:cubicBezTo>
                <a:cubicBezTo>
                  <a:pt x="422177" y="295416"/>
                  <a:pt x="360822" y="356769"/>
                  <a:pt x="285416" y="356769"/>
                </a:cubicBezTo>
                <a:cubicBezTo>
                  <a:pt x="210009" y="356769"/>
                  <a:pt x="148654" y="295415"/>
                  <a:pt x="148654" y="220007"/>
                </a:cubicBezTo>
                <a:cubicBezTo>
                  <a:pt x="148654" y="144600"/>
                  <a:pt x="210009" y="83247"/>
                  <a:pt x="285416" y="83247"/>
                </a:cubicBezTo>
                <a:close/>
                <a:moveTo>
                  <a:pt x="285416" y="523261"/>
                </a:moveTo>
                <a:cubicBezTo>
                  <a:pt x="207699" y="523261"/>
                  <a:pt x="138783" y="485628"/>
                  <a:pt x="95354" y="427809"/>
                </a:cubicBezTo>
                <a:cubicBezTo>
                  <a:pt x="142934" y="404915"/>
                  <a:pt x="210882" y="380554"/>
                  <a:pt x="285416" y="380554"/>
                </a:cubicBezTo>
                <a:cubicBezTo>
                  <a:pt x="359955" y="380554"/>
                  <a:pt x="427908" y="404919"/>
                  <a:pt x="475478" y="427807"/>
                </a:cubicBezTo>
                <a:cubicBezTo>
                  <a:pt x="432049" y="485627"/>
                  <a:pt x="363133" y="523261"/>
                  <a:pt x="285416" y="523261"/>
                </a:cubicBezTo>
                <a:close/>
              </a:path>
            </a:pathLst>
          </a:custGeom>
          <a:solidFill>
            <a:srgbClr val="004165"/>
          </a:solidFill>
          <a:ln w="1098" cap="flat">
            <a:noFill/>
            <a:prstDash val="solid"/>
            <a:miter/>
          </a:ln>
        </p:spPr>
        <p:txBody>
          <a:bodyPr rtlCol="0" anchor="ctr"/>
          <a:lstStyle/>
          <a:p>
            <a:pPr defTabSz="1337846"/>
            <a:endParaRPr lang="es-MX" sz="2634">
              <a:solidFill>
                <a:srgbClr val="999999"/>
              </a:solidFill>
              <a:latin typeface="Trebuchet"/>
            </a:endParaRPr>
          </a:p>
        </p:txBody>
      </p:sp>
      <p:sp>
        <p:nvSpPr>
          <p:cNvPr id="39" name="Rectangle 162">
            <a:extLst>
              <a:ext uri="{FF2B5EF4-FFF2-40B4-BE49-F238E27FC236}">
                <a16:creationId xmlns:a16="http://schemas.microsoft.com/office/drawing/2014/main" id="{31A87DFC-D532-49C0-AEBD-3A7B23367726}"/>
              </a:ext>
            </a:extLst>
          </p:cNvPr>
          <p:cNvSpPr/>
          <p:nvPr userDrawn="1"/>
        </p:nvSpPr>
        <p:spPr>
          <a:xfrm>
            <a:off x="2401899" y="2319839"/>
            <a:ext cx="3234972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1ª LINHA </a:t>
            </a:r>
          </a:p>
        </p:txBody>
      </p:sp>
      <p:sp>
        <p:nvSpPr>
          <p:cNvPr id="40" name="Rectangle 162">
            <a:extLst>
              <a:ext uri="{FF2B5EF4-FFF2-40B4-BE49-F238E27FC236}">
                <a16:creationId xmlns:a16="http://schemas.microsoft.com/office/drawing/2014/main" id="{D30B2F69-91E9-45D3-AC96-13F14AB1F77D}"/>
              </a:ext>
            </a:extLst>
          </p:cNvPr>
          <p:cNvSpPr/>
          <p:nvPr userDrawn="1"/>
        </p:nvSpPr>
        <p:spPr>
          <a:xfrm>
            <a:off x="2401899" y="2581069"/>
            <a:ext cx="3234972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Gestore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e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Equipes</a:t>
            </a:r>
            <a:endParaRPr lang="en-US" sz="2049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1" name="Rectangle 162">
            <a:extLst>
              <a:ext uri="{FF2B5EF4-FFF2-40B4-BE49-F238E27FC236}">
                <a16:creationId xmlns:a16="http://schemas.microsoft.com/office/drawing/2014/main" id="{F40BB129-6BB8-4200-9F33-4D2B13198FA8}"/>
              </a:ext>
            </a:extLst>
          </p:cNvPr>
          <p:cNvSpPr/>
          <p:nvPr userDrawn="1"/>
        </p:nvSpPr>
        <p:spPr>
          <a:xfrm>
            <a:off x="2608329" y="7736027"/>
            <a:ext cx="5060704" cy="72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Risco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formidade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trole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Interno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Ouvidoria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SI e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demai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funções</a:t>
            </a:r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rporativas</a:t>
            </a:r>
            <a:endParaRPr lang="en-US" sz="2049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2" name="Rectangle 162">
            <a:extLst>
              <a:ext uri="{FF2B5EF4-FFF2-40B4-BE49-F238E27FC236}">
                <a16:creationId xmlns:a16="http://schemas.microsoft.com/office/drawing/2014/main" id="{86F5A0C9-AACA-483D-A123-2854B916C8FF}"/>
              </a:ext>
            </a:extLst>
          </p:cNvPr>
          <p:cNvSpPr/>
          <p:nvPr userDrawn="1"/>
        </p:nvSpPr>
        <p:spPr>
          <a:xfrm>
            <a:off x="10285551" y="2542027"/>
            <a:ext cx="4707315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Auditoria Interna</a:t>
            </a:r>
          </a:p>
        </p:txBody>
      </p:sp>
      <p:sp>
        <p:nvSpPr>
          <p:cNvPr id="43" name="Rectangle 162">
            <a:extLst>
              <a:ext uri="{FF2B5EF4-FFF2-40B4-BE49-F238E27FC236}">
                <a16:creationId xmlns:a16="http://schemas.microsoft.com/office/drawing/2014/main" id="{11E498B7-EA2B-46F3-A34C-5767B92574F4}"/>
              </a:ext>
            </a:extLst>
          </p:cNvPr>
          <p:cNvSpPr/>
          <p:nvPr userDrawn="1"/>
        </p:nvSpPr>
        <p:spPr>
          <a:xfrm>
            <a:off x="13997855" y="6458763"/>
            <a:ext cx="1617486" cy="407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37846"/>
            <a:r>
              <a:rPr lang="en-US" sz="2049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Nosso</a:t>
            </a:r>
            <a:r>
              <a:rPr lang="en-US" sz="2049" i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49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Papel</a:t>
            </a:r>
            <a:endParaRPr lang="en-US" sz="2049" i="1">
              <a:solidFill>
                <a:schemeClr val="tx1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29D24922-E087-44E3-AF98-6A7C7504C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600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B6105FF7-EA5F-4A69-9C5A-D2AA690E2764}"/>
              </a:ext>
            </a:extLst>
          </p:cNvPr>
          <p:cNvSpPr txBox="1">
            <a:spLocks/>
          </p:cNvSpPr>
          <p:nvPr userDrawn="1"/>
        </p:nvSpPr>
        <p:spPr>
          <a:xfrm>
            <a:off x="693776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34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Como podemos ajudar?</a:t>
            </a:r>
          </a:p>
        </p:txBody>
      </p:sp>
      <p:sp>
        <p:nvSpPr>
          <p:cNvPr id="46" name="Título 3">
            <a:extLst>
              <a:ext uri="{FF2B5EF4-FFF2-40B4-BE49-F238E27FC236}">
                <a16:creationId xmlns:a16="http://schemas.microsoft.com/office/drawing/2014/main" id="{BA5866AF-84B6-41E3-A175-15F30D5C106B}"/>
              </a:ext>
            </a:extLst>
          </p:cNvPr>
          <p:cNvSpPr txBox="1">
            <a:spLocks/>
          </p:cNvSpPr>
          <p:nvPr userDrawn="1"/>
        </p:nvSpPr>
        <p:spPr>
          <a:xfrm>
            <a:off x="693776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6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Interna</a:t>
            </a:r>
          </a:p>
        </p:txBody>
      </p:sp>
      <p:cxnSp>
        <p:nvCxnSpPr>
          <p:cNvPr id="47" name="Straight Connector 16">
            <a:extLst>
              <a:ext uri="{FF2B5EF4-FFF2-40B4-BE49-F238E27FC236}">
                <a16:creationId xmlns:a16="http://schemas.microsoft.com/office/drawing/2014/main" id="{D43F4610-E35C-41FD-9E78-A553103604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Triângulo isósceles 47">
            <a:extLst>
              <a:ext uri="{FF2B5EF4-FFF2-40B4-BE49-F238E27FC236}">
                <a16:creationId xmlns:a16="http://schemas.microsoft.com/office/drawing/2014/main" id="{31EC1649-4CF2-459C-9FA5-AA6795C32379}"/>
              </a:ext>
            </a:extLst>
          </p:cNvPr>
          <p:cNvSpPr/>
          <p:nvPr userDrawn="1"/>
        </p:nvSpPr>
        <p:spPr>
          <a:xfrm rot="5400000">
            <a:off x="7552231" y="2850597"/>
            <a:ext cx="942931" cy="1266922"/>
          </a:xfrm>
          <a:prstGeom prst="triangle">
            <a:avLst>
              <a:gd name="adj" fmla="val 10000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34"/>
          </a:p>
        </p:txBody>
      </p:sp>
    </p:spTree>
    <p:extLst>
      <p:ext uri="{BB962C8B-B14F-4D97-AF65-F5344CB8AC3E}">
        <p14:creationId xmlns:p14="http://schemas.microsoft.com/office/powerpoint/2010/main" val="36035457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898962" y="2080941"/>
            <a:ext cx="16158496" cy="7237164"/>
            <a:chOff x="636583" y="1415694"/>
            <a:chExt cx="10944285" cy="4923551"/>
          </a:xfrm>
        </p:grpSpPr>
        <p:sp>
          <p:nvSpPr>
            <p:cNvPr id="8" name="Arrow: Pentagon 41">
              <a:extLst>
                <a:ext uri="{FF2B5EF4-FFF2-40B4-BE49-F238E27FC236}">
                  <a16:creationId xmlns:a16="http://schemas.microsoft.com/office/drawing/2014/main" id="{E1B57547-62A5-48B9-AE4B-DD9ABEE3CF2D}"/>
                </a:ext>
              </a:extLst>
            </p:cNvPr>
            <p:cNvSpPr/>
            <p:nvPr/>
          </p:nvSpPr>
          <p:spPr>
            <a:xfrm>
              <a:off x="636583" y="1415694"/>
              <a:ext cx="7252173" cy="4923550"/>
            </a:xfrm>
            <a:prstGeom prst="homePlate">
              <a:avLst>
                <a:gd name="adj" fmla="val 33357"/>
              </a:avLst>
            </a:prstGeom>
            <a:gradFill>
              <a:gsLst>
                <a:gs pos="100000">
                  <a:schemeClr val="bg1">
                    <a:lumMod val="85000"/>
                    <a:alpha val="0"/>
                  </a:schemeClr>
                </a:gs>
                <a:gs pos="50000">
                  <a:schemeClr val="bg1">
                    <a:lumMod val="85000"/>
                    <a:alpha val="50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lin ang="10800000" scaled="0"/>
            </a:gradFill>
            <a:ln w="19050">
              <a:noFill/>
              <a:prstDash val="dot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9" name="Arrow: Pentagon 42">
              <a:extLst>
                <a:ext uri="{FF2B5EF4-FFF2-40B4-BE49-F238E27FC236}">
                  <a16:creationId xmlns:a16="http://schemas.microsoft.com/office/drawing/2014/main" id="{21C7AEED-BA51-4C67-B63B-FC4651969188}"/>
                </a:ext>
              </a:extLst>
            </p:cNvPr>
            <p:cNvSpPr/>
            <p:nvPr/>
          </p:nvSpPr>
          <p:spPr>
            <a:xfrm>
              <a:off x="636588" y="2415485"/>
              <a:ext cx="7252172" cy="2923969"/>
            </a:xfrm>
            <a:prstGeom prst="homePlate">
              <a:avLst>
                <a:gd name="adj" fmla="val 55929"/>
              </a:avLst>
            </a:prstGeom>
            <a:gradFill>
              <a:gsLst>
                <a:gs pos="100000">
                  <a:schemeClr val="bg1">
                    <a:lumMod val="65000"/>
                    <a:alpha val="0"/>
                  </a:schemeClr>
                </a:gs>
                <a:gs pos="50000">
                  <a:schemeClr val="bg1">
                    <a:lumMod val="65000"/>
                    <a:alpha val="5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10800000" scaled="0"/>
            </a:gradFill>
            <a:ln w="762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0" name="Arrow: Pentagon 43">
              <a:extLst>
                <a:ext uri="{FF2B5EF4-FFF2-40B4-BE49-F238E27FC236}">
                  <a16:creationId xmlns:a16="http://schemas.microsoft.com/office/drawing/2014/main" id="{5F916D27-85A1-4179-BE03-007629CE41FB}"/>
                </a:ext>
              </a:extLst>
            </p:cNvPr>
            <p:cNvSpPr/>
            <p:nvPr/>
          </p:nvSpPr>
          <p:spPr>
            <a:xfrm>
              <a:off x="636589" y="3385065"/>
              <a:ext cx="6674810" cy="984809"/>
            </a:xfrm>
            <a:prstGeom prst="homePlate">
              <a:avLst>
                <a:gd name="adj" fmla="val 107567"/>
              </a:avLst>
            </a:prstGeom>
            <a:gradFill>
              <a:gsLst>
                <a:gs pos="10000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  <a:alpha val="30000"/>
                  </a:schemeClr>
                </a:gs>
                <a:gs pos="0">
                  <a:schemeClr val="bg1">
                    <a:lumMod val="50000"/>
                    <a:alpha val="75000"/>
                  </a:schemeClr>
                </a:gs>
              </a:gsLst>
              <a:lin ang="10800000" scaled="0"/>
            </a:gradFill>
            <a:ln w="76200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3093B7C9-666A-44C0-AC21-A8BBDED28908}"/>
                </a:ext>
              </a:extLst>
            </p:cNvPr>
            <p:cNvSpPr/>
            <p:nvPr/>
          </p:nvSpPr>
          <p:spPr>
            <a:xfrm rot="5400000">
              <a:off x="4603754" y="3054243"/>
              <a:ext cx="4923551" cy="1646453"/>
            </a:xfrm>
            <a:prstGeom prst="trapezoid">
              <a:avLst>
                <a:gd name="adj" fmla="val 149404"/>
              </a:avLst>
            </a:prstGeom>
            <a:solidFill>
              <a:schemeClr val="tx1">
                <a:alpha val="38000"/>
              </a:schemeClr>
            </a:solidFill>
            <a:ln w="19050">
              <a:noFill/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2634">
                <a:latin typeface="Trebuchet"/>
              </a:endParaRPr>
            </a:p>
          </p:txBody>
        </p:sp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AF01824D-60ED-49F9-BEC8-22035A8E9E65}"/>
                </a:ext>
              </a:extLst>
            </p:cNvPr>
            <p:cNvSpPr/>
            <p:nvPr/>
          </p:nvSpPr>
          <p:spPr>
            <a:xfrm>
              <a:off x="6910409" y="2157672"/>
              <a:ext cx="4670459" cy="3439594"/>
            </a:xfrm>
            <a:prstGeom prst="roundRect">
              <a:avLst>
                <a:gd name="adj" fmla="val 9146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  <a:prstDash val="solid"/>
              <a:headEnd type="none" w="med" len="med"/>
              <a:tailEnd type="oval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bliqueTopRight"/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algn="ctr"/>
              <a:endParaRPr lang="pt-BR" sz="1757">
                <a:latin typeface="Trebuchet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415233" y="1467755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RISCOS E PROCESSOS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no que é relevante para a Companhia.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97907" y="2445398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TEMPESTIVIDADE E QUALIDADE NAS ENTREGAS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presentação Intermediária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ntecipação da definição dos planos de ação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ntribuição na identificação da causa raiz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082DD9F7-4820-4ECC-9C6A-0EE7CCB48C67}"/>
                </a:ext>
              </a:extLst>
            </p:cNvPr>
            <p:cNvSpPr txBox="1"/>
            <p:nvPr/>
          </p:nvSpPr>
          <p:spPr>
            <a:xfrm>
              <a:off x="2397907" y="5424242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NSIFICAÇÃO NA COMUNICAÇÃO E FEEDBACK</a:t>
              </a:r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Comunicação Teams/</a:t>
              </a:r>
              <a:r>
                <a:rPr lang="pt-BR" sz="1757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Planner</a:t>
              </a:r>
              <a:endParaRPr lang="pt-BR" sz="1757">
                <a:solidFill>
                  <a:schemeClr val="tx2"/>
                </a:solidFill>
                <a:latin typeface="Trebuchet"/>
                <a:ea typeface="Lato Light" panose="020F0502020204030203" pitchFamily="34" charset="0"/>
                <a:cs typeface="Poppins Light" pitchFamily="2" charset="77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 Reunião Semanal/Checkpoint(30 minutos) 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97907" y="343834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GREGAR VALOR PARA O PROCESSO </a:t>
              </a:r>
            </a:p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E PARA COMPANHI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97907" y="4431294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UNIÕES PERIÓDICAS (diárias e semanais</a:t>
              </a: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)</a:t>
              </a:r>
              <a:endParaRPr lang="pt-BR" sz="1757" b="1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tarefas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8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34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Uma nova perspectiva de atuação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4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6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06"/>
              <a:t>Á</a:t>
            </a:r>
            <a:r>
              <a:rPr kumimoji="0" lang="pt-BR" sz="3806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06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2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00FCAC0D-88BC-456F-A60A-B17A4D5546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270" y="8091280"/>
            <a:ext cx="1965362" cy="782671"/>
          </a:xfrm>
          <a:prstGeom prst="rect">
            <a:avLst/>
          </a:prstGeom>
        </p:spPr>
      </p:pic>
      <p:pic>
        <p:nvPicPr>
          <p:cNvPr id="23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C90A394-A971-4D39-86BE-9701AC1A30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t="20444" r="18519" b="19588"/>
          <a:stretch/>
        </p:blipFill>
        <p:spPr>
          <a:xfrm>
            <a:off x="12552314" y="3416214"/>
            <a:ext cx="2430876" cy="574015"/>
          </a:xfrm>
          <a:prstGeom prst="rect">
            <a:avLst/>
          </a:prstGeom>
        </p:spPr>
      </p:pic>
      <p:sp>
        <p:nvSpPr>
          <p:cNvPr id="27" name="TextBox 31">
            <a:extLst>
              <a:ext uri="{FF2B5EF4-FFF2-40B4-BE49-F238E27FC236}">
                <a16:creationId xmlns:a16="http://schemas.microsoft.com/office/drawing/2014/main" id="{15109616-6170-430F-852D-FEA70A09E75A}"/>
              </a:ext>
            </a:extLst>
          </p:cNvPr>
          <p:cNvSpPr txBox="1"/>
          <p:nvPr userDrawn="1"/>
        </p:nvSpPr>
        <p:spPr>
          <a:xfrm>
            <a:off x="10942550" y="3719104"/>
            <a:ext cx="5650404" cy="129718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Sistema para acompanhamento d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relatório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,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ponto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 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açõe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. </a:t>
            </a:r>
          </a:p>
          <a:p>
            <a:endParaRPr lang="pt-BR" sz="1757">
              <a:solidFill>
                <a:schemeClr val="tx2">
                  <a:lumMod val="75000"/>
                </a:schemeClr>
              </a:solidFill>
              <a:latin typeface="Trebuchet"/>
            </a:endParaRPr>
          </a:p>
        </p:txBody>
      </p: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782466" y="6666085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1471899" y="51739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640089" y="3900599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625534" y="2389132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8470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2">
    <p:bg>
      <p:bgPr>
        <a:gradFill flip="none" rotWithShape="1">
          <a:gsLst>
            <a:gs pos="100000">
              <a:schemeClr val="tx1"/>
            </a:gs>
            <a:gs pos="0">
              <a:schemeClr val="tx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91" y="283066"/>
            <a:ext cx="5038178" cy="70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b="1" spc="-219" dirty="0">
                <a:solidFill>
                  <a:srgbClr val="007F3A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RESULTADOS</a:t>
            </a:r>
            <a:endParaRPr lang="en-US"/>
          </a:p>
        </p:txBody>
      </p:sp>
      <p:grpSp>
        <p:nvGrpSpPr>
          <p:cNvPr id="11" name="Grupo 23">
            <a:extLst>
              <a:ext uri="{FF2B5EF4-FFF2-40B4-BE49-F238E27FC236}">
                <a16:creationId xmlns:a16="http://schemas.microsoft.com/office/drawing/2014/main" id="{8CA0063C-610F-4AF5-9608-069818C5A7F5}"/>
              </a:ext>
            </a:extLst>
          </p:cNvPr>
          <p:cNvGrpSpPr/>
          <p:nvPr userDrawn="1"/>
        </p:nvGrpSpPr>
        <p:grpSpPr>
          <a:xfrm>
            <a:off x="11679976" y="1384813"/>
            <a:ext cx="6348829" cy="9123301"/>
            <a:chOff x="5940359" y="1601559"/>
            <a:chExt cx="2537586" cy="3543537"/>
          </a:xfrm>
        </p:grpSpPr>
        <p:sp>
          <p:nvSpPr>
            <p:cNvPr id="12" name="Retângulo 20">
              <a:extLst>
                <a:ext uri="{FF2B5EF4-FFF2-40B4-BE49-F238E27FC236}">
                  <a16:creationId xmlns:a16="http://schemas.microsoft.com/office/drawing/2014/main" id="{26B6BAC7-7500-4C76-8E0F-FD3D7756E2FD}"/>
                </a:ext>
              </a:extLst>
            </p:cNvPr>
            <p:cNvSpPr/>
            <p:nvPr/>
          </p:nvSpPr>
          <p:spPr>
            <a:xfrm>
              <a:off x="6622670" y="1601559"/>
              <a:ext cx="1854112" cy="2972289"/>
            </a:xfrm>
            <a:custGeom>
              <a:avLst/>
              <a:gdLst>
                <a:gd name="connsiteX0" fmla="*/ 0 w 2101774"/>
                <a:gd name="connsiteY0" fmla="*/ 0 h 3063000"/>
                <a:gd name="connsiteX1" fmla="*/ 2101774 w 2101774"/>
                <a:gd name="connsiteY1" fmla="*/ 0 h 3063000"/>
                <a:gd name="connsiteX2" fmla="*/ 2101774 w 2101774"/>
                <a:gd name="connsiteY2" fmla="*/ 3063000 h 3063000"/>
                <a:gd name="connsiteX3" fmla="*/ 0 w 2101774"/>
                <a:gd name="connsiteY3" fmla="*/ 3063000 h 3063000"/>
                <a:gd name="connsiteX4" fmla="*/ 0 w 2101774"/>
                <a:gd name="connsiteY4" fmla="*/ 0 h 3063000"/>
                <a:gd name="connsiteX0" fmla="*/ 0 w 2101774"/>
                <a:gd name="connsiteY0" fmla="*/ 9780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0 w 2101774"/>
                <a:gd name="connsiteY4" fmla="*/ 9780 h 3072780"/>
                <a:gd name="connsiteX0" fmla="*/ 9780 w 2101774"/>
                <a:gd name="connsiteY0" fmla="*/ 557442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9780 w 2101774"/>
                <a:gd name="connsiteY4" fmla="*/ 557442 h 3072780"/>
                <a:gd name="connsiteX0" fmla="*/ 625900 w 2101774"/>
                <a:gd name="connsiteY0" fmla="*/ 298281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625900 w 2101774"/>
                <a:gd name="connsiteY4" fmla="*/ 298281 h 3072780"/>
                <a:gd name="connsiteX0" fmla="*/ 151585 w 1627459"/>
                <a:gd name="connsiteY0" fmla="*/ 298281 h 3072780"/>
                <a:gd name="connsiteX1" fmla="*/ 1627459 w 1627459"/>
                <a:gd name="connsiteY1" fmla="*/ 0 h 3072780"/>
                <a:gd name="connsiteX2" fmla="*/ 1627459 w 1627459"/>
                <a:gd name="connsiteY2" fmla="*/ 3072780 h 3072780"/>
                <a:gd name="connsiteX3" fmla="*/ 0 w 1627459"/>
                <a:gd name="connsiteY3" fmla="*/ 2662033 h 3072780"/>
                <a:gd name="connsiteX4" fmla="*/ 151585 w 1627459"/>
                <a:gd name="connsiteY4" fmla="*/ 298281 h 3072780"/>
                <a:gd name="connsiteX0" fmla="*/ 464535 w 1940409"/>
                <a:gd name="connsiteY0" fmla="*/ 29828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464535 w 1940409"/>
                <a:gd name="connsiteY4" fmla="*/ 298281 h 3072780"/>
                <a:gd name="connsiteX0" fmla="*/ 625899 w 1940409"/>
                <a:gd name="connsiteY0" fmla="*/ 410747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625899 w 1940409"/>
                <a:gd name="connsiteY4" fmla="*/ 410747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547662 w 1940409"/>
                <a:gd name="connsiteY4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30646 w 1940409"/>
                <a:gd name="connsiteY4" fmla="*/ 2583355 h 3072780"/>
                <a:gd name="connsiteX5" fmla="*/ 547662 w 1940409"/>
                <a:gd name="connsiteY5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141771 w 1940409"/>
                <a:gd name="connsiteY3" fmla="*/ 2770680 h 3072780"/>
                <a:gd name="connsiteX4" fmla="*/ 0 w 1940409"/>
                <a:gd name="connsiteY4" fmla="*/ 2745160 h 3072780"/>
                <a:gd name="connsiteX5" fmla="*/ 30646 w 1940409"/>
                <a:gd name="connsiteY5" fmla="*/ 2583355 h 3072780"/>
                <a:gd name="connsiteX6" fmla="*/ 547662 w 1940409"/>
                <a:gd name="connsiteY6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23755 w 1916502"/>
                <a:gd name="connsiteY0" fmla="*/ 283611 h 3072780"/>
                <a:gd name="connsiteX1" fmla="*/ 1916502 w 1916502"/>
                <a:gd name="connsiteY1" fmla="*/ 0 h 3072780"/>
                <a:gd name="connsiteX2" fmla="*/ 1916502 w 1916502"/>
                <a:gd name="connsiteY2" fmla="*/ 3072780 h 3072780"/>
                <a:gd name="connsiteX3" fmla="*/ 117864 w 1916502"/>
                <a:gd name="connsiteY3" fmla="*/ 2770680 h 3072780"/>
                <a:gd name="connsiteX4" fmla="*/ 6739 w 1916502"/>
                <a:gd name="connsiteY4" fmla="*/ 2583355 h 3072780"/>
                <a:gd name="connsiteX5" fmla="*/ 523755 w 1916502"/>
                <a:gd name="connsiteY5" fmla="*/ 283611 h 3072780"/>
                <a:gd name="connsiteX0" fmla="*/ 524051 w 1916798"/>
                <a:gd name="connsiteY0" fmla="*/ 283611 h 3072780"/>
                <a:gd name="connsiteX1" fmla="*/ 1916798 w 1916798"/>
                <a:gd name="connsiteY1" fmla="*/ 0 h 3072780"/>
                <a:gd name="connsiteX2" fmla="*/ 1916798 w 1916798"/>
                <a:gd name="connsiteY2" fmla="*/ 3072780 h 3072780"/>
                <a:gd name="connsiteX3" fmla="*/ 118160 w 1916798"/>
                <a:gd name="connsiteY3" fmla="*/ 2770680 h 3072780"/>
                <a:gd name="connsiteX4" fmla="*/ 7035 w 1916798"/>
                <a:gd name="connsiteY4" fmla="*/ 2583355 h 3072780"/>
                <a:gd name="connsiteX5" fmla="*/ 524051 w 1916798"/>
                <a:gd name="connsiteY5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524051 w 1916798"/>
                <a:gd name="connsiteY6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7" fmla="*/ 524051 w 1916798"/>
                <a:gd name="connsiteY7" fmla="*/ 283611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6798" h="3072780">
                  <a:moveTo>
                    <a:pt x="492810" y="430705"/>
                  </a:moveTo>
                  <a:cubicBezTo>
                    <a:pt x="515035" y="334397"/>
                    <a:pt x="565835" y="282538"/>
                    <a:pt x="654735" y="256080"/>
                  </a:cubicBezTo>
                  <a:lnTo>
                    <a:pt x="1916798" y="0"/>
                  </a:lnTo>
                  <a:lnTo>
                    <a:pt x="1916798" y="3072780"/>
                  </a:lnTo>
                  <a:lnTo>
                    <a:pt x="118160" y="2770680"/>
                  </a:lnTo>
                  <a:cubicBezTo>
                    <a:pt x="17618" y="2752688"/>
                    <a:pt x="-16248" y="2693422"/>
                    <a:pt x="7035" y="2583355"/>
                  </a:cubicBezTo>
                  <a:lnTo>
                    <a:pt x="492810" y="430705"/>
                  </a:lnTo>
                  <a:close/>
                </a:path>
              </a:pathLst>
            </a:custGeom>
            <a:gradFill>
              <a:gsLst>
                <a:gs pos="100000">
                  <a:srgbClr val="35458F"/>
                </a:gs>
                <a:gs pos="0">
                  <a:srgbClr val="008542">
                    <a:lumMod val="8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35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6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3" name="Forma Livre 25">
              <a:extLst>
                <a:ext uri="{FF2B5EF4-FFF2-40B4-BE49-F238E27FC236}">
                  <a16:creationId xmlns:a16="http://schemas.microsoft.com/office/drawing/2014/main" id="{A40F3181-454D-4A5D-9911-6B25B98430BD}"/>
                </a:ext>
              </a:extLst>
            </p:cNvPr>
            <p:cNvSpPr/>
            <p:nvPr/>
          </p:nvSpPr>
          <p:spPr>
            <a:xfrm>
              <a:off x="5940359" y="2019287"/>
              <a:ext cx="2537586" cy="3125809"/>
            </a:xfrm>
            <a:custGeom>
              <a:avLst/>
              <a:gdLst>
                <a:gd name="connsiteX0" fmla="*/ 0 w 2541494"/>
                <a:gd name="connsiteY0" fmla="*/ 3106271 h 3106271"/>
                <a:gd name="connsiteX1" fmla="*/ 813547 w 2541494"/>
                <a:gd name="connsiteY1" fmla="*/ 638736 h 3106271"/>
                <a:gd name="connsiteX2" fmla="*/ 2541494 w 2541494"/>
                <a:gd name="connsiteY2" fmla="*/ 0 h 3106271"/>
                <a:gd name="connsiteX0" fmla="*/ 0 w 2541494"/>
                <a:gd name="connsiteY0" fmla="*/ 3106271 h 3106271"/>
                <a:gd name="connsiteX1" fmla="*/ 794009 w 2541494"/>
                <a:gd name="connsiteY1" fmla="*/ 689536 h 3106271"/>
                <a:gd name="connsiteX2" fmla="*/ 2541494 w 2541494"/>
                <a:gd name="connsiteY2" fmla="*/ 0 h 3106271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2537586 w 2537586"/>
                <a:gd name="connsiteY2" fmla="*/ 0 h 3125809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794009 w 2537586"/>
                <a:gd name="connsiteY2" fmla="*/ 709074 h 3125809"/>
                <a:gd name="connsiteX3" fmla="*/ 881880 w 2537586"/>
                <a:gd name="connsiteY3" fmla="*/ 669213 h 3125809"/>
                <a:gd name="connsiteX4" fmla="*/ 2537586 w 2537586"/>
                <a:gd name="connsiteY4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7586" h="3125809">
                  <a:moveTo>
                    <a:pt x="0" y="3125809"/>
                  </a:moveTo>
                  <a:lnTo>
                    <a:pt x="756834" y="831870"/>
                  </a:lnTo>
                  <a:cubicBezTo>
                    <a:pt x="781176" y="772686"/>
                    <a:pt x="804785" y="718872"/>
                    <a:pt x="893603" y="673121"/>
                  </a:cubicBezTo>
                  <a:lnTo>
                    <a:pt x="2537586" y="0"/>
                  </a:lnTo>
                </a:path>
              </a:pathLst>
            </a:custGeom>
            <a:noFill/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35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6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350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scopo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5B44F0-271B-45CC-91D2-7D50BF2E18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7528" y="2572258"/>
            <a:ext cx="10265638" cy="578876"/>
          </a:xfrm>
          <a:noFill/>
        </p:spPr>
        <p:txBody>
          <a:bodyPr wrap="square" rtlCol="0">
            <a:spAutoFit/>
          </a:bodyPr>
          <a:lstStyle>
            <a:lvl1pPr>
              <a:defRPr lang="pt-BR" sz="3513" b="1" dirty="0">
                <a:solidFill>
                  <a:srgbClr val="353E48"/>
                </a:solidFill>
                <a:latin typeface="Trebuchet"/>
                <a:ea typeface="Lato" charset="0"/>
                <a:cs typeface="Lato" charset="0"/>
              </a:defRPr>
            </a:lvl1pPr>
          </a:lstStyle>
          <a:p>
            <a:pPr marL="0" lvl="0" defTabSz="1337846"/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484FB6-ACEE-4243-85EA-A8CBCE8E1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37528" y="3253842"/>
            <a:ext cx="10265638" cy="376129"/>
          </a:xfrm>
        </p:spPr>
        <p:txBody>
          <a:bodyPr wrap="square">
            <a:spAutoFit/>
          </a:bodyPr>
          <a:lstStyle>
            <a:lvl1pPr marL="0" indent="0">
              <a:buNone/>
              <a:defRPr lang="pt-BR" sz="2049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7138"/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395CA4-1FB1-4D0B-A0BF-999DBC955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E0FC89-32FC-4C64-B469-D4C68916EE8E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25774C-4955-4DDF-9DC2-298E1978E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170">
            <a:extLst>
              <a:ext uri="{FF2B5EF4-FFF2-40B4-BE49-F238E27FC236}">
                <a16:creationId xmlns:a16="http://schemas.microsoft.com/office/drawing/2014/main" id="{C69E9B0E-7CE8-4E01-AC82-F030DBBB9C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-1001025"/>
            <a:ext cx="3879539" cy="3725113"/>
          </a:xfrm>
          <a:custGeom>
            <a:avLst/>
            <a:gdLst>
              <a:gd name="T0" fmla="*/ 386932365 w 3038"/>
              <a:gd name="T1" fmla="*/ 165421609 h 3029"/>
              <a:gd name="T2" fmla="*/ 386932365 w 3038"/>
              <a:gd name="T3" fmla="*/ 165421609 h 3029"/>
              <a:gd name="T4" fmla="*/ 358285057 w 3038"/>
              <a:gd name="T5" fmla="*/ 165421609 h 3029"/>
              <a:gd name="T6" fmla="*/ 333008041 w 3038"/>
              <a:gd name="T7" fmla="*/ 104749880 h 3029"/>
              <a:gd name="T8" fmla="*/ 353877862 w 3038"/>
              <a:gd name="T9" fmla="*/ 83748128 h 3029"/>
              <a:gd name="T10" fmla="*/ 353877862 w 3038"/>
              <a:gd name="T11" fmla="*/ 76099082 h 3029"/>
              <a:gd name="T12" fmla="*/ 317582678 w 3038"/>
              <a:gd name="T13" fmla="*/ 39669976 h 3029"/>
              <a:gd name="T14" fmla="*/ 309805190 w 3038"/>
              <a:gd name="T15" fmla="*/ 39669976 h 3029"/>
              <a:gd name="T16" fmla="*/ 288935369 w 3038"/>
              <a:gd name="T17" fmla="*/ 59505145 h 3029"/>
              <a:gd name="T18" fmla="*/ 228270819 w 3038"/>
              <a:gd name="T19" fmla="*/ 34225198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225198 h 3029"/>
              <a:gd name="T30" fmla="*/ 104737582 w 3038"/>
              <a:gd name="T31" fmla="*/ 59505145 h 3029"/>
              <a:gd name="T32" fmla="*/ 83738148 w 3038"/>
              <a:gd name="T33" fmla="*/ 39669976 h 3029"/>
              <a:gd name="T34" fmla="*/ 76090273 w 3038"/>
              <a:gd name="T35" fmla="*/ 39669976 h 3029"/>
              <a:gd name="T36" fmla="*/ 39665477 w 3038"/>
              <a:gd name="T37" fmla="*/ 76099082 h 3029"/>
              <a:gd name="T38" fmla="*/ 39665477 w 3038"/>
              <a:gd name="T39" fmla="*/ 83748128 h 3029"/>
              <a:gd name="T40" fmla="*/ 59498035 w 3038"/>
              <a:gd name="T41" fmla="*/ 104749880 h 3029"/>
              <a:gd name="T42" fmla="*/ 35258281 w 3038"/>
              <a:gd name="T43" fmla="*/ 165421609 h 3029"/>
              <a:gd name="T44" fmla="*/ 5444098 w 3038"/>
              <a:gd name="T45" fmla="*/ 165421609 h 3029"/>
              <a:gd name="T46" fmla="*/ 0 w 3038"/>
              <a:gd name="T47" fmla="*/ 170866747 h 3029"/>
              <a:gd name="T48" fmla="*/ 0 w 3038"/>
              <a:gd name="T49" fmla="*/ 222723206 h 3029"/>
              <a:gd name="T50" fmla="*/ 5444098 w 3038"/>
              <a:gd name="T51" fmla="*/ 228297605 h 3029"/>
              <a:gd name="T52" fmla="*/ 35258281 w 3038"/>
              <a:gd name="T53" fmla="*/ 228297605 h 3029"/>
              <a:gd name="T54" fmla="*/ 59498035 w 3038"/>
              <a:gd name="T55" fmla="*/ 288840073 h 3029"/>
              <a:gd name="T56" fmla="*/ 39665477 w 3038"/>
              <a:gd name="T57" fmla="*/ 309841825 h 3029"/>
              <a:gd name="T58" fmla="*/ 39665477 w 3038"/>
              <a:gd name="T59" fmla="*/ 317620132 h 3029"/>
              <a:gd name="T60" fmla="*/ 76090273 w 3038"/>
              <a:gd name="T61" fmla="*/ 353919617 h 3029"/>
              <a:gd name="T62" fmla="*/ 83738148 w 3038"/>
              <a:gd name="T63" fmla="*/ 353919617 h 3029"/>
              <a:gd name="T64" fmla="*/ 104737582 w 3038"/>
              <a:gd name="T65" fmla="*/ 333047485 h 3029"/>
              <a:gd name="T66" fmla="*/ 165402132 w 3038"/>
              <a:gd name="T67" fmla="*/ 358327432 h 3029"/>
              <a:gd name="T68" fmla="*/ 165402132 w 3038"/>
              <a:gd name="T69" fmla="*/ 387107851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7107851 h 3029"/>
              <a:gd name="T76" fmla="*/ 228270819 w 3038"/>
              <a:gd name="T77" fmla="*/ 358327432 h 3029"/>
              <a:gd name="T78" fmla="*/ 288935369 w 3038"/>
              <a:gd name="T79" fmla="*/ 333047485 h 3029"/>
              <a:gd name="T80" fmla="*/ 309805190 w 3038"/>
              <a:gd name="T81" fmla="*/ 353919617 h 3029"/>
              <a:gd name="T82" fmla="*/ 317582678 w 3038"/>
              <a:gd name="T83" fmla="*/ 353919617 h 3029"/>
              <a:gd name="T84" fmla="*/ 353877862 w 3038"/>
              <a:gd name="T85" fmla="*/ 317620132 h 3029"/>
              <a:gd name="T86" fmla="*/ 353877862 w 3038"/>
              <a:gd name="T87" fmla="*/ 309841825 h 3029"/>
              <a:gd name="T88" fmla="*/ 333008041 w 3038"/>
              <a:gd name="T89" fmla="*/ 288840073 h 3029"/>
              <a:gd name="T90" fmla="*/ 358285057 w 3038"/>
              <a:gd name="T91" fmla="*/ 228297605 h 3029"/>
              <a:gd name="T92" fmla="*/ 386932365 w 3038"/>
              <a:gd name="T93" fmla="*/ 228297605 h 3029"/>
              <a:gd name="T94" fmla="*/ 393672951 w 3038"/>
              <a:gd name="T95" fmla="*/ 222723206 h 3029"/>
              <a:gd name="T96" fmla="*/ 393672951 w 3038"/>
              <a:gd name="T97" fmla="*/ 170866747 h 3029"/>
              <a:gd name="T98" fmla="*/ 386932365 w 3038"/>
              <a:gd name="T99" fmla="*/ 165421609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28345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89"/>
                  <a:pt x="2407" y="289"/>
                  <a:pt x="2390" y="306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59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89"/>
                  <a:pt x="604" y="289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6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8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4"/>
                  <a:pt x="25" y="1761"/>
                  <a:pt x="42" y="1761"/>
                </a:cubicBezTo>
                <a:cubicBezTo>
                  <a:pt x="272" y="1761"/>
                  <a:pt x="272" y="1761"/>
                  <a:pt x="272" y="1761"/>
                </a:cubicBezTo>
                <a:cubicBezTo>
                  <a:pt x="306" y="1931"/>
                  <a:pt x="366" y="2093"/>
                  <a:pt x="459" y="2228"/>
                </a:cubicBezTo>
                <a:cubicBezTo>
                  <a:pt x="306" y="2390"/>
                  <a:pt x="306" y="2390"/>
                  <a:pt x="306" y="2390"/>
                </a:cubicBezTo>
                <a:cubicBezTo>
                  <a:pt x="289" y="2399"/>
                  <a:pt x="289" y="2433"/>
                  <a:pt x="306" y="2450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9"/>
                  <a:pt x="808" y="2569"/>
                  <a:pt x="808" y="2569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6"/>
                  <a:pt x="1276" y="2986"/>
                  <a:pt x="1276" y="2986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6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9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50"/>
                  <a:pt x="2730" y="2450"/>
                  <a:pt x="2730" y="2450"/>
                </a:cubicBezTo>
                <a:cubicBezTo>
                  <a:pt x="2747" y="2433"/>
                  <a:pt x="2747" y="2399"/>
                  <a:pt x="2730" y="2390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3"/>
                  <a:pt x="2730" y="1931"/>
                  <a:pt x="2764" y="1761"/>
                </a:cubicBezTo>
                <a:cubicBezTo>
                  <a:pt x="2985" y="1761"/>
                  <a:pt x="2985" y="1761"/>
                  <a:pt x="2985" y="1761"/>
                </a:cubicBezTo>
                <a:cubicBezTo>
                  <a:pt x="3011" y="1761"/>
                  <a:pt x="3037" y="1744"/>
                  <a:pt x="3037" y="1718"/>
                </a:cubicBezTo>
                <a:cubicBezTo>
                  <a:pt x="3037" y="1318"/>
                  <a:pt x="3037" y="1318"/>
                  <a:pt x="3037" y="1318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7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7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8" name="Freeform 171">
            <a:extLst>
              <a:ext uri="{FF2B5EF4-FFF2-40B4-BE49-F238E27FC236}">
                <a16:creationId xmlns:a16="http://schemas.microsoft.com/office/drawing/2014/main" id="{D6F0CBF4-56DE-4795-9534-0C0D44C331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891353"/>
            <a:ext cx="3868273" cy="3725119"/>
          </a:xfrm>
          <a:custGeom>
            <a:avLst/>
            <a:gdLst>
              <a:gd name="T0" fmla="*/ 387107851 w 3029"/>
              <a:gd name="T1" fmla="*/ 164276553 h 3030"/>
              <a:gd name="T2" fmla="*/ 387107851 w 3029"/>
              <a:gd name="T3" fmla="*/ 164276553 h 3030"/>
              <a:gd name="T4" fmla="*/ 358457052 w 3029"/>
              <a:gd name="T5" fmla="*/ 164276553 h 3030"/>
              <a:gd name="T6" fmla="*/ 333047485 w 3029"/>
              <a:gd name="T7" fmla="*/ 103644589 h 3030"/>
              <a:gd name="T8" fmla="*/ 354049237 w 3029"/>
              <a:gd name="T9" fmla="*/ 82786165 h 3030"/>
              <a:gd name="T10" fmla="*/ 354049237 w 3029"/>
              <a:gd name="T11" fmla="*/ 75012578 h 3030"/>
              <a:gd name="T12" fmla="*/ 316583168 w 3029"/>
              <a:gd name="T13" fmla="*/ 38607700 h 3030"/>
              <a:gd name="T14" fmla="*/ 308804501 w 3029"/>
              <a:gd name="T15" fmla="*/ 38607700 h 3030"/>
              <a:gd name="T16" fmla="*/ 288969693 w 3029"/>
              <a:gd name="T17" fmla="*/ 59595702 h 3030"/>
              <a:gd name="T18" fmla="*/ 228297605 w 3029"/>
              <a:gd name="T19" fmla="*/ 34202775 h 3030"/>
              <a:gd name="T20" fmla="*/ 228297605 w 3029"/>
              <a:gd name="T21" fmla="*/ 5570765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5 h 3030"/>
              <a:gd name="T28" fmla="*/ 164384645 w 3029"/>
              <a:gd name="T29" fmla="*/ 34202775 h 3030"/>
              <a:gd name="T30" fmla="*/ 103712556 w 3029"/>
              <a:gd name="T31" fmla="*/ 59595702 h 3030"/>
              <a:gd name="T32" fmla="*/ 83877748 w 3029"/>
              <a:gd name="T33" fmla="*/ 38607700 h 3030"/>
              <a:gd name="T34" fmla="*/ 76099082 w 3029"/>
              <a:gd name="T35" fmla="*/ 38607700 h 3030"/>
              <a:gd name="T36" fmla="*/ 38633013 w 3029"/>
              <a:gd name="T37" fmla="*/ 75012578 h 3030"/>
              <a:gd name="T38" fmla="*/ 38633013 w 3029"/>
              <a:gd name="T39" fmla="*/ 82786165 h 3030"/>
              <a:gd name="T40" fmla="*/ 59505145 w 3029"/>
              <a:gd name="T41" fmla="*/ 103644589 h 3030"/>
              <a:gd name="T42" fmla="*/ 34225198 w 3029"/>
              <a:gd name="T43" fmla="*/ 164276553 h 3030"/>
              <a:gd name="T44" fmla="*/ 5574399 w 3029"/>
              <a:gd name="T45" fmla="*/ 164276553 h 3030"/>
              <a:gd name="T46" fmla="*/ 0 w 3029"/>
              <a:gd name="T47" fmla="*/ 169847317 h 3030"/>
              <a:gd name="T48" fmla="*/ 0 w 3029"/>
              <a:gd name="T49" fmla="*/ 221539854 h 3030"/>
              <a:gd name="T50" fmla="*/ 5574399 w 3029"/>
              <a:gd name="T51" fmla="*/ 227110979 h 3030"/>
              <a:gd name="T52" fmla="*/ 34225198 w 3029"/>
              <a:gd name="T53" fmla="*/ 227110979 h 3030"/>
              <a:gd name="T54" fmla="*/ 59505145 w 3029"/>
              <a:gd name="T55" fmla="*/ 287742943 h 3030"/>
              <a:gd name="T56" fmla="*/ 38633013 w 3029"/>
              <a:gd name="T57" fmla="*/ 308601366 h 3030"/>
              <a:gd name="T58" fmla="*/ 38633013 w 3029"/>
              <a:gd name="T59" fmla="*/ 316374593 h 3030"/>
              <a:gd name="T60" fmla="*/ 76099082 w 3029"/>
              <a:gd name="T61" fmla="*/ 352650253 h 3030"/>
              <a:gd name="T62" fmla="*/ 83877748 w 3029"/>
              <a:gd name="T63" fmla="*/ 352650253 h 3030"/>
              <a:gd name="T64" fmla="*/ 103712556 w 3029"/>
              <a:gd name="T65" fmla="*/ 332828092 h 3030"/>
              <a:gd name="T66" fmla="*/ 164384645 w 3029"/>
              <a:gd name="T67" fmla="*/ 357055178 h 3030"/>
              <a:gd name="T68" fmla="*/ 164384645 w 3029"/>
              <a:gd name="T69" fmla="*/ 386853029 h 3030"/>
              <a:gd name="T70" fmla="*/ 169829424 w 3029"/>
              <a:gd name="T71" fmla="*/ 392423794 h 3030"/>
              <a:gd name="T72" fmla="*/ 222723206 w 3029"/>
              <a:gd name="T73" fmla="*/ 392423794 h 3030"/>
              <a:gd name="T74" fmla="*/ 228297605 w 3029"/>
              <a:gd name="T75" fmla="*/ 386853029 h 3030"/>
              <a:gd name="T76" fmla="*/ 228297605 w 3029"/>
              <a:gd name="T77" fmla="*/ 357055178 h 3030"/>
              <a:gd name="T78" fmla="*/ 288969693 w 3029"/>
              <a:gd name="T79" fmla="*/ 332828092 h 3030"/>
              <a:gd name="T80" fmla="*/ 308804501 w 3029"/>
              <a:gd name="T81" fmla="*/ 352650253 h 3030"/>
              <a:gd name="T82" fmla="*/ 316583168 w 3029"/>
              <a:gd name="T83" fmla="*/ 352650253 h 3030"/>
              <a:gd name="T84" fmla="*/ 354049237 w 3029"/>
              <a:gd name="T85" fmla="*/ 316374593 h 3030"/>
              <a:gd name="T86" fmla="*/ 354049237 w 3029"/>
              <a:gd name="T87" fmla="*/ 308601366 h 3030"/>
              <a:gd name="T88" fmla="*/ 333047485 w 3029"/>
              <a:gd name="T89" fmla="*/ 287742943 h 3030"/>
              <a:gd name="T90" fmla="*/ 358457052 w 3029"/>
              <a:gd name="T91" fmla="*/ 227110979 h 3030"/>
              <a:gd name="T92" fmla="*/ 387107851 w 3029"/>
              <a:gd name="T93" fmla="*/ 227110979 h 3030"/>
              <a:gd name="T94" fmla="*/ 392552629 w 3029"/>
              <a:gd name="T95" fmla="*/ 221539854 h 3030"/>
              <a:gd name="T96" fmla="*/ 392552629 w 3029"/>
              <a:gd name="T97" fmla="*/ 169847317 h 3030"/>
              <a:gd name="T98" fmla="*/ 387107851 w 3029"/>
              <a:gd name="T99" fmla="*/ 164276553 h 3030"/>
              <a:gd name="T100" fmla="*/ 196276315 w 3029"/>
              <a:gd name="T101" fmla="*/ 325184443 h 3030"/>
              <a:gd name="T102" fmla="*/ 196276315 w 3029"/>
              <a:gd name="T103" fmla="*/ 325184443 h 3030"/>
              <a:gd name="T104" fmla="*/ 67283451 w 3029"/>
              <a:gd name="T105" fmla="*/ 196276866 h 3030"/>
              <a:gd name="T106" fmla="*/ 196276315 w 3029"/>
              <a:gd name="T107" fmla="*/ 67368929 h 3030"/>
              <a:gd name="T108" fmla="*/ 325398799 w 3029"/>
              <a:gd name="T109" fmla="*/ 196276866 h 3030"/>
              <a:gd name="T110" fmla="*/ 196276315 w 3029"/>
              <a:gd name="T111" fmla="*/ 325184443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9"/>
                  <a:pt x="2731" y="639"/>
                  <a:pt x="2731" y="639"/>
                </a:cubicBezTo>
                <a:cubicBezTo>
                  <a:pt x="2739" y="622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8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8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2"/>
                  <a:pt x="298" y="639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1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5"/>
                  <a:pt x="459" y="2221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2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40"/>
                  <a:pt x="630" y="2740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40"/>
                  <a:pt x="2424" y="2740"/>
                  <a:pt x="2442" y="2722"/>
                </a:cubicBezTo>
                <a:cubicBezTo>
                  <a:pt x="2731" y="2442"/>
                  <a:pt x="2731" y="2442"/>
                  <a:pt x="2731" y="2442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1"/>
                  <a:pt x="2569" y="2221"/>
                  <a:pt x="2569" y="2221"/>
                </a:cubicBezTo>
                <a:cubicBezTo>
                  <a:pt x="2663" y="2085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1"/>
                  <a:pt x="3028" y="1311"/>
                  <a:pt x="3028" y="1311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5"/>
                </a:cubicBezTo>
                <a:cubicBezTo>
                  <a:pt x="519" y="962"/>
                  <a:pt x="961" y="520"/>
                  <a:pt x="1514" y="520"/>
                </a:cubicBezTo>
                <a:cubicBezTo>
                  <a:pt x="2067" y="520"/>
                  <a:pt x="2510" y="962"/>
                  <a:pt x="2510" y="1515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9" name="Freeform 172">
            <a:extLst>
              <a:ext uri="{FF2B5EF4-FFF2-40B4-BE49-F238E27FC236}">
                <a16:creationId xmlns:a16="http://schemas.microsoft.com/office/drawing/2014/main" id="{B0F8542D-0C63-44C0-9FBD-6212F9CEB2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4920118"/>
            <a:ext cx="3868273" cy="3725113"/>
          </a:xfrm>
          <a:custGeom>
            <a:avLst/>
            <a:gdLst>
              <a:gd name="T0" fmla="*/ 387107851 w 3029"/>
              <a:gd name="T1" fmla="*/ 164276042 h 3030"/>
              <a:gd name="T2" fmla="*/ 387107851 w 3029"/>
              <a:gd name="T3" fmla="*/ 164276042 h 3030"/>
              <a:gd name="T4" fmla="*/ 358457052 w 3029"/>
              <a:gd name="T5" fmla="*/ 164276042 h 3030"/>
              <a:gd name="T6" fmla="*/ 333047485 w 3029"/>
              <a:gd name="T7" fmla="*/ 103644134 h 3030"/>
              <a:gd name="T8" fmla="*/ 354049237 w 3029"/>
              <a:gd name="T9" fmla="*/ 82656152 h 3030"/>
              <a:gd name="T10" fmla="*/ 354049237 w 3029"/>
              <a:gd name="T11" fmla="*/ 75012509 h 3030"/>
              <a:gd name="T12" fmla="*/ 316583168 w 3029"/>
              <a:gd name="T13" fmla="*/ 38607665 h 3030"/>
              <a:gd name="T14" fmla="*/ 308804501 w 3029"/>
              <a:gd name="T15" fmla="*/ 38607665 h 3030"/>
              <a:gd name="T16" fmla="*/ 288969693 w 3029"/>
              <a:gd name="T17" fmla="*/ 59595287 h 3030"/>
              <a:gd name="T18" fmla="*/ 228297605 w 3029"/>
              <a:gd name="T19" fmla="*/ 34202744 h 3030"/>
              <a:gd name="T20" fmla="*/ 228297605 w 3029"/>
              <a:gd name="T21" fmla="*/ 5570760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0 h 3030"/>
              <a:gd name="T28" fmla="*/ 164384645 w 3029"/>
              <a:gd name="T29" fmla="*/ 34202744 h 3030"/>
              <a:gd name="T30" fmla="*/ 103712556 w 3029"/>
              <a:gd name="T31" fmla="*/ 59595287 h 3030"/>
              <a:gd name="T32" fmla="*/ 83877748 w 3029"/>
              <a:gd name="T33" fmla="*/ 38607665 h 3030"/>
              <a:gd name="T34" fmla="*/ 76099082 w 3029"/>
              <a:gd name="T35" fmla="*/ 38607665 h 3030"/>
              <a:gd name="T36" fmla="*/ 38633013 w 3029"/>
              <a:gd name="T37" fmla="*/ 75012509 h 3030"/>
              <a:gd name="T38" fmla="*/ 38633013 w 3029"/>
              <a:gd name="T39" fmla="*/ 82656152 h 3030"/>
              <a:gd name="T40" fmla="*/ 59505145 w 3029"/>
              <a:gd name="T41" fmla="*/ 103644134 h 3030"/>
              <a:gd name="T42" fmla="*/ 34225198 w 3029"/>
              <a:gd name="T43" fmla="*/ 164276042 h 3030"/>
              <a:gd name="T44" fmla="*/ 5574399 w 3029"/>
              <a:gd name="T45" fmla="*/ 164276042 h 3030"/>
              <a:gd name="T46" fmla="*/ 0 w 3029"/>
              <a:gd name="T47" fmla="*/ 169717584 h 3030"/>
              <a:gd name="T48" fmla="*/ 0 w 3029"/>
              <a:gd name="T49" fmla="*/ 221539651 h 3030"/>
              <a:gd name="T50" fmla="*/ 5574399 w 3029"/>
              <a:gd name="T51" fmla="*/ 227110411 h 3030"/>
              <a:gd name="T52" fmla="*/ 34225198 w 3029"/>
              <a:gd name="T53" fmla="*/ 227110411 h 3030"/>
              <a:gd name="T54" fmla="*/ 59505145 w 3029"/>
              <a:gd name="T55" fmla="*/ 287612741 h 3030"/>
              <a:gd name="T56" fmla="*/ 38633013 w 3029"/>
              <a:gd name="T57" fmla="*/ 308600723 h 3030"/>
              <a:gd name="T58" fmla="*/ 38633013 w 3029"/>
              <a:gd name="T59" fmla="*/ 316244726 h 3030"/>
              <a:gd name="T60" fmla="*/ 76099082 w 3029"/>
              <a:gd name="T61" fmla="*/ 352649570 h 3030"/>
              <a:gd name="T62" fmla="*/ 83877748 w 3029"/>
              <a:gd name="T63" fmla="*/ 352649570 h 3030"/>
              <a:gd name="T64" fmla="*/ 103712556 w 3029"/>
              <a:gd name="T65" fmla="*/ 332827787 h 3030"/>
              <a:gd name="T66" fmla="*/ 164384645 w 3029"/>
              <a:gd name="T67" fmla="*/ 357054491 h 3030"/>
              <a:gd name="T68" fmla="*/ 164384645 w 3029"/>
              <a:gd name="T69" fmla="*/ 386852314 h 3030"/>
              <a:gd name="T70" fmla="*/ 169829424 w 3029"/>
              <a:gd name="T71" fmla="*/ 392423074 h 3030"/>
              <a:gd name="T72" fmla="*/ 222723206 w 3029"/>
              <a:gd name="T73" fmla="*/ 392423074 h 3030"/>
              <a:gd name="T74" fmla="*/ 228297605 w 3029"/>
              <a:gd name="T75" fmla="*/ 386852314 h 3030"/>
              <a:gd name="T76" fmla="*/ 228297605 w 3029"/>
              <a:gd name="T77" fmla="*/ 357054491 h 3030"/>
              <a:gd name="T78" fmla="*/ 288969693 w 3029"/>
              <a:gd name="T79" fmla="*/ 332827787 h 3030"/>
              <a:gd name="T80" fmla="*/ 308804501 w 3029"/>
              <a:gd name="T81" fmla="*/ 352649570 h 3030"/>
              <a:gd name="T82" fmla="*/ 316583168 w 3029"/>
              <a:gd name="T83" fmla="*/ 352649570 h 3030"/>
              <a:gd name="T84" fmla="*/ 354049237 w 3029"/>
              <a:gd name="T85" fmla="*/ 316244726 h 3030"/>
              <a:gd name="T86" fmla="*/ 354049237 w 3029"/>
              <a:gd name="T87" fmla="*/ 308600723 h 3030"/>
              <a:gd name="T88" fmla="*/ 333047485 w 3029"/>
              <a:gd name="T89" fmla="*/ 287612741 h 3030"/>
              <a:gd name="T90" fmla="*/ 358457052 w 3029"/>
              <a:gd name="T91" fmla="*/ 227110411 h 3030"/>
              <a:gd name="T92" fmla="*/ 387107851 w 3029"/>
              <a:gd name="T93" fmla="*/ 227110411 h 3030"/>
              <a:gd name="T94" fmla="*/ 392552629 w 3029"/>
              <a:gd name="T95" fmla="*/ 221539651 h 3030"/>
              <a:gd name="T96" fmla="*/ 392552629 w 3029"/>
              <a:gd name="T97" fmla="*/ 169717584 h 3030"/>
              <a:gd name="T98" fmla="*/ 387107851 w 3029"/>
              <a:gd name="T99" fmla="*/ 164276042 h 3030"/>
              <a:gd name="T100" fmla="*/ 196276315 w 3029"/>
              <a:gd name="T101" fmla="*/ 325183785 h 3030"/>
              <a:gd name="T102" fmla="*/ 196276315 w 3029"/>
              <a:gd name="T103" fmla="*/ 325183785 h 3030"/>
              <a:gd name="T104" fmla="*/ 67283451 w 3029"/>
              <a:gd name="T105" fmla="*/ 196146748 h 3030"/>
              <a:gd name="T106" fmla="*/ 196276315 w 3029"/>
              <a:gd name="T107" fmla="*/ 67239289 h 3030"/>
              <a:gd name="T108" fmla="*/ 325398799 w 3029"/>
              <a:gd name="T109" fmla="*/ 196146748 h 3030"/>
              <a:gd name="T110" fmla="*/ 196276315 w 3029"/>
              <a:gd name="T111" fmla="*/ 325183785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8"/>
                  <a:pt x="2731" y="638"/>
                  <a:pt x="2731" y="638"/>
                </a:cubicBezTo>
                <a:cubicBezTo>
                  <a:pt x="2739" y="621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7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1"/>
                  <a:pt x="298" y="638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0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4"/>
                  <a:pt x="459" y="2220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9"/>
                  <a:pt x="630" y="2739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39"/>
                  <a:pt x="2424" y="2739"/>
                  <a:pt x="2442" y="2722"/>
                </a:cubicBezTo>
                <a:cubicBezTo>
                  <a:pt x="2731" y="2441"/>
                  <a:pt x="2731" y="2441"/>
                  <a:pt x="2731" y="2441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3" y="2084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0"/>
                  <a:pt x="3028" y="1310"/>
                  <a:pt x="3028" y="1310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4"/>
                </a:cubicBezTo>
                <a:cubicBezTo>
                  <a:pt x="519" y="962"/>
                  <a:pt x="961" y="519"/>
                  <a:pt x="1514" y="519"/>
                </a:cubicBezTo>
                <a:cubicBezTo>
                  <a:pt x="2067" y="519"/>
                  <a:pt x="2510" y="962"/>
                  <a:pt x="2510" y="1514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0" name="Freeform 173">
            <a:extLst>
              <a:ext uri="{FF2B5EF4-FFF2-40B4-BE49-F238E27FC236}">
                <a16:creationId xmlns:a16="http://schemas.microsoft.com/office/drawing/2014/main" id="{3EE37673-DE62-4542-87FF-72250AED50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2930137"/>
            <a:ext cx="3879539" cy="3725119"/>
          </a:xfrm>
          <a:custGeom>
            <a:avLst/>
            <a:gdLst>
              <a:gd name="T0" fmla="*/ 386932365 w 3038"/>
              <a:gd name="T1" fmla="*/ 165531498 h 3028"/>
              <a:gd name="T2" fmla="*/ 386932365 w 3038"/>
              <a:gd name="T3" fmla="*/ 165531498 h 3028"/>
              <a:gd name="T4" fmla="*/ 358285057 w 3038"/>
              <a:gd name="T5" fmla="*/ 165531498 h 3028"/>
              <a:gd name="T6" fmla="*/ 333008041 w 3038"/>
              <a:gd name="T7" fmla="*/ 104819147 h 3028"/>
              <a:gd name="T8" fmla="*/ 353877862 w 3038"/>
              <a:gd name="T9" fmla="*/ 83933260 h 3028"/>
              <a:gd name="T10" fmla="*/ 353877862 w 3038"/>
              <a:gd name="T11" fmla="*/ 76149495 h 3028"/>
              <a:gd name="T12" fmla="*/ 317582678 w 3038"/>
              <a:gd name="T13" fmla="*/ 39696440 h 3028"/>
              <a:gd name="T14" fmla="*/ 309805190 w 3038"/>
              <a:gd name="T15" fmla="*/ 39696440 h 3028"/>
              <a:gd name="T16" fmla="*/ 288935369 w 3038"/>
              <a:gd name="T17" fmla="*/ 59674324 h 3028"/>
              <a:gd name="T18" fmla="*/ 228270819 w 3038"/>
              <a:gd name="T19" fmla="*/ 34247697 h 3028"/>
              <a:gd name="T20" fmla="*/ 228270819 w 3038"/>
              <a:gd name="T21" fmla="*/ 5578406 h 3028"/>
              <a:gd name="T22" fmla="*/ 222696749 w 3038"/>
              <a:gd name="T23" fmla="*/ 0 h 3028"/>
              <a:gd name="T24" fmla="*/ 170846589 w 3038"/>
              <a:gd name="T25" fmla="*/ 0 h 3028"/>
              <a:gd name="T26" fmla="*/ 165402132 w 3038"/>
              <a:gd name="T27" fmla="*/ 5578406 h 3028"/>
              <a:gd name="T28" fmla="*/ 165402132 w 3038"/>
              <a:gd name="T29" fmla="*/ 34247697 h 3028"/>
              <a:gd name="T30" fmla="*/ 104737582 w 3038"/>
              <a:gd name="T31" fmla="*/ 59674324 h 3028"/>
              <a:gd name="T32" fmla="*/ 83738148 w 3038"/>
              <a:gd name="T33" fmla="*/ 39696440 h 3028"/>
              <a:gd name="T34" fmla="*/ 76090273 w 3038"/>
              <a:gd name="T35" fmla="*/ 39696440 h 3028"/>
              <a:gd name="T36" fmla="*/ 39665477 w 3038"/>
              <a:gd name="T37" fmla="*/ 76149495 h 3028"/>
              <a:gd name="T38" fmla="*/ 39665477 w 3038"/>
              <a:gd name="T39" fmla="*/ 83933260 h 3028"/>
              <a:gd name="T40" fmla="*/ 59498035 w 3038"/>
              <a:gd name="T41" fmla="*/ 104819147 h 3028"/>
              <a:gd name="T42" fmla="*/ 35258281 w 3038"/>
              <a:gd name="T43" fmla="*/ 165531498 h 3028"/>
              <a:gd name="T44" fmla="*/ 5444098 w 3038"/>
              <a:gd name="T45" fmla="*/ 165531498 h 3028"/>
              <a:gd name="T46" fmla="*/ 0 w 3038"/>
              <a:gd name="T47" fmla="*/ 171109544 h 3028"/>
              <a:gd name="T48" fmla="*/ 0 w 3038"/>
              <a:gd name="T49" fmla="*/ 222870440 h 3028"/>
              <a:gd name="T50" fmla="*/ 5444098 w 3038"/>
              <a:gd name="T51" fmla="*/ 228319183 h 3028"/>
              <a:gd name="T52" fmla="*/ 35258281 w 3038"/>
              <a:gd name="T53" fmla="*/ 228319183 h 3028"/>
              <a:gd name="T54" fmla="*/ 59498035 w 3038"/>
              <a:gd name="T55" fmla="*/ 289031174 h 3028"/>
              <a:gd name="T56" fmla="*/ 39665477 w 3038"/>
              <a:gd name="T57" fmla="*/ 308879394 h 3028"/>
              <a:gd name="T58" fmla="*/ 39665477 w 3038"/>
              <a:gd name="T59" fmla="*/ 317700825 h 3028"/>
              <a:gd name="T60" fmla="*/ 76090273 w 3038"/>
              <a:gd name="T61" fmla="*/ 354154241 h 3028"/>
              <a:gd name="T62" fmla="*/ 83738148 w 3038"/>
              <a:gd name="T63" fmla="*/ 354154241 h 3028"/>
              <a:gd name="T64" fmla="*/ 104737582 w 3038"/>
              <a:gd name="T65" fmla="*/ 333138330 h 3028"/>
              <a:gd name="T66" fmla="*/ 165402132 w 3038"/>
              <a:gd name="T67" fmla="*/ 358564956 h 3028"/>
              <a:gd name="T68" fmla="*/ 165402132 w 3038"/>
              <a:gd name="T69" fmla="*/ 387234248 h 3028"/>
              <a:gd name="T70" fmla="*/ 170846589 w 3038"/>
              <a:gd name="T71" fmla="*/ 392682990 h 3028"/>
              <a:gd name="T72" fmla="*/ 222696749 w 3038"/>
              <a:gd name="T73" fmla="*/ 392682990 h 3028"/>
              <a:gd name="T74" fmla="*/ 228270819 w 3038"/>
              <a:gd name="T75" fmla="*/ 387234248 h 3028"/>
              <a:gd name="T76" fmla="*/ 228270819 w 3038"/>
              <a:gd name="T77" fmla="*/ 358564956 h 3028"/>
              <a:gd name="T78" fmla="*/ 288935369 w 3038"/>
              <a:gd name="T79" fmla="*/ 333138330 h 3028"/>
              <a:gd name="T80" fmla="*/ 309805190 w 3038"/>
              <a:gd name="T81" fmla="*/ 354154241 h 3028"/>
              <a:gd name="T82" fmla="*/ 317582678 w 3038"/>
              <a:gd name="T83" fmla="*/ 354154241 h 3028"/>
              <a:gd name="T84" fmla="*/ 353877862 w 3038"/>
              <a:gd name="T85" fmla="*/ 317700825 h 3028"/>
              <a:gd name="T86" fmla="*/ 353877862 w 3038"/>
              <a:gd name="T87" fmla="*/ 308879394 h 3028"/>
              <a:gd name="T88" fmla="*/ 333008041 w 3038"/>
              <a:gd name="T89" fmla="*/ 289031174 h 3028"/>
              <a:gd name="T90" fmla="*/ 358285057 w 3038"/>
              <a:gd name="T91" fmla="*/ 228319183 h 3028"/>
              <a:gd name="T92" fmla="*/ 386932365 w 3038"/>
              <a:gd name="T93" fmla="*/ 228319183 h 3028"/>
              <a:gd name="T94" fmla="*/ 393672951 w 3038"/>
              <a:gd name="T95" fmla="*/ 222870440 h 3028"/>
              <a:gd name="T96" fmla="*/ 393672951 w 3038"/>
              <a:gd name="T97" fmla="*/ 171109544 h 3028"/>
              <a:gd name="T98" fmla="*/ 386932365 w 3038"/>
              <a:gd name="T99" fmla="*/ 165531498 h 3028"/>
              <a:gd name="T100" fmla="*/ 196253218 w 3038"/>
              <a:gd name="T101" fmla="*/ 325484590 h 3028"/>
              <a:gd name="T102" fmla="*/ 196253218 w 3038"/>
              <a:gd name="T103" fmla="*/ 325484590 h 3028"/>
              <a:gd name="T104" fmla="*/ 67275523 w 3038"/>
              <a:gd name="T105" fmla="*/ 196406507 h 3028"/>
              <a:gd name="T106" fmla="*/ 196253218 w 3038"/>
              <a:gd name="T107" fmla="*/ 67328064 h 3028"/>
              <a:gd name="T108" fmla="*/ 325230553 w 3038"/>
              <a:gd name="T109" fmla="*/ 196406507 h 3028"/>
              <a:gd name="T110" fmla="*/ 196253218 w 3038"/>
              <a:gd name="T111" fmla="*/ 325484590 h 302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8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7"/>
                  <a:pt x="2730" y="647"/>
                  <a:pt x="2730" y="647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90"/>
                  <a:pt x="2407" y="290"/>
                  <a:pt x="2390" y="306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3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60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90"/>
                  <a:pt x="604" y="290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7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9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3"/>
                  <a:pt x="25" y="1760"/>
                  <a:pt x="42" y="1760"/>
                </a:cubicBezTo>
                <a:cubicBezTo>
                  <a:pt x="272" y="1760"/>
                  <a:pt x="272" y="1760"/>
                  <a:pt x="272" y="1760"/>
                </a:cubicBezTo>
                <a:cubicBezTo>
                  <a:pt x="306" y="1930"/>
                  <a:pt x="366" y="2092"/>
                  <a:pt x="459" y="2228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32"/>
                  <a:pt x="306" y="2449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1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0"/>
                  <a:pt x="1293" y="3027"/>
                  <a:pt x="1318" y="3027"/>
                </a:cubicBezTo>
                <a:cubicBezTo>
                  <a:pt x="1718" y="3027"/>
                  <a:pt x="1718" y="3027"/>
                  <a:pt x="1718" y="3027"/>
                </a:cubicBezTo>
                <a:cubicBezTo>
                  <a:pt x="1744" y="3027"/>
                  <a:pt x="1761" y="3010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1"/>
                  <a:pt x="2229" y="2568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49"/>
                  <a:pt x="2730" y="2449"/>
                  <a:pt x="2730" y="2449"/>
                </a:cubicBezTo>
                <a:cubicBezTo>
                  <a:pt x="2747" y="2432"/>
                  <a:pt x="2747" y="2398"/>
                  <a:pt x="2730" y="2381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2"/>
                  <a:pt x="2730" y="1930"/>
                  <a:pt x="2764" y="1760"/>
                </a:cubicBezTo>
                <a:cubicBezTo>
                  <a:pt x="2985" y="1760"/>
                  <a:pt x="2985" y="1760"/>
                  <a:pt x="2985" y="1760"/>
                </a:cubicBezTo>
                <a:cubicBezTo>
                  <a:pt x="3011" y="1760"/>
                  <a:pt x="3037" y="1743"/>
                  <a:pt x="3037" y="1718"/>
                </a:cubicBezTo>
                <a:cubicBezTo>
                  <a:pt x="3037" y="1319"/>
                  <a:pt x="3037" y="1319"/>
                  <a:pt x="3037" y="1319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6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6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1" name="Freeform 174">
            <a:extLst>
              <a:ext uri="{FF2B5EF4-FFF2-40B4-BE49-F238E27FC236}">
                <a16:creationId xmlns:a16="http://schemas.microsoft.com/office/drawing/2014/main" id="{6193DDB7-F3B3-494F-88CB-2724563DA2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6969748"/>
            <a:ext cx="3879539" cy="3725113"/>
          </a:xfrm>
          <a:custGeom>
            <a:avLst/>
            <a:gdLst>
              <a:gd name="T0" fmla="*/ 386932365 w 3038"/>
              <a:gd name="T1" fmla="*/ 164255025 h 3029"/>
              <a:gd name="T2" fmla="*/ 386932365 w 3038"/>
              <a:gd name="T3" fmla="*/ 164255025 h 3029"/>
              <a:gd name="T4" fmla="*/ 358285057 w 3038"/>
              <a:gd name="T5" fmla="*/ 164255025 h 3029"/>
              <a:gd name="T6" fmla="*/ 333008041 w 3038"/>
              <a:gd name="T7" fmla="*/ 103582936 h 3029"/>
              <a:gd name="T8" fmla="*/ 353877862 w 3038"/>
              <a:gd name="T9" fmla="*/ 83748128 h 3029"/>
              <a:gd name="T10" fmla="*/ 353877862 w 3038"/>
              <a:gd name="T11" fmla="*/ 75969461 h 3029"/>
              <a:gd name="T12" fmla="*/ 317582678 w 3038"/>
              <a:gd name="T13" fmla="*/ 38503392 h 3029"/>
              <a:gd name="T14" fmla="*/ 309805190 w 3038"/>
              <a:gd name="T15" fmla="*/ 38503392 h 3029"/>
              <a:gd name="T16" fmla="*/ 288935369 w 3038"/>
              <a:gd name="T17" fmla="*/ 59505145 h 3029"/>
              <a:gd name="T18" fmla="*/ 228270819 w 3038"/>
              <a:gd name="T19" fmla="*/ 34095577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095577 h 3029"/>
              <a:gd name="T30" fmla="*/ 104737582 w 3038"/>
              <a:gd name="T31" fmla="*/ 59505145 h 3029"/>
              <a:gd name="T32" fmla="*/ 83738148 w 3038"/>
              <a:gd name="T33" fmla="*/ 38503392 h 3029"/>
              <a:gd name="T34" fmla="*/ 76090273 w 3038"/>
              <a:gd name="T35" fmla="*/ 38503392 h 3029"/>
              <a:gd name="T36" fmla="*/ 39665477 w 3038"/>
              <a:gd name="T37" fmla="*/ 75969461 h 3029"/>
              <a:gd name="T38" fmla="*/ 39665477 w 3038"/>
              <a:gd name="T39" fmla="*/ 83748128 h 3029"/>
              <a:gd name="T40" fmla="*/ 59498035 w 3038"/>
              <a:gd name="T41" fmla="*/ 103582936 h 3029"/>
              <a:gd name="T42" fmla="*/ 35258281 w 3038"/>
              <a:gd name="T43" fmla="*/ 164255025 h 3029"/>
              <a:gd name="T44" fmla="*/ 5444098 w 3038"/>
              <a:gd name="T45" fmla="*/ 164255025 h 3029"/>
              <a:gd name="T46" fmla="*/ 0 w 3038"/>
              <a:gd name="T47" fmla="*/ 169699803 h 3029"/>
              <a:gd name="T48" fmla="*/ 0 w 3038"/>
              <a:gd name="T49" fmla="*/ 221556262 h 3029"/>
              <a:gd name="T50" fmla="*/ 5444098 w 3038"/>
              <a:gd name="T51" fmla="*/ 227130661 h 3029"/>
              <a:gd name="T52" fmla="*/ 35258281 w 3038"/>
              <a:gd name="T53" fmla="*/ 227130661 h 3029"/>
              <a:gd name="T54" fmla="*/ 59498035 w 3038"/>
              <a:gd name="T55" fmla="*/ 287802749 h 3029"/>
              <a:gd name="T56" fmla="*/ 39665477 w 3038"/>
              <a:gd name="T57" fmla="*/ 308674881 h 3029"/>
              <a:gd name="T58" fmla="*/ 39665477 w 3038"/>
              <a:gd name="T59" fmla="*/ 316453548 h 3029"/>
              <a:gd name="T60" fmla="*/ 76090273 w 3038"/>
              <a:gd name="T61" fmla="*/ 352882653 h 3029"/>
              <a:gd name="T62" fmla="*/ 83738148 w 3038"/>
              <a:gd name="T63" fmla="*/ 352882653 h 3029"/>
              <a:gd name="T64" fmla="*/ 104737582 w 3038"/>
              <a:gd name="T65" fmla="*/ 332917864 h 3029"/>
              <a:gd name="T66" fmla="*/ 165402132 w 3038"/>
              <a:gd name="T67" fmla="*/ 358327432 h 3029"/>
              <a:gd name="T68" fmla="*/ 165402132 w 3038"/>
              <a:gd name="T69" fmla="*/ 386978230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6978230 h 3029"/>
              <a:gd name="T76" fmla="*/ 228270819 w 3038"/>
              <a:gd name="T77" fmla="*/ 358327432 h 3029"/>
              <a:gd name="T78" fmla="*/ 288935369 w 3038"/>
              <a:gd name="T79" fmla="*/ 332917864 h 3029"/>
              <a:gd name="T80" fmla="*/ 309805190 w 3038"/>
              <a:gd name="T81" fmla="*/ 352882653 h 3029"/>
              <a:gd name="T82" fmla="*/ 317582678 w 3038"/>
              <a:gd name="T83" fmla="*/ 352882653 h 3029"/>
              <a:gd name="T84" fmla="*/ 353877862 w 3038"/>
              <a:gd name="T85" fmla="*/ 316453548 h 3029"/>
              <a:gd name="T86" fmla="*/ 353877862 w 3038"/>
              <a:gd name="T87" fmla="*/ 308674881 h 3029"/>
              <a:gd name="T88" fmla="*/ 333008041 w 3038"/>
              <a:gd name="T89" fmla="*/ 287802749 h 3029"/>
              <a:gd name="T90" fmla="*/ 358285057 w 3038"/>
              <a:gd name="T91" fmla="*/ 227130661 h 3029"/>
              <a:gd name="T92" fmla="*/ 386932365 w 3038"/>
              <a:gd name="T93" fmla="*/ 227130661 h 3029"/>
              <a:gd name="T94" fmla="*/ 393672951 w 3038"/>
              <a:gd name="T95" fmla="*/ 221556262 h 3029"/>
              <a:gd name="T96" fmla="*/ 393672951 w 3038"/>
              <a:gd name="T97" fmla="*/ 169699803 h 3029"/>
              <a:gd name="T98" fmla="*/ 386932365 w 3038"/>
              <a:gd name="T99" fmla="*/ 164255025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15383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67"/>
                </a:moveTo>
                <a:lnTo>
                  <a:pt x="2985" y="1267"/>
                </a:lnTo>
                <a:cubicBezTo>
                  <a:pt x="2764" y="1267"/>
                  <a:pt x="2764" y="1267"/>
                  <a:pt x="2764" y="1267"/>
                </a:cubicBezTo>
                <a:cubicBezTo>
                  <a:pt x="2730" y="1097"/>
                  <a:pt x="2662" y="944"/>
                  <a:pt x="2569" y="799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29"/>
                  <a:pt x="2747" y="603"/>
                  <a:pt x="2730" y="586"/>
                </a:cubicBezTo>
                <a:cubicBezTo>
                  <a:pt x="2450" y="297"/>
                  <a:pt x="2450" y="297"/>
                  <a:pt x="2450" y="297"/>
                </a:cubicBezTo>
                <a:cubicBezTo>
                  <a:pt x="2433" y="280"/>
                  <a:pt x="2407" y="280"/>
                  <a:pt x="2390" y="297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5"/>
                  <a:pt x="1931" y="297"/>
                  <a:pt x="1761" y="263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3"/>
                  <a:pt x="1276" y="263"/>
                  <a:pt x="1276" y="263"/>
                </a:cubicBezTo>
                <a:cubicBezTo>
                  <a:pt x="1106" y="297"/>
                  <a:pt x="944" y="365"/>
                  <a:pt x="808" y="459"/>
                </a:cubicBezTo>
                <a:cubicBezTo>
                  <a:pt x="646" y="297"/>
                  <a:pt x="646" y="297"/>
                  <a:pt x="646" y="297"/>
                </a:cubicBezTo>
                <a:cubicBezTo>
                  <a:pt x="629" y="280"/>
                  <a:pt x="604" y="280"/>
                  <a:pt x="587" y="297"/>
                </a:cubicBezTo>
                <a:cubicBezTo>
                  <a:pt x="306" y="586"/>
                  <a:pt x="306" y="586"/>
                  <a:pt x="306" y="586"/>
                </a:cubicBezTo>
                <a:cubicBezTo>
                  <a:pt x="289" y="603"/>
                  <a:pt x="289" y="629"/>
                  <a:pt x="306" y="646"/>
                </a:cubicBezTo>
                <a:cubicBezTo>
                  <a:pt x="459" y="799"/>
                  <a:pt x="459" y="799"/>
                  <a:pt x="459" y="799"/>
                </a:cubicBezTo>
                <a:cubicBezTo>
                  <a:pt x="366" y="944"/>
                  <a:pt x="306" y="1097"/>
                  <a:pt x="272" y="1267"/>
                </a:cubicBezTo>
                <a:cubicBezTo>
                  <a:pt x="42" y="1267"/>
                  <a:pt x="42" y="1267"/>
                  <a:pt x="42" y="1267"/>
                </a:cubicBezTo>
                <a:cubicBezTo>
                  <a:pt x="25" y="1267"/>
                  <a:pt x="0" y="1293"/>
                  <a:pt x="0" y="1309"/>
                </a:cubicBezTo>
                <a:cubicBezTo>
                  <a:pt x="0" y="1709"/>
                  <a:pt x="0" y="1709"/>
                  <a:pt x="0" y="1709"/>
                </a:cubicBezTo>
                <a:cubicBezTo>
                  <a:pt x="0" y="1735"/>
                  <a:pt x="25" y="1752"/>
                  <a:pt x="42" y="1752"/>
                </a:cubicBezTo>
                <a:cubicBezTo>
                  <a:pt x="272" y="1752"/>
                  <a:pt x="272" y="1752"/>
                  <a:pt x="272" y="1752"/>
                </a:cubicBezTo>
                <a:cubicBezTo>
                  <a:pt x="306" y="1922"/>
                  <a:pt x="366" y="2084"/>
                  <a:pt x="459" y="2220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24"/>
                  <a:pt x="306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8"/>
                  <a:pt x="629" y="2738"/>
                  <a:pt x="646" y="2722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8"/>
                </a:cubicBezTo>
                <a:cubicBezTo>
                  <a:pt x="2390" y="2722"/>
                  <a:pt x="2390" y="2722"/>
                  <a:pt x="2390" y="2722"/>
                </a:cubicBezTo>
                <a:cubicBezTo>
                  <a:pt x="2407" y="2738"/>
                  <a:pt x="2433" y="2738"/>
                  <a:pt x="2450" y="2722"/>
                </a:cubicBezTo>
                <a:cubicBezTo>
                  <a:pt x="2730" y="2441"/>
                  <a:pt x="2730" y="2441"/>
                  <a:pt x="2730" y="2441"/>
                </a:cubicBezTo>
                <a:cubicBezTo>
                  <a:pt x="2747" y="2424"/>
                  <a:pt x="2747" y="2398"/>
                  <a:pt x="2730" y="2381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2" y="2084"/>
                  <a:pt x="2730" y="1922"/>
                  <a:pt x="2764" y="1752"/>
                </a:cubicBezTo>
                <a:cubicBezTo>
                  <a:pt x="2985" y="1752"/>
                  <a:pt x="2985" y="1752"/>
                  <a:pt x="2985" y="1752"/>
                </a:cubicBezTo>
                <a:cubicBezTo>
                  <a:pt x="3011" y="1752"/>
                  <a:pt x="3037" y="1735"/>
                  <a:pt x="3037" y="1709"/>
                </a:cubicBezTo>
                <a:cubicBezTo>
                  <a:pt x="3037" y="1309"/>
                  <a:pt x="3037" y="1309"/>
                  <a:pt x="3037" y="1309"/>
                </a:cubicBezTo>
                <a:cubicBezTo>
                  <a:pt x="3037" y="1293"/>
                  <a:pt x="3011" y="1267"/>
                  <a:pt x="2985" y="1267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58"/>
                  <a:pt x="519" y="1514"/>
                </a:cubicBezTo>
                <a:cubicBezTo>
                  <a:pt x="519" y="961"/>
                  <a:pt x="970" y="518"/>
                  <a:pt x="1514" y="518"/>
                </a:cubicBezTo>
                <a:cubicBezTo>
                  <a:pt x="2067" y="518"/>
                  <a:pt x="2509" y="961"/>
                  <a:pt x="2509" y="1514"/>
                </a:cubicBezTo>
                <a:cubicBezTo>
                  <a:pt x="2509" y="2058"/>
                  <a:pt x="2067" y="2509"/>
                  <a:pt x="1514" y="2509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2" name="Freeform 396">
            <a:extLst>
              <a:ext uri="{FF2B5EF4-FFF2-40B4-BE49-F238E27FC236}">
                <a16:creationId xmlns:a16="http://schemas.microsoft.com/office/drawing/2014/main" id="{64432B7C-C6CB-4097-9778-D63AC1A5E8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26843" y="338282"/>
            <a:ext cx="1154290" cy="1046505"/>
          </a:xfrm>
          <a:custGeom>
            <a:avLst/>
            <a:gdLst>
              <a:gd name="T0" fmla="*/ 111571192 w 903"/>
              <a:gd name="T1" fmla="*/ 0 h 851"/>
              <a:gd name="T2" fmla="*/ 111571192 w 903"/>
              <a:gd name="T3" fmla="*/ 0 h 851"/>
              <a:gd name="T4" fmla="*/ 111571192 w 903"/>
              <a:gd name="T5" fmla="*/ 0 h 851"/>
              <a:gd name="T6" fmla="*/ 59616959 w 903"/>
              <a:gd name="T7" fmla="*/ 6610924 h 851"/>
              <a:gd name="T8" fmla="*/ 59616959 w 903"/>
              <a:gd name="T9" fmla="*/ 6610924 h 851"/>
              <a:gd name="T10" fmla="*/ 57538919 w 903"/>
              <a:gd name="T11" fmla="*/ 6610924 h 851"/>
              <a:gd name="T12" fmla="*/ 6624067 w 903"/>
              <a:gd name="T13" fmla="*/ 0 h 851"/>
              <a:gd name="T14" fmla="*/ 6624067 w 903"/>
              <a:gd name="T15" fmla="*/ 0 h 851"/>
              <a:gd name="T16" fmla="*/ 1169123 w 903"/>
              <a:gd name="T17" fmla="*/ 6610924 h 851"/>
              <a:gd name="T18" fmla="*/ 1169123 w 903"/>
              <a:gd name="T19" fmla="*/ 17628651 h 851"/>
              <a:gd name="T20" fmla="*/ 0 w 903"/>
              <a:gd name="T21" fmla="*/ 82699918 h 851"/>
              <a:gd name="T22" fmla="*/ 0 w 903"/>
              <a:gd name="T23" fmla="*/ 92551138 h 851"/>
              <a:gd name="T24" fmla="*/ 5585047 w 903"/>
              <a:gd name="T25" fmla="*/ 99162062 h 851"/>
              <a:gd name="T26" fmla="*/ 56370157 w 903"/>
              <a:gd name="T27" fmla="*/ 110180149 h 851"/>
              <a:gd name="T28" fmla="*/ 57538919 w 903"/>
              <a:gd name="T29" fmla="*/ 110180149 h 851"/>
              <a:gd name="T30" fmla="*/ 58577939 w 903"/>
              <a:gd name="T31" fmla="*/ 110180149 h 851"/>
              <a:gd name="T32" fmla="*/ 60786082 w 903"/>
              <a:gd name="T33" fmla="*/ 110180149 h 851"/>
              <a:gd name="T34" fmla="*/ 61955204 w 903"/>
              <a:gd name="T35" fmla="*/ 110180149 h 851"/>
              <a:gd name="T36" fmla="*/ 112739954 w 903"/>
              <a:gd name="T37" fmla="*/ 99162062 h 851"/>
              <a:gd name="T38" fmla="*/ 117156239 w 903"/>
              <a:gd name="T39" fmla="*/ 92551138 h 851"/>
              <a:gd name="T40" fmla="*/ 117156239 w 903"/>
              <a:gd name="T41" fmla="*/ 72718726 h 851"/>
              <a:gd name="T42" fmla="*/ 117156239 w 903"/>
              <a:gd name="T43" fmla="*/ 72718726 h 851"/>
              <a:gd name="T44" fmla="*/ 117156239 w 903"/>
              <a:gd name="T45" fmla="*/ 6610924 h 851"/>
              <a:gd name="T46" fmla="*/ 111571192 w 903"/>
              <a:gd name="T47" fmla="*/ 0 h 851"/>
              <a:gd name="T48" fmla="*/ 8832209 w 903"/>
              <a:gd name="T49" fmla="*/ 82699918 h 851"/>
              <a:gd name="T50" fmla="*/ 8832209 w 903"/>
              <a:gd name="T51" fmla="*/ 82699918 h 851"/>
              <a:gd name="T52" fmla="*/ 10000971 w 903"/>
              <a:gd name="T53" fmla="*/ 17628651 h 851"/>
              <a:gd name="T54" fmla="*/ 10000971 w 903"/>
              <a:gd name="T55" fmla="*/ 17628651 h 851"/>
              <a:gd name="T56" fmla="*/ 10000971 w 903"/>
              <a:gd name="T57" fmla="*/ 9851580 h 851"/>
              <a:gd name="T58" fmla="*/ 54162015 w 903"/>
              <a:gd name="T59" fmla="*/ 15425250 h 851"/>
              <a:gd name="T60" fmla="*/ 55201035 w 903"/>
              <a:gd name="T61" fmla="*/ 38627930 h 851"/>
              <a:gd name="T62" fmla="*/ 55201035 w 903"/>
              <a:gd name="T63" fmla="*/ 101365824 h 851"/>
              <a:gd name="T64" fmla="*/ 8832209 w 903"/>
              <a:gd name="T65" fmla="*/ 90347737 h 851"/>
              <a:gd name="T66" fmla="*/ 8832209 w 903"/>
              <a:gd name="T67" fmla="*/ 82699918 h 851"/>
              <a:gd name="T68" fmla="*/ 108324030 w 903"/>
              <a:gd name="T69" fmla="*/ 72718726 h 851"/>
              <a:gd name="T70" fmla="*/ 108324030 w 903"/>
              <a:gd name="T71" fmla="*/ 72718726 h 851"/>
              <a:gd name="T72" fmla="*/ 108324030 w 903"/>
              <a:gd name="T73" fmla="*/ 90347737 h 851"/>
              <a:gd name="T74" fmla="*/ 64033244 w 903"/>
              <a:gd name="T75" fmla="*/ 101365824 h 851"/>
              <a:gd name="T76" fmla="*/ 64033244 w 903"/>
              <a:gd name="T77" fmla="*/ 38627930 h 851"/>
              <a:gd name="T78" fmla="*/ 64033244 w 903"/>
              <a:gd name="T79" fmla="*/ 18665906 h 851"/>
              <a:gd name="T80" fmla="*/ 64033244 w 903"/>
              <a:gd name="T81" fmla="*/ 17628651 h 851"/>
              <a:gd name="T82" fmla="*/ 62994224 w 903"/>
              <a:gd name="T83" fmla="*/ 15425250 h 851"/>
              <a:gd name="T84" fmla="*/ 108324030 w 903"/>
              <a:gd name="T85" fmla="*/ 9851580 h 851"/>
              <a:gd name="T86" fmla="*/ 108324030 w 903"/>
              <a:gd name="T87" fmla="*/ 72718726 h 85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903" h="851">
                <a:moveTo>
                  <a:pt x="859" y="0"/>
                </a:moveTo>
                <a:lnTo>
                  <a:pt x="859" y="0"/>
                </a:lnTo>
                <a:cubicBezTo>
                  <a:pt x="459" y="51"/>
                  <a:pt x="459" y="51"/>
                  <a:pt x="459" y="51"/>
                </a:cubicBezTo>
                <a:cubicBezTo>
                  <a:pt x="451" y="51"/>
                  <a:pt x="451" y="51"/>
                  <a:pt x="443" y="51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0"/>
                  <a:pt x="9" y="25"/>
                  <a:pt x="9" y="51"/>
                </a:cubicBezTo>
                <a:cubicBezTo>
                  <a:pt x="9" y="136"/>
                  <a:pt x="9" y="136"/>
                  <a:pt x="9" y="136"/>
                </a:cubicBezTo>
                <a:cubicBezTo>
                  <a:pt x="0" y="638"/>
                  <a:pt x="0" y="638"/>
                  <a:pt x="0" y="638"/>
                </a:cubicBezTo>
                <a:cubicBezTo>
                  <a:pt x="0" y="714"/>
                  <a:pt x="0" y="714"/>
                  <a:pt x="0" y="714"/>
                </a:cubicBezTo>
                <a:cubicBezTo>
                  <a:pt x="0" y="740"/>
                  <a:pt x="26" y="757"/>
                  <a:pt x="43" y="765"/>
                </a:cubicBezTo>
                <a:cubicBezTo>
                  <a:pt x="434" y="850"/>
                  <a:pt x="434" y="850"/>
                  <a:pt x="434" y="850"/>
                </a:cubicBezTo>
                <a:cubicBezTo>
                  <a:pt x="443" y="850"/>
                  <a:pt x="443" y="850"/>
                  <a:pt x="443" y="850"/>
                </a:cubicBezTo>
                <a:cubicBezTo>
                  <a:pt x="451" y="850"/>
                  <a:pt x="451" y="850"/>
                  <a:pt x="451" y="850"/>
                </a:cubicBezTo>
                <a:cubicBezTo>
                  <a:pt x="459" y="850"/>
                  <a:pt x="459" y="850"/>
                  <a:pt x="468" y="850"/>
                </a:cubicBezTo>
                <a:cubicBezTo>
                  <a:pt x="468" y="850"/>
                  <a:pt x="468" y="850"/>
                  <a:pt x="477" y="850"/>
                </a:cubicBezTo>
                <a:cubicBezTo>
                  <a:pt x="868" y="765"/>
                  <a:pt x="868" y="765"/>
                  <a:pt x="868" y="765"/>
                </a:cubicBezTo>
                <a:cubicBezTo>
                  <a:pt x="885" y="765"/>
                  <a:pt x="902" y="740"/>
                  <a:pt x="902" y="714"/>
                </a:cubicBezTo>
                <a:cubicBezTo>
                  <a:pt x="902" y="561"/>
                  <a:pt x="902" y="561"/>
                  <a:pt x="902" y="561"/>
                </a:cubicBezTo>
                <a:cubicBezTo>
                  <a:pt x="902" y="51"/>
                  <a:pt x="902" y="51"/>
                  <a:pt x="902" y="51"/>
                </a:cubicBezTo>
                <a:cubicBezTo>
                  <a:pt x="902" y="25"/>
                  <a:pt x="885" y="0"/>
                  <a:pt x="859" y="0"/>
                </a:cubicBezTo>
                <a:close/>
                <a:moveTo>
                  <a:pt x="68" y="638"/>
                </a:moveTo>
                <a:lnTo>
                  <a:pt x="68" y="638"/>
                </a:lnTo>
                <a:cubicBezTo>
                  <a:pt x="77" y="136"/>
                  <a:pt x="77" y="136"/>
                  <a:pt x="77" y="136"/>
                </a:cubicBezTo>
                <a:cubicBezTo>
                  <a:pt x="77" y="76"/>
                  <a:pt x="77" y="76"/>
                  <a:pt x="77" y="76"/>
                </a:cubicBezTo>
                <a:cubicBezTo>
                  <a:pt x="417" y="119"/>
                  <a:pt x="417" y="119"/>
                  <a:pt x="417" y="119"/>
                </a:cubicBezTo>
                <a:cubicBezTo>
                  <a:pt x="425" y="298"/>
                  <a:pt x="425" y="298"/>
                  <a:pt x="425" y="298"/>
                </a:cubicBezTo>
                <a:cubicBezTo>
                  <a:pt x="425" y="782"/>
                  <a:pt x="425" y="782"/>
                  <a:pt x="425" y="782"/>
                </a:cubicBezTo>
                <a:cubicBezTo>
                  <a:pt x="68" y="697"/>
                  <a:pt x="68" y="697"/>
                  <a:pt x="68" y="697"/>
                </a:cubicBezTo>
                <a:lnTo>
                  <a:pt x="68" y="638"/>
                </a:lnTo>
                <a:close/>
                <a:moveTo>
                  <a:pt x="834" y="561"/>
                </a:moveTo>
                <a:lnTo>
                  <a:pt x="834" y="561"/>
                </a:lnTo>
                <a:cubicBezTo>
                  <a:pt x="834" y="697"/>
                  <a:pt x="834" y="697"/>
                  <a:pt x="834" y="697"/>
                </a:cubicBezTo>
                <a:cubicBezTo>
                  <a:pt x="493" y="782"/>
                  <a:pt x="493" y="782"/>
                  <a:pt x="493" y="782"/>
                </a:cubicBezTo>
                <a:cubicBezTo>
                  <a:pt x="493" y="298"/>
                  <a:pt x="493" y="298"/>
                  <a:pt x="493" y="298"/>
                </a:cubicBezTo>
                <a:cubicBezTo>
                  <a:pt x="493" y="144"/>
                  <a:pt x="493" y="144"/>
                  <a:pt x="493" y="144"/>
                </a:cubicBezTo>
                <a:lnTo>
                  <a:pt x="493" y="136"/>
                </a:lnTo>
                <a:cubicBezTo>
                  <a:pt x="485" y="119"/>
                  <a:pt x="485" y="119"/>
                  <a:pt x="485" y="119"/>
                </a:cubicBezTo>
                <a:cubicBezTo>
                  <a:pt x="834" y="76"/>
                  <a:pt x="834" y="76"/>
                  <a:pt x="834" y="76"/>
                </a:cubicBezTo>
                <a:lnTo>
                  <a:pt x="834" y="56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3" name="Freeform 397">
            <a:extLst>
              <a:ext uri="{FF2B5EF4-FFF2-40B4-BE49-F238E27FC236}">
                <a16:creationId xmlns:a16="http://schemas.microsoft.com/office/drawing/2014/main" id="{8867BC3D-D6B1-4645-B979-1EBD2B5240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5078" y="2105947"/>
            <a:ext cx="1238749" cy="1285084"/>
          </a:xfrm>
          <a:custGeom>
            <a:avLst/>
            <a:gdLst>
              <a:gd name="T0" fmla="*/ 125489014 w 971"/>
              <a:gd name="T1" fmla="*/ 15366465 h 1047"/>
              <a:gd name="T2" fmla="*/ 125489014 w 971"/>
              <a:gd name="T3" fmla="*/ 15366465 h 1047"/>
              <a:gd name="T4" fmla="*/ 118891390 w 971"/>
              <a:gd name="T5" fmla="*/ 9943176 h 1047"/>
              <a:gd name="T6" fmla="*/ 106730584 w 971"/>
              <a:gd name="T7" fmla="*/ 9943176 h 1047"/>
              <a:gd name="T8" fmla="*/ 106730584 w 971"/>
              <a:gd name="T9" fmla="*/ 4390521 h 1047"/>
              <a:gd name="T10" fmla="*/ 102331689 w 971"/>
              <a:gd name="T11" fmla="*/ 0 h 1047"/>
              <a:gd name="T12" fmla="*/ 97933153 w 971"/>
              <a:gd name="T13" fmla="*/ 4390521 h 1047"/>
              <a:gd name="T14" fmla="*/ 97933153 w 971"/>
              <a:gd name="T15" fmla="*/ 9943176 h 1047"/>
              <a:gd name="T16" fmla="*/ 27555861 w 971"/>
              <a:gd name="T17" fmla="*/ 9943176 h 1047"/>
              <a:gd name="T18" fmla="*/ 27555861 w 971"/>
              <a:gd name="T19" fmla="*/ 4390521 h 1047"/>
              <a:gd name="T20" fmla="*/ 23157325 w 971"/>
              <a:gd name="T21" fmla="*/ 0 h 1047"/>
              <a:gd name="T22" fmla="*/ 18758789 w 971"/>
              <a:gd name="T23" fmla="*/ 4390521 h 1047"/>
              <a:gd name="T24" fmla="*/ 18758789 w 971"/>
              <a:gd name="T25" fmla="*/ 9943176 h 1047"/>
              <a:gd name="T26" fmla="*/ 6727109 w 971"/>
              <a:gd name="T27" fmla="*/ 9943176 h 1047"/>
              <a:gd name="T28" fmla="*/ 0 w 971"/>
              <a:gd name="T29" fmla="*/ 15366465 h 1047"/>
              <a:gd name="T30" fmla="*/ 0 w 971"/>
              <a:gd name="T31" fmla="*/ 48295016 h 1047"/>
              <a:gd name="T32" fmla="*/ 0 w 971"/>
              <a:gd name="T33" fmla="*/ 49457509 h 1047"/>
              <a:gd name="T34" fmla="*/ 0 w 971"/>
              <a:gd name="T35" fmla="*/ 51652411 h 1047"/>
              <a:gd name="T36" fmla="*/ 0 w 971"/>
              <a:gd name="T37" fmla="*/ 128614822 h 1047"/>
              <a:gd name="T38" fmla="*/ 6727109 w 971"/>
              <a:gd name="T39" fmla="*/ 135071598 h 1047"/>
              <a:gd name="T40" fmla="*/ 118891390 w 971"/>
              <a:gd name="T41" fmla="*/ 135071598 h 1047"/>
              <a:gd name="T42" fmla="*/ 125489014 w 971"/>
              <a:gd name="T43" fmla="*/ 128614822 h 1047"/>
              <a:gd name="T44" fmla="*/ 125489014 w 971"/>
              <a:gd name="T45" fmla="*/ 51652411 h 1047"/>
              <a:gd name="T46" fmla="*/ 125489014 w 971"/>
              <a:gd name="T47" fmla="*/ 49457509 h 1047"/>
              <a:gd name="T48" fmla="*/ 125489014 w 971"/>
              <a:gd name="T49" fmla="*/ 48295016 h 1047"/>
              <a:gd name="T50" fmla="*/ 125489014 w 971"/>
              <a:gd name="T51" fmla="*/ 15366465 h 1047"/>
              <a:gd name="T52" fmla="*/ 8926557 w 971"/>
              <a:gd name="T53" fmla="*/ 18724219 h 1047"/>
              <a:gd name="T54" fmla="*/ 8926557 w 971"/>
              <a:gd name="T55" fmla="*/ 18724219 h 1047"/>
              <a:gd name="T56" fmla="*/ 18758789 w 971"/>
              <a:gd name="T57" fmla="*/ 18724219 h 1047"/>
              <a:gd name="T58" fmla="*/ 18758789 w 971"/>
              <a:gd name="T59" fmla="*/ 24147508 h 1047"/>
              <a:gd name="T60" fmla="*/ 23157325 w 971"/>
              <a:gd name="T61" fmla="*/ 28538030 h 1047"/>
              <a:gd name="T62" fmla="*/ 27555861 w 971"/>
              <a:gd name="T63" fmla="*/ 24147508 h 1047"/>
              <a:gd name="T64" fmla="*/ 27555861 w 971"/>
              <a:gd name="T65" fmla="*/ 18724219 h 1047"/>
              <a:gd name="T66" fmla="*/ 97933153 w 971"/>
              <a:gd name="T67" fmla="*/ 18724219 h 1047"/>
              <a:gd name="T68" fmla="*/ 97933153 w 971"/>
              <a:gd name="T69" fmla="*/ 24147508 h 1047"/>
              <a:gd name="T70" fmla="*/ 102331689 w 971"/>
              <a:gd name="T71" fmla="*/ 28538030 h 1047"/>
              <a:gd name="T72" fmla="*/ 106730584 w 971"/>
              <a:gd name="T73" fmla="*/ 24147508 h 1047"/>
              <a:gd name="T74" fmla="*/ 106730584 w 971"/>
              <a:gd name="T75" fmla="*/ 18724219 h 1047"/>
              <a:gd name="T76" fmla="*/ 116691942 w 971"/>
              <a:gd name="T77" fmla="*/ 18724219 h 1047"/>
              <a:gd name="T78" fmla="*/ 116691942 w 971"/>
              <a:gd name="T79" fmla="*/ 45066988 h 1047"/>
              <a:gd name="T80" fmla="*/ 8926557 w 971"/>
              <a:gd name="T81" fmla="*/ 45066988 h 1047"/>
              <a:gd name="T82" fmla="*/ 8926557 w 971"/>
              <a:gd name="T83" fmla="*/ 18724219 h 1047"/>
              <a:gd name="T84" fmla="*/ 116691942 w 971"/>
              <a:gd name="T85" fmla="*/ 126290555 h 1047"/>
              <a:gd name="T86" fmla="*/ 116691942 w 971"/>
              <a:gd name="T87" fmla="*/ 126290555 h 1047"/>
              <a:gd name="T88" fmla="*/ 8926557 w 971"/>
              <a:gd name="T89" fmla="*/ 126290555 h 1047"/>
              <a:gd name="T90" fmla="*/ 8926557 w 971"/>
              <a:gd name="T91" fmla="*/ 53847671 h 1047"/>
              <a:gd name="T92" fmla="*/ 116691942 w 971"/>
              <a:gd name="T93" fmla="*/ 53847671 h 1047"/>
              <a:gd name="T94" fmla="*/ 116691942 w 971"/>
              <a:gd name="T95" fmla="*/ 126290555 h 104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971" h="1047">
                <a:moveTo>
                  <a:pt x="970" y="119"/>
                </a:moveTo>
                <a:lnTo>
                  <a:pt x="970" y="119"/>
                </a:lnTo>
                <a:cubicBezTo>
                  <a:pt x="970" y="85"/>
                  <a:pt x="945" y="77"/>
                  <a:pt x="919" y="77"/>
                </a:cubicBezTo>
                <a:cubicBezTo>
                  <a:pt x="825" y="77"/>
                  <a:pt x="825" y="77"/>
                  <a:pt x="825" y="77"/>
                </a:cubicBezTo>
                <a:cubicBezTo>
                  <a:pt x="825" y="34"/>
                  <a:pt x="825" y="34"/>
                  <a:pt x="825" y="34"/>
                </a:cubicBezTo>
                <a:cubicBezTo>
                  <a:pt x="825" y="17"/>
                  <a:pt x="809" y="0"/>
                  <a:pt x="791" y="0"/>
                </a:cubicBezTo>
                <a:cubicBezTo>
                  <a:pt x="766" y="0"/>
                  <a:pt x="757" y="17"/>
                  <a:pt x="757" y="34"/>
                </a:cubicBezTo>
                <a:cubicBezTo>
                  <a:pt x="757" y="77"/>
                  <a:pt x="757" y="77"/>
                  <a:pt x="757" y="77"/>
                </a:cubicBezTo>
                <a:cubicBezTo>
                  <a:pt x="213" y="77"/>
                  <a:pt x="213" y="77"/>
                  <a:pt x="213" y="77"/>
                </a:cubicBezTo>
                <a:cubicBezTo>
                  <a:pt x="213" y="34"/>
                  <a:pt x="213" y="34"/>
                  <a:pt x="213" y="34"/>
                </a:cubicBezTo>
                <a:cubicBezTo>
                  <a:pt x="213" y="17"/>
                  <a:pt x="196" y="0"/>
                  <a:pt x="179" y="0"/>
                </a:cubicBezTo>
                <a:cubicBezTo>
                  <a:pt x="162" y="0"/>
                  <a:pt x="145" y="17"/>
                  <a:pt x="145" y="34"/>
                </a:cubicBezTo>
                <a:cubicBezTo>
                  <a:pt x="145" y="77"/>
                  <a:pt x="145" y="77"/>
                  <a:pt x="145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18" y="77"/>
                  <a:pt x="0" y="94"/>
                  <a:pt x="0" y="119"/>
                </a:cubicBezTo>
                <a:cubicBezTo>
                  <a:pt x="0" y="374"/>
                  <a:pt x="0" y="374"/>
                  <a:pt x="0" y="374"/>
                </a:cubicBezTo>
                <a:lnTo>
                  <a:pt x="0" y="383"/>
                </a:lnTo>
                <a:cubicBezTo>
                  <a:pt x="0" y="392"/>
                  <a:pt x="0" y="392"/>
                  <a:pt x="0" y="400"/>
                </a:cubicBezTo>
                <a:cubicBezTo>
                  <a:pt x="0" y="996"/>
                  <a:pt x="0" y="996"/>
                  <a:pt x="0" y="996"/>
                </a:cubicBezTo>
                <a:cubicBezTo>
                  <a:pt x="0" y="1021"/>
                  <a:pt x="18" y="1046"/>
                  <a:pt x="52" y="1046"/>
                </a:cubicBezTo>
                <a:cubicBezTo>
                  <a:pt x="919" y="1046"/>
                  <a:pt x="919" y="1046"/>
                  <a:pt x="919" y="1046"/>
                </a:cubicBezTo>
                <a:cubicBezTo>
                  <a:pt x="953" y="1046"/>
                  <a:pt x="970" y="1021"/>
                  <a:pt x="970" y="996"/>
                </a:cubicBezTo>
                <a:cubicBezTo>
                  <a:pt x="970" y="400"/>
                  <a:pt x="970" y="400"/>
                  <a:pt x="970" y="400"/>
                </a:cubicBezTo>
                <a:cubicBezTo>
                  <a:pt x="970" y="392"/>
                  <a:pt x="970" y="392"/>
                  <a:pt x="970" y="383"/>
                </a:cubicBezTo>
                <a:lnTo>
                  <a:pt x="970" y="374"/>
                </a:lnTo>
                <a:lnTo>
                  <a:pt x="970" y="119"/>
                </a:lnTo>
                <a:close/>
                <a:moveTo>
                  <a:pt x="69" y="145"/>
                </a:moveTo>
                <a:lnTo>
                  <a:pt x="69" y="145"/>
                </a:lnTo>
                <a:cubicBezTo>
                  <a:pt x="145" y="145"/>
                  <a:pt x="145" y="145"/>
                  <a:pt x="145" y="145"/>
                </a:cubicBezTo>
                <a:cubicBezTo>
                  <a:pt x="145" y="187"/>
                  <a:pt x="145" y="187"/>
                  <a:pt x="145" y="187"/>
                </a:cubicBezTo>
                <a:cubicBezTo>
                  <a:pt x="145" y="204"/>
                  <a:pt x="162" y="221"/>
                  <a:pt x="179" y="221"/>
                </a:cubicBezTo>
                <a:cubicBezTo>
                  <a:pt x="196" y="221"/>
                  <a:pt x="213" y="204"/>
                  <a:pt x="213" y="187"/>
                </a:cubicBezTo>
                <a:cubicBezTo>
                  <a:pt x="213" y="145"/>
                  <a:pt x="213" y="145"/>
                  <a:pt x="213" y="145"/>
                </a:cubicBezTo>
                <a:cubicBezTo>
                  <a:pt x="757" y="145"/>
                  <a:pt x="757" y="145"/>
                  <a:pt x="757" y="145"/>
                </a:cubicBezTo>
                <a:cubicBezTo>
                  <a:pt x="757" y="187"/>
                  <a:pt x="757" y="187"/>
                  <a:pt x="757" y="187"/>
                </a:cubicBezTo>
                <a:cubicBezTo>
                  <a:pt x="757" y="204"/>
                  <a:pt x="766" y="221"/>
                  <a:pt x="791" y="221"/>
                </a:cubicBezTo>
                <a:cubicBezTo>
                  <a:pt x="809" y="221"/>
                  <a:pt x="825" y="204"/>
                  <a:pt x="825" y="187"/>
                </a:cubicBezTo>
                <a:cubicBezTo>
                  <a:pt x="825" y="145"/>
                  <a:pt x="825" y="145"/>
                  <a:pt x="825" y="145"/>
                </a:cubicBezTo>
                <a:cubicBezTo>
                  <a:pt x="902" y="145"/>
                  <a:pt x="902" y="145"/>
                  <a:pt x="902" y="145"/>
                </a:cubicBezTo>
                <a:cubicBezTo>
                  <a:pt x="902" y="349"/>
                  <a:pt x="902" y="349"/>
                  <a:pt x="902" y="349"/>
                </a:cubicBezTo>
                <a:cubicBezTo>
                  <a:pt x="69" y="349"/>
                  <a:pt x="69" y="349"/>
                  <a:pt x="69" y="349"/>
                </a:cubicBezTo>
                <a:lnTo>
                  <a:pt x="69" y="145"/>
                </a:lnTo>
                <a:close/>
                <a:moveTo>
                  <a:pt x="902" y="978"/>
                </a:moveTo>
                <a:lnTo>
                  <a:pt x="902" y="978"/>
                </a:lnTo>
                <a:cubicBezTo>
                  <a:pt x="69" y="978"/>
                  <a:pt x="69" y="978"/>
                  <a:pt x="69" y="978"/>
                </a:cubicBezTo>
                <a:cubicBezTo>
                  <a:pt x="69" y="417"/>
                  <a:pt x="69" y="417"/>
                  <a:pt x="69" y="417"/>
                </a:cubicBezTo>
                <a:cubicBezTo>
                  <a:pt x="902" y="417"/>
                  <a:pt x="902" y="417"/>
                  <a:pt x="902" y="417"/>
                </a:cubicBezTo>
                <a:lnTo>
                  <a:pt x="902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4" name="Freeform 398">
            <a:extLst>
              <a:ext uri="{FF2B5EF4-FFF2-40B4-BE49-F238E27FC236}">
                <a16:creationId xmlns:a16="http://schemas.microsoft.com/office/drawing/2014/main" id="{6406EA4E-9A85-43BA-A854-CB56FC3FE9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03592" y="2366220"/>
            <a:ext cx="467350" cy="86757"/>
          </a:xfrm>
          <a:custGeom>
            <a:avLst/>
            <a:gdLst>
              <a:gd name="T0" fmla="*/ 42666080 w 367"/>
              <a:gd name="T1" fmla="*/ 0 h 69"/>
              <a:gd name="T2" fmla="*/ 42666080 w 367"/>
              <a:gd name="T3" fmla="*/ 0 h 69"/>
              <a:gd name="T4" fmla="*/ 4382646 w 367"/>
              <a:gd name="T5" fmla="*/ 0 h 69"/>
              <a:gd name="T6" fmla="*/ 0 w 367"/>
              <a:gd name="T7" fmla="*/ 4607339 h 69"/>
              <a:gd name="T8" fmla="*/ 4382646 w 367"/>
              <a:gd name="T9" fmla="*/ 9214678 h 69"/>
              <a:gd name="T10" fmla="*/ 42666080 w 367"/>
              <a:gd name="T11" fmla="*/ 9214678 h 69"/>
              <a:gd name="T12" fmla="*/ 47177616 w 367"/>
              <a:gd name="T13" fmla="*/ 4607339 h 69"/>
              <a:gd name="T14" fmla="*/ 42666080 w 367"/>
              <a:gd name="T15" fmla="*/ 0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7" h="69">
                <a:moveTo>
                  <a:pt x="331" y="0"/>
                </a:moveTo>
                <a:lnTo>
                  <a:pt x="331" y="0"/>
                </a:lnTo>
                <a:cubicBezTo>
                  <a:pt x="34" y="0"/>
                  <a:pt x="34" y="0"/>
                  <a:pt x="34" y="0"/>
                </a:cubicBezTo>
                <a:cubicBezTo>
                  <a:pt x="17" y="0"/>
                  <a:pt x="0" y="8"/>
                  <a:pt x="0" y="34"/>
                </a:cubicBezTo>
                <a:cubicBezTo>
                  <a:pt x="0" y="51"/>
                  <a:pt x="17" y="68"/>
                  <a:pt x="34" y="68"/>
                </a:cubicBezTo>
                <a:cubicBezTo>
                  <a:pt x="331" y="68"/>
                  <a:pt x="331" y="68"/>
                  <a:pt x="331" y="68"/>
                </a:cubicBezTo>
                <a:cubicBezTo>
                  <a:pt x="348" y="68"/>
                  <a:pt x="366" y="51"/>
                  <a:pt x="366" y="34"/>
                </a:cubicBezTo>
                <a:cubicBezTo>
                  <a:pt x="366" y="8"/>
                  <a:pt x="348" y="0"/>
                  <a:pt x="331" y="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5" name="Freeform 399">
            <a:extLst>
              <a:ext uri="{FF2B5EF4-FFF2-40B4-BE49-F238E27FC236}">
                <a16:creationId xmlns:a16="http://schemas.microsoft.com/office/drawing/2014/main" id="{9158E9B4-9F3C-4789-88A4-10FE1951E8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19134" y="2794579"/>
            <a:ext cx="292796" cy="379559"/>
          </a:xfrm>
          <a:custGeom>
            <a:avLst/>
            <a:gdLst>
              <a:gd name="T0" fmla="*/ 13139448 w 230"/>
              <a:gd name="T1" fmla="*/ 22273866 h 307"/>
              <a:gd name="T2" fmla="*/ 13139448 w 230"/>
              <a:gd name="T3" fmla="*/ 22273866 h 307"/>
              <a:gd name="T4" fmla="*/ 2190087 w 230"/>
              <a:gd name="T5" fmla="*/ 31183412 h 307"/>
              <a:gd name="T6" fmla="*/ 0 w 230"/>
              <a:gd name="T7" fmla="*/ 35638186 h 307"/>
              <a:gd name="T8" fmla="*/ 4379816 w 230"/>
              <a:gd name="T9" fmla="*/ 40092959 h 307"/>
              <a:gd name="T10" fmla="*/ 25119606 w 230"/>
              <a:gd name="T11" fmla="*/ 40092959 h 307"/>
              <a:gd name="T12" fmla="*/ 29499422 w 230"/>
              <a:gd name="T13" fmla="*/ 35638186 h 307"/>
              <a:gd name="T14" fmla="*/ 25119606 w 230"/>
              <a:gd name="T15" fmla="*/ 32231680 h 307"/>
              <a:gd name="T16" fmla="*/ 11980158 w 230"/>
              <a:gd name="T17" fmla="*/ 32231680 h 307"/>
              <a:gd name="T18" fmla="*/ 18549703 w 230"/>
              <a:gd name="T19" fmla="*/ 27776906 h 307"/>
              <a:gd name="T20" fmla="*/ 28468983 w 230"/>
              <a:gd name="T21" fmla="*/ 12185019 h 307"/>
              <a:gd name="T22" fmla="*/ 28468983 w 230"/>
              <a:gd name="T23" fmla="*/ 12185019 h 307"/>
              <a:gd name="T24" fmla="*/ 15329535 w 230"/>
              <a:gd name="T25" fmla="*/ 0 h 307"/>
              <a:gd name="T26" fmla="*/ 3220527 w 230"/>
              <a:gd name="T27" fmla="*/ 5503040 h 307"/>
              <a:gd name="T28" fmla="*/ 2190087 w 230"/>
              <a:gd name="T29" fmla="*/ 8909546 h 307"/>
              <a:gd name="T30" fmla="*/ 5410255 w 230"/>
              <a:gd name="T31" fmla="*/ 12185019 h 307"/>
              <a:gd name="T32" fmla="*/ 8759632 w 230"/>
              <a:gd name="T33" fmla="*/ 11137114 h 307"/>
              <a:gd name="T34" fmla="*/ 14169887 w 230"/>
              <a:gd name="T35" fmla="*/ 7730246 h 307"/>
              <a:gd name="T36" fmla="*/ 19709351 w 230"/>
              <a:gd name="T37" fmla="*/ 13364320 h 307"/>
              <a:gd name="T38" fmla="*/ 13139448 w 230"/>
              <a:gd name="T39" fmla="*/ 22273866 h 3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30" h="307">
                <a:moveTo>
                  <a:pt x="102" y="170"/>
                </a:moveTo>
                <a:lnTo>
                  <a:pt x="102" y="170"/>
                </a:lnTo>
                <a:cubicBezTo>
                  <a:pt x="17" y="238"/>
                  <a:pt x="17" y="238"/>
                  <a:pt x="17" y="238"/>
                </a:cubicBezTo>
                <a:cubicBezTo>
                  <a:pt x="8" y="246"/>
                  <a:pt x="0" y="255"/>
                  <a:pt x="0" y="272"/>
                </a:cubicBezTo>
                <a:cubicBezTo>
                  <a:pt x="0" y="289"/>
                  <a:pt x="17" y="306"/>
                  <a:pt x="34" y="306"/>
                </a:cubicBezTo>
                <a:cubicBezTo>
                  <a:pt x="195" y="306"/>
                  <a:pt x="195" y="306"/>
                  <a:pt x="195" y="306"/>
                </a:cubicBezTo>
                <a:cubicBezTo>
                  <a:pt x="212" y="306"/>
                  <a:pt x="229" y="289"/>
                  <a:pt x="229" y="272"/>
                </a:cubicBezTo>
                <a:cubicBezTo>
                  <a:pt x="229" y="255"/>
                  <a:pt x="212" y="246"/>
                  <a:pt x="195" y="246"/>
                </a:cubicBezTo>
                <a:cubicBezTo>
                  <a:pt x="93" y="246"/>
                  <a:pt x="93" y="246"/>
                  <a:pt x="93" y="246"/>
                </a:cubicBezTo>
                <a:cubicBezTo>
                  <a:pt x="144" y="212"/>
                  <a:pt x="144" y="212"/>
                  <a:pt x="144" y="212"/>
                </a:cubicBezTo>
                <a:cubicBezTo>
                  <a:pt x="195" y="170"/>
                  <a:pt x="221" y="144"/>
                  <a:pt x="221" y="93"/>
                </a:cubicBezTo>
                <a:cubicBezTo>
                  <a:pt x="221" y="34"/>
                  <a:pt x="178" y="0"/>
                  <a:pt x="119" y="0"/>
                </a:cubicBezTo>
                <a:cubicBezTo>
                  <a:pt x="76" y="0"/>
                  <a:pt x="42" y="17"/>
                  <a:pt x="25" y="42"/>
                </a:cubicBezTo>
                <a:cubicBezTo>
                  <a:pt x="17" y="51"/>
                  <a:pt x="17" y="59"/>
                  <a:pt x="17" y="68"/>
                </a:cubicBezTo>
                <a:cubicBezTo>
                  <a:pt x="17" y="85"/>
                  <a:pt x="25" y="93"/>
                  <a:pt x="42" y="93"/>
                </a:cubicBezTo>
                <a:cubicBezTo>
                  <a:pt x="51" y="93"/>
                  <a:pt x="59" y="93"/>
                  <a:pt x="68" y="85"/>
                </a:cubicBezTo>
                <a:cubicBezTo>
                  <a:pt x="85" y="68"/>
                  <a:pt x="93" y="59"/>
                  <a:pt x="110" y="59"/>
                </a:cubicBezTo>
                <a:cubicBezTo>
                  <a:pt x="136" y="59"/>
                  <a:pt x="153" y="76"/>
                  <a:pt x="153" y="102"/>
                </a:cubicBezTo>
                <a:cubicBezTo>
                  <a:pt x="153" y="127"/>
                  <a:pt x="136" y="136"/>
                  <a:pt x="102" y="17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6" name="Freeform 400">
            <a:extLst>
              <a:ext uri="{FF2B5EF4-FFF2-40B4-BE49-F238E27FC236}">
                <a16:creationId xmlns:a16="http://schemas.microsoft.com/office/drawing/2014/main" id="{5300606A-F03A-4A98-ABC9-AB344672EE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235" y="2805426"/>
            <a:ext cx="281535" cy="368716"/>
          </a:xfrm>
          <a:custGeom>
            <a:avLst/>
            <a:gdLst>
              <a:gd name="T0" fmla="*/ 3196095 w 222"/>
              <a:gd name="T1" fmla="*/ 6647770 h 299"/>
              <a:gd name="T2" fmla="*/ 3196095 w 222"/>
              <a:gd name="T3" fmla="*/ 6647770 h 299"/>
              <a:gd name="T4" fmla="*/ 18408564 w 222"/>
              <a:gd name="T5" fmla="*/ 6647770 h 299"/>
              <a:gd name="T6" fmla="*/ 4346675 w 222"/>
              <a:gd name="T7" fmla="*/ 32195817 h 299"/>
              <a:gd name="T8" fmla="*/ 3196095 w 222"/>
              <a:gd name="T9" fmla="*/ 34411861 h 299"/>
              <a:gd name="T10" fmla="*/ 7542413 w 222"/>
              <a:gd name="T11" fmla="*/ 38843587 h 299"/>
              <a:gd name="T12" fmla="*/ 11889088 w 222"/>
              <a:gd name="T13" fmla="*/ 35454535 h 299"/>
              <a:gd name="T14" fmla="*/ 27101914 w 222"/>
              <a:gd name="T15" fmla="*/ 7820779 h 299"/>
              <a:gd name="T16" fmla="*/ 28252137 w 222"/>
              <a:gd name="T17" fmla="*/ 3389052 h 299"/>
              <a:gd name="T18" fmla="*/ 23905819 w 222"/>
              <a:gd name="T19" fmla="*/ 0 h 299"/>
              <a:gd name="T20" fmla="*/ 3196095 w 222"/>
              <a:gd name="T21" fmla="*/ 0 h 299"/>
              <a:gd name="T22" fmla="*/ 0 w 222"/>
              <a:gd name="T23" fmla="*/ 3389052 h 299"/>
              <a:gd name="T24" fmla="*/ 3196095 w 222"/>
              <a:gd name="T25" fmla="*/ 6647770 h 29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22" h="299">
                <a:moveTo>
                  <a:pt x="25" y="51"/>
                </a:moveTo>
                <a:lnTo>
                  <a:pt x="25" y="51"/>
                </a:lnTo>
                <a:cubicBezTo>
                  <a:pt x="144" y="51"/>
                  <a:pt x="144" y="51"/>
                  <a:pt x="144" y="51"/>
                </a:cubicBezTo>
                <a:cubicBezTo>
                  <a:pt x="34" y="247"/>
                  <a:pt x="34" y="247"/>
                  <a:pt x="34" y="247"/>
                </a:cubicBezTo>
                <a:cubicBezTo>
                  <a:pt x="25" y="255"/>
                  <a:pt x="25" y="264"/>
                  <a:pt x="25" y="264"/>
                </a:cubicBezTo>
                <a:cubicBezTo>
                  <a:pt x="25" y="289"/>
                  <a:pt x="42" y="298"/>
                  <a:pt x="59" y="298"/>
                </a:cubicBezTo>
                <a:cubicBezTo>
                  <a:pt x="68" y="298"/>
                  <a:pt x="85" y="289"/>
                  <a:pt x="93" y="272"/>
                </a:cubicBezTo>
                <a:cubicBezTo>
                  <a:pt x="212" y="60"/>
                  <a:pt x="212" y="60"/>
                  <a:pt x="212" y="60"/>
                </a:cubicBezTo>
                <a:cubicBezTo>
                  <a:pt x="212" y="51"/>
                  <a:pt x="221" y="34"/>
                  <a:pt x="221" y="26"/>
                </a:cubicBezTo>
                <a:cubicBezTo>
                  <a:pt x="221" y="9"/>
                  <a:pt x="204" y="0"/>
                  <a:pt x="187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8" y="0"/>
                  <a:pt x="0" y="9"/>
                  <a:pt x="0" y="26"/>
                </a:cubicBezTo>
                <a:cubicBezTo>
                  <a:pt x="0" y="43"/>
                  <a:pt x="8" y="51"/>
                  <a:pt x="25" y="51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7" name="Freeform 401">
            <a:extLst>
              <a:ext uri="{FF2B5EF4-FFF2-40B4-BE49-F238E27FC236}">
                <a16:creationId xmlns:a16="http://schemas.microsoft.com/office/drawing/2014/main" id="{9FE038CA-3556-42B9-95FF-0774E66563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38102" y="4155574"/>
            <a:ext cx="1182444" cy="1285084"/>
          </a:xfrm>
          <a:custGeom>
            <a:avLst/>
            <a:gdLst>
              <a:gd name="T0" fmla="*/ 119632768 w 928"/>
              <a:gd name="T1" fmla="*/ 36285945 h 1047"/>
              <a:gd name="T2" fmla="*/ 119632768 w 928"/>
              <a:gd name="T3" fmla="*/ 36285945 h 1047"/>
              <a:gd name="T4" fmla="*/ 118471344 w 928"/>
              <a:gd name="T5" fmla="*/ 31895424 h 1047"/>
              <a:gd name="T6" fmla="*/ 85562418 w 928"/>
              <a:gd name="T7" fmla="*/ 1162133 h 1047"/>
              <a:gd name="T8" fmla="*/ 85562418 w 928"/>
              <a:gd name="T9" fmla="*/ 1162133 h 1047"/>
              <a:gd name="T10" fmla="*/ 85562418 w 928"/>
              <a:gd name="T11" fmla="*/ 1162133 h 1047"/>
              <a:gd name="T12" fmla="*/ 85562418 w 928"/>
              <a:gd name="T13" fmla="*/ 0 h 1047"/>
              <a:gd name="T14" fmla="*/ 85562418 w 928"/>
              <a:gd name="T15" fmla="*/ 0 h 1047"/>
              <a:gd name="T16" fmla="*/ 84529961 w 928"/>
              <a:gd name="T17" fmla="*/ 0 h 1047"/>
              <a:gd name="T18" fmla="*/ 84529961 w 928"/>
              <a:gd name="T19" fmla="*/ 0 h 1047"/>
              <a:gd name="T20" fmla="*/ 84529961 w 928"/>
              <a:gd name="T21" fmla="*/ 0 h 1047"/>
              <a:gd name="T22" fmla="*/ 84529961 w 928"/>
              <a:gd name="T23" fmla="*/ 0 h 1047"/>
              <a:gd name="T24" fmla="*/ 84529961 w 928"/>
              <a:gd name="T25" fmla="*/ 0 h 1047"/>
              <a:gd name="T26" fmla="*/ 84529961 w 928"/>
              <a:gd name="T27" fmla="*/ 0 h 1047"/>
              <a:gd name="T28" fmla="*/ 83368538 w 928"/>
              <a:gd name="T29" fmla="*/ 0 h 1047"/>
              <a:gd name="T30" fmla="*/ 83368538 w 928"/>
              <a:gd name="T31" fmla="*/ 0 h 1047"/>
              <a:gd name="T32" fmla="*/ 83368538 w 928"/>
              <a:gd name="T33" fmla="*/ 0 h 1047"/>
              <a:gd name="T34" fmla="*/ 83368538 w 928"/>
              <a:gd name="T35" fmla="*/ 0 h 1047"/>
              <a:gd name="T36" fmla="*/ 83368538 w 928"/>
              <a:gd name="T37" fmla="*/ 0 h 1047"/>
              <a:gd name="T38" fmla="*/ 82336081 w 928"/>
              <a:gd name="T39" fmla="*/ 0 h 1047"/>
              <a:gd name="T40" fmla="*/ 7614098 w 928"/>
              <a:gd name="T41" fmla="*/ 0 h 1047"/>
              <a:gd name="T42" fmla="*/ 0 w 928"/>
              <a:gd name="T43" fmla="*/ 7747915 h 1047"/>
              <a:gd name="T44" fmla="*/ 0 w 928"/>
              <a:gd name="T45" fmla="*/ 130681077 h 1047"/>
              <a:gd name="T46" fmla="*/ 4387761 w 928"/>
              <a:gd name="T47" fmla="*/ 135071598 h 1047"/>
              <a:gd name="T48" fmla="*/ 25165502 w 928"/>
              <a:gd name="T49" fmla="*/ 135071598 h 1047"/>
              <a:gd name="T50" fmla="*/ 92144419 w 928"/>
              <a:gd name="T51" fmla="*/ 135071598 h 1047"/>
              <a:gd name="T52" fmla="*/ 115245007 w 928"/>
              <a:gd name="T53" fmla="*/ 135071598 h 1047"/>
              <a:gd name="T54" fmla="*/ 119632768 w 928"/>
              <a:gd name="T55" fmla="*/ 130681077 h 1047"/>
              <a:gd name="T56" fmla="*/ 119632768 w 928"/>
              <a:gd name="T57" fmla="*/ 37448079 h 1047"/>
              <a:gd name="T58" fmla="*/ 119632768 w 928"/>
              <a:gd name="T59" fmla="*/ 36285945 h 1047"/>
              <a:gd name="T60" fmla="*/ 73431592 w 928"/>
              <a:gd name="T61" fmla="*/ 8781043 h 1047"/>
              <a:gd name="T62" fmla="*/ 73431592 w 928"/>
              <a:gd name="T63" fmla="*/ 8781043 h 1047"/>
              <a:gd name="T64" fmla="*/ 73431592 w 928"/>
              <a:gd name="T65" fmla="*/ 33057557 h 1047"/>
              <a:gd name="T66" fmla="*/ 40522665 w 928"/>
              <a:gd name="T67" fmla="*/ 33057557 h 1047"/>
              <a:gd name="T68" fmla="*/ 40522665 w 928"/>
              <a:gd name="T69" fmla="*/ 8781043 h 1047"/>
              <a:gd name="T70" fmla="*/ 73431592 w 928"/>
              <a:gd name="T71" fmla="*/ 8781043 h 1047"/>
              <a:gd name="T72" fmla="*/ 27359382 w 928"/>
              <a:gd name="T73" fmla="*/ 126290555 h 1047"/>
              <a:gd name="T74" fmla="*/ 27359382 w 928"/>
              <a:gd name="T75" fmla="*/ 126290555 h 1047"/>
              <a:gd name="T76" fmla="*/ 27359382 w 928"/>
              <a:gd name="T77" fmla="*/ 82256695 h 1047"/>
              <a:gd name="T78" fmla="*/ 89950179 w 928"/>
              <a:gd name="T79" fmla="*/ 82256695 h 1047"/>
              <a:gd name="T80" fmla="*/ 89950179 w 928"/>
              <a:gd name="T81" fmla="*/ 126290555 h 1047"/>
              <a:gd name="T82" fmla="*/ 27359382 w 928"/>
              <a:gd name="T83" fmla="*/ 126290555 h 1047"/>
              <a:gd name="T84" fmla="*/ 110856887 w 928"/>
              <a:gd name="T85" fmla="*/ 126290555 h 1047"/>
              <a:gd name="T86" fmla="*/ 110856887 w 928"/>
              <a:gd name="T87" fmla="*/ 126290555 h 1047"/>
              <a:gd name="T88" fmla="*/ 98726060 w 928"/>
              <a:gd name="T89" fmla="*/ 126290555 h 1047"/>
              <a:gd name="T90" fmla="*/ 98726060 w 928"/>
              <a:gd name="T91" fmla="*/ 77866173 h 1047"/>
              <a:gd name="T92" fmla="*/ 92144419 w 928"/>
              <a:gd name="T93" fmla="*/ 73475652 h 1047"/>
              <a:gd name="T94" fmla="*/ 25165502 w 928"/>
              <a:gd name="T95" fmla="*/ 73475652 h 1047"/>
              <a:gd name="T96" fmla="*/ 18583860 w 928"/>
              <a:gd name="T97" fmla="*/ 77866173 h 1047"/>
              <a:gd name="T98" fmla="*/ 18583860 w 928"/>
              <a:gd name="T99" fmla="*/ 126290555 h 1047"/>
              <a:gd name="T100" fmla="*/ 8775522 w 928"/>
              <a:gd name="T101" fmla="*/ 126290555 h 1047"/>
              <a:gd name="T102" fmla="*/ 8775522 w 928"/>
              <a:gd name="T103" fmla="*/ 8781043 h 1047"/>
              <a:gd name="T104" fmla="*/ 31747143 w 928"/>
              <a:gd name="T105" fmla="*/ 8781043 h 1047"/>
              <a:gd name="T106" fmla="*/ 31747143 w 928"/>
              <a:gd name="T107" fmla="*/ 36285945 h 1047"/>
              <a:gd name="T108" fmla="*/ 37296328 w 928"/>
              <a:gd name="T109" fmla="*/ 41838600 h 1047"/>
              <a:gd name="T110" fmla="*/ 76786896 w 928"/>
              <a:gd name="T111" fmla="*/ 41838600 h 1047"/>
              <a:gd name="T112" fmla="*/ 82336081 w 928"/>
              <a:gd name="T113" fmla="*/ 36285945 h 1047"/>
              <a:gd name="T114" fmla="*/ 82336081 w 928"/>
              <a:gd name="T115" fmla="*/ 9943176 h 1047"/>
              <a:gd name="T116" fmla="*/ 110856887 w 928"/>
              <a:gd name="T117" fmla="*/ 37448079 h 1047"/>
              <a:gd name="T118" fmla="*/ 110856887 w 928"/>
              <a:gd name="T119" fmla="*/ 37448079 h 1047"/>
              <a:gd name="T120" fmla="*/ 110856887 w 928"/>
              <a:gd name="T121" fmla="*/ 126290555 h 10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28" h="1047">
                <a:moveTo>
                  <a:pt x="927" y="281"/>
                </a:moveTo>
                <a:lnTo>
                  <a:pt x="927" y="281"/>
                </a:lnTo>
                <a:cubicBezTo>
                  <a:pt x="927" y="273"/>
                  <a:pt x="927" y="256"/>
                  <a:pt x="918" y="247"/>
                </a:cubicBezTo>
                <a:cubicBezTo>
                  <a:pt x="663" y="9"/>
                  <a:pt x="663" y="9"/>
                  <a:pt x="663" y="9"/>
                </a:cubicBezTo>
                <a:lnTo>
                  <a:pt x="663" y="0"/>
                </a:lnTo>
                <a:lnTo>
                  <a:pt x="655" y="0"/>
                </a:lnTo>
                <a:cubicBezTo>
                  <a:pt x="646" y="0"/>
                  <a:pt x="646" y="0"/>
                  <a:pt x="646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25" y="0"/>
                  <a:pt x="0" y="26"/>
                  <a:pt x="0" y="60"/>
                </a:cubicBezTo>
                <a:cubicBezTo>
                  <a:pt x="0" y="1012"/>
                  <a:pt x="0" y="1012"/>
                  <a:pt x="0" y="1012"/>
                </a:cubicBezTo>
                <a:cubicBezTo>
                  <a:pt x="0" y="1029"/>
                  <a:pt x="17" y="1046"/>
                  <a:pt x="34" y="1046"/>
                </a:cubicBezTo>
                <a:cubicBezTo>
                  <a:pt x="195" y="1046"/>
                  <a:pt x="195" y="1046"/>
                  <a:pt x="195" y="1046"/>
                </a:cubicBezTo>
                <a:cubicBezTo>
                  <a:pt x="714" y="1046"/>
                  <a:pt x="714" y="1046"/>
                  <a:pt x="714" y="1046"/>
                </a:cubicBezTo>
                <a:cubicBezTo>
                  <a:pt x="893" y="1046"/>
                  <a:pt x="893" y="1046"/>
                  <a:pt x="893" y="1046"/>
                </a:cubicBezTo>
                <a:cubicBezTo>
                  <a:pt x="910" y="1046"/>
                  <a:pt x="927" y="1029"/>
                  <a:pt x="927" y="1012"/>
                </a:cubicBezTo>
                <a:cubicBezTo>
                  <a:pt x="927" y="290"/>
                  <a:pt x="927" y="290"/>
                  <a:pt x="927" y="290"/>
                </a:cubicBezTo>
                <a:cubicBezTo>
                  <a:pt x="927" y="290"/>
                  <a:pt x="927" y="290"/>
                  <a:pt x="927" y="281"/>
                </a:cubicBezTo>
                <a:close/>
                <a:moveTo>
                  <a:pt x="569" y="68"/>
                </a:moveTo>
                <a:lnTo>
                  <a:pt x="569" y="68"/>
                </a:lnTo>
                <a:cubicBezTo>
                  <a:pt x="569" y="256"/>
                  <a:pt x="569" y="256"/>
                  <a:pt x="569" y="256"/>
                </a:cubicBezTo>
                <a:cubicBezTo>
                  <a:pt x="314" y="256"/>
                  <a:pt x="314" y="256"/>
                  <a:pt x="314" y="256"/>
                </a:cubicBezTo>
                <a:cubicBezTo>
                  <a:pt x="314" y="68"/>
                  <a:pt x="314" y="68"/>
                  <a:pt x="314" y="68"/>
                </a:cubicBezTo>
                <a:lnTo>
                  <a:pt x="569" y="68"/>
                </a:lnTo>
                <a:close/>
                <a:moveTo>
                  <a:pt x="212" y="978"/>
                </a:moveTo>
                <a:lnTo>
                  <a:pt x="212" y="978"/>
                </a:lnTo>
                <a:cubicBezTo>
                  <a:pt x="212" y="637"/>
                  <a:pt x="212" y="637"/>
                  <a:pt x="212" y="637"/>
                </a:cubicBezTo>
                <a:cubicBezTo>
                  <a:pt x="697" y="637"/>
                  <a:pt x="697" y="637"/>
                  <a:pt x="697" y="637"/>
                </a:cubicBezTo>
                <a:cubicBezTo>
                  <a:pt x="697" y="978"/>
                  <a:pt x="697" y="978"/>
                  <a:pt x="697" y="978"/>
                </a:cubicBezTo>
                <a:lnTo>
                  <a:pt x="212" y="978"/>
                </a:lnTo>
                <a:close/>
                <a:moveTo>
                  <a:pt x="859" y="978"/>
                </a:moveTo>
                <a:lnTo>
                  <a:pt x="859" y="978"/>
                </a:lnTo>
                <a:cubicBezTo>
                  <a:pt x="765" y="978"/>
                  <a:pt x="765" y="978"/>
                  <a:pt x="765" y="978"/>
                </a:cubicBezTo>
                <a:cubicBezTo>
                  <a:pt x="765" y="603"/>
                  <a:pt x="765" y="603"/>
                  <a:pt x="765" y="603"/>
                </a:cubicBezTo>
                <a:cubicBezTo>
                  <a:pt x="765" y="586"/>
                  <a:pt x="748" y="569"/>
                  <a:pt x="714" y="569"/>
                </a:cubicBezTo>
                <a:cubicBezTo>
                  <a:pt x="195" y="569"/>
                  <a:pt x="195" y="569"/>
                  <a:pt x="195" y="569"/>
                </a:cubicBezTo>
                <a:cubicBezTo>
                  <a:pt x="170" y="569"/>
                  <a:pt x="144" y="586"/>
                  <a:pt x="144" y="603"/>
                </a:cubicBezTo>
                <a:cubicBezTo>
                  <a:pt x="144" y="978"/>
                  <a:pt x="144" y="978"/>
                  <a:pt x="144" y="978"/>
                </a:cubicBezTo>
                <a:cubicBezTo>
                  <a:pt x="68" y="978"/>
                  <a:pt x="68" y="978"/>
                  <a:pt x="68" y="978"/>
                </a:cubicBezTo>
                <a:cubicBezTo>
                  <a:pt x="68" y="68"/>
                  <a:pt x="68" y="68"/>
                  <a:pt x="68" y="68"/>
                </a:cubicBezTo>
                <a:cubicBezTo>
                  <a:pt x="246" y="68"/>
                  <a:pt x="246" y="68"/>
                  <a:pt x="246" y="68"/>
                </a:cubicBezTo>
                <a:cubicBezTo>
                  <a:pt x="246" y="281"/>
                  <a:pt x="246" y="281"/>
                  <a:pt x="246" y="281"/>
                </a:cubicBezTo>
                <a:cubicBezTo>
                  <a:pt x="246" y="307"/>
                  <a:pt x="263" y="324"/>
                  <a:pt x="289" y="324"/>
                </a:cubicBezTo>
                <a:cubicBezTo>
                  <a:pt x="595" y="324"/>
                  <a:pt x="595" y="324"/>
                  <a:pt x="595" y="324"/>
                </a:cubicBezTo>
                <a:cubicBezTo>
                  <a:pt x="621" y="324"/>
                  <a:pt x="638" y="307"/>
                  <a:pt x="638" y="281"/>
                </a:cubicBezTo>
                <a:cubicBezTo>
                  <a:pt x="638" y="77"/>
                  <a:pt x="638" y="77"/>
                  <a:pt x="638" y="77"/>
                </a:cubicBezTo>
                <a:cubicBezTo>
                  <a:pt x="859" y="290"/>
                  <a:pt x="859" y="290"/>
                  <a:pt x="859" y="290"/>
                </a:cubicBezTo>
                <a:lnTo>
                  <a:pt x="859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8" name="Freeform 406">
            <a:extLst>
              <a:ext uri="{FF2B5EF4-FFF2-40B4-BE49-F238E27FC236}">
                <a16:creationId xmlns:a16="http://schemas.microsoft.com/office/drawing/2014/main" id="{476AE601-2DFB-4D97-887A-B61DA6FADE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11304" y="8319897"/>
            <a:ext cx="1340102" cy="1024815"/>
          </a:xfrm>
          <a:custGeom>
            <a:avLst/>
            <a:gdLst>
              <a:gd name="T0" fmla="*/ 129324667 w 1048"/>
              <a:gd name="T1" fmla="*/ 19802148 h 834"/>
              <a:gd name="T2" fmla="*/ 129324667 w 1048"/>
              <a:gd name="T3" fmla="*/ 19802148 h 834"/>
              <a:gd name="T4" fmla="*/ 100600593 w 1048"/>
              <a:gd name="T5" fmla="*/ 19802148 h 834"/>
              <a:gd name="T6" fmla="*/ 88512717 w 1048"/>
              <a:gd name="T7" fmla="*/ 6600836 h 834"/>
              <a:gd name="T8" fmla="*/ 67456904 w 1048"/>
              <a:gd name="T9" fmla="*/ 0 h 834"/>
              <a:gd name="T10" fmla="*/ 47570619 w 1048"/>
              <a:gd name="T11" fmla="*/ 6600836 h 834"/>
              <a:gd name="T12" fmla="*/ 35352955 w 1048"/>
              <a:gd name="T13" fmla="*/ 19802148 h 834"/>
              <a:gd name="T14" fmla="*/ 6628882 w 1048"/>
              <a:gd name="T15" fmla="*/ 19802148 h 834"/>
              <a:gd name="T16" fmla="*/ 0 w 1048"/>
              <a:gd name="T17" fmla="*/ 26402984 h 834"/>
              <a:gd name="T18" fmla="*/ 0 w 1048"/>
              <a:gd name="T19" fmla="*/ 36239122 h 834"/>
              <a:gd name="T20" fmla="*/ 0 w 1048"/>
              <a:gd name="T21" fmla="*/ 57206166 h 834"/>
              <a:gd name="T22" fmla="*/ 0 w 1048"/>
              <a:gd name="T23" fmla="*/ 101211020 h 834"/>
              <a:gd name="T24" fmla="*/ 6628882 w 1048"/>
              <a:gd name="T25" fmla="*/ 107811496 h 834"/>
              <a:gd name="T26" fmla="*/ 129324667 w 1048"/>
              <a:gd name="T27" fmla="*/ 107811496 h 834"/>
              <a:gd name="T28" fmla="*/ 136083336 w 1048"/>
              <a:gd name="T29" fmla="*/ 101211020 h 834"/>
              <a:gd name="T30" fmla="*/ 136083336 w 1048"/>
              <a:gd name="T31" fmla="*/ 57206166 h 834"/>
              <a:gd name="T32" fmla="*/ 136083336 w 1048"/>
              <a:gd name="T33" fmla="*/ 36239122 h 834"/>
              <a:gd name="T34" fmla="*/ 136083336 w 1048"/>
              <a:gd name="T35" fmla="*/ 26402984 h 834"/>
              <a:gd name="T36" fmla="*/ 129324667 w 1048"/>
              <a:gd name="T37" fmla="*/ 19802148 h 834"/>
              <a:gd name="T38" fmla="*/ 51989874 w 1048"/>
              <a:gd name="T39" fmla="*/ 13201312 h 834"/>
              <a:gd name="T40" fmla="*/ 51989874 w 1048"/>
              <a:gd name="T41" fmla="*/ 13201312 h 834"/>
              <a:gd name="T42" fmla="*/ 67456904 w 1048"/>
              <a:gd name="T43" fmla="*/ 8801115 h 834"/>
              <a:gd name="T44" fmla="*/ 84093462 w 1048"/>
              <a:gd name="T45" fmla="*/ 13201312 h 834"/>
              <a:gd name="T46" fmla="*/ 89552456 w 1048"/>
              <a:gd name="T47" fmla="*/ 19802148 h 834"/>
              <a:gd name="T48" fmla="*/ 67456904 w 1048"/>
              <a:gd name="T49" fmla="*/ 19802148 h 834"/>
              <a:gd name="T50" fmla="*/ 46401092 w 1048"/>
              <a:gd name="T51" fmla="*/ 19802148 h 834"/>
              <a:gd name="T52" fmla="*/ 51989874 w 1048"/>
              <a:gd name="T53" fmla="*/ 13201312 h 834"/>
              <a:gd name="T54" fmla="*/ 8838149 w 1048"/>
              <a:gd name="T55" fmla="*/ 28602903 h 834"/>
              <a:gd name="T56" fmla="*/ 8838149 w 1048"/>
              <a:gd name="T57" fmla="*/ 28602903 h 834"/>
              <a:gd name="T58" fmla="*/ 32103588 w 1048"/>
              <a:gd name="T59" fmla="*/ 28602903 h 834"/>
              <a:gd name="T60" fmla="*/ 32103588 w 1048"/>
              <a:gd name="T61" fmla="*/ 28602903 h 834"/>
              <a:gd name="T62" fmla="*/ 103979747 w 1048"/>
              <a:gd name="T63" fmla="*/ 28602903 h 834"/>
              <a:gd name="T64" fmla="*/ 103979747 w 1048"/>
              <a:gd name="T65" fmla="*/ 28602903 h 834"/>
              <a:gd name="T66" fmla="*/ 127115400 w 1048"/>
              <a:gd name="T67" fmla="*/ 28602903 h 834"/>
              <a:gd name="T68" fmla="*/ 127115400 w 1048"/>
              <a:gd name="T69" fmla="*/ 36239122 h 834"/>
              <a:gd name="T70" fmla="*/ 127115400 w 1048"/>
              <a:gd name="T71" fmla="*/ 57206166 h 834"/>
              <a:gd name="T72" fmla="*/ 119446778 w 1048"/>
              <a:gd name="T73" fmla="*/ 64971538 h 834"/>
              <a:gd name="T74" fmla="*/ 16636918 w 1048"/>
              <a:gd name="T75" fmla="*/ 64971538 h 834"/>
              <a:gd name="T76" fmla="*/ 8838149 w 1048"/>
              <a:gd name="T77" fmla="*/ 57206166 h 834"/>
              <a:gd name="T78" fmla="*/ 8838149 w 1048"/>
              <a:gd name="T79" fmla="*/ 36239122 h 834"/>
              <a:gd name="T80" fmla="*/ 8838149 w 1048"/>
              <a:gd name="T81" fmla="*/ 28602903 h 834"/>
              <a:gd name="T82" fmla="*/ 8838149 w 1048"/>
              <a:gd name="T83" fmla="*/ 99010741 h 834"/>
              <a:gd name="T84" fmla="*/ 8838149 w 1048"/>
              <a:gd name="T85" fmla="*/ 99010741 h 834"/>
              <a:gd name="T86" fmla="*/ 8838149 w 1048"/>
              <a:gd name="T87" fmla="*/ 71572374 h 834"/>
              <a:gd name="T88" fmla="*/ 16636918 w 1048"/>
              <a:gd name="T89" fmla="*/ 73772653 h 834"/>
              <a:gd name="T90" fmla="*/ 119446778 w 1048"/>
              <a:gd name="T91" fmla="*/ 73772653 h 834"/>
              <a:gd name="T92" fmla="*/ 127115400 w 1048"/>
              <a:gd name="T93" fmla="*/ 71572374 h 834"/>
              <a:gd name="T94" fmla="*/ 127115400 w 1048"/>
              <a:gd name="T95" fmla="*/ 99010741 h 834"/>
              <a:gd name="T96" fmla="*/ 8838149 w 1048"/>
              <a:gd name="T97" fmla="*/ 99010741 h 8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048" h="834">
                <a:moveTo>
                  <a:pt x="995" y="153"/>
                </a:moveTo>
                <a:lnTo>
                  <a:pt x="995" y="153"/>
                </a:lnTo>
                <a:cubicBezTo>
                  <a:pt x="774" y="153"/>
                  <a:pt x="774" y="153"/>
                  <a:pt x="774" y="153"/>
                </a:cubicBezTo>
                <a:cubicBezTo>
                  <a:pt x="749" y="110"/>
                  <a:pt x="723" y="76"/>
                  <a:pt x="681" y="51"/>
                </a:cubicBezTo>
                <a:cubicBezTo>
                  <a:pt x="638" y="17"/>
                  <a:pt x="579" y="0"/>
                  <a:pt x="519" y="0"/>
                </a:cubicBezTo>
                <a:cubicBezTo>
                  <a:pt x="468" y="0"/>
                  <a:pt x="408" y="17"/>
                  <a:pt x="366" y="51"/>
                </a:cubicBezTo>
                <a:cubicBezTo>
                  <a:pt x="323" y="76"/>
                  <a:pt x="298" y="110"/>
                  <a:pt x="27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26" y="153"/>
                  <a:pt x="0" y="178"/>
                  <a:pt x="0" y="204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808"/>
                  <a:pt x="26" y="833"/>
                  <a:pt x="51" y="833"/>
                </a:cubicBezTo>
                <a:cubicBezTo>
                  <a:pt x="995" y="833"/>
                  <a:pt x="995" y="833"/>
                  <a:pt x="995" y="833"/>
                </a:cubicBezTo>
                <a:cubicBezTo>
                  <a:pt x="1021" y="833"/>
                  <a:pt x="1047" y="808"/>
                  <a:pt x="1047" y="782"/>
                </a:cubicBezTo>
                <a:cubicBezTo>
                  <a:pt x="1047" y="442"/>
                  <a:pt x="1047" y="442"/>
                  <a:pt x="1047" y="442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04"/>
                  <a:pt x="1047" y="204"/>
                  <a:pt x="1047" y="204"/>
                </a:cubicBezTo>
                <a:cubicBezTo>
                  <a:pt x="1047" y="170"/>
                  <a:pt x="1021" y="153"/>
                  <a:pt x="995" y="153"/>
                </a:cubicBezTo>
                <a:close/>
                <a:moveTo>
                  <a:pt x="400" y="102"/>
                </a:moveTo>
                <a:lnTo>
                  <a:pt x="400" y="102"/>
                </a:lnTo>
                <a:cubicBezTo>
                  <a:pt x="434" y="85"/>
                  <a:pt x="477" y="68"/>
                  <a:pt x="519" y="68"/>
                </a:cubicBezTo>
                <a:cubicBezTo>
                  <a:pt x="570" y="68"/>
                  <a:pt x="604" y="85"/>
                  <a:pt x="647" y="102"/>
                </a:cubicBezTo>
                <a:cubicBezTo>
                  <a:pt x="664" y="119"/>
                  <a:pt x="681" y="136"/>
                  <a:pt x="689" y="153"/>
                </a:cubicBezTo>
                <a:cubicBezTo>
                  <a:pt x="519" y="153"/>
                  <a:pt x="519" y="153"/>
                  <a:pt x="519" y="153"/>
                </a:cubicBezTo>
                <a:cubicBezTo>
                  <a:pt x="357" y="153"/>
                  <a:pt x="357" y="153"/>
                  <a:pt x="357" y="153"/>
                </a:cubicBezTo>
                <a:cubicBezTo>
                  <a:pt x="366" y="136"/>
                  <a:pt x="383" y="119"/>
                  <a:pt x="400" y="102"/>
                </a:cubicBezTo>
                <a:close/>
                <a:moveTo>
                  <a:pt x="68" y="221"/>
                </a:moveTo>
                <a:lnTo>
                  <a:pt x="68" y="221"/>
                </a:lnTo>
                <a:cubicBezTo>
                  <a:pt x="247" y="221"/>
                  <a:pt x="247" y="221"/>
                  <a:pt x="247" y="221"/>
                </a:cubicBezTo>
                <a:cubicBezTo>
                  <a:pt x="800" y="221"/>
                  <a:pt x="800" y="221"/>
                  <a:pt x="800" y="221"/>
                </a:cubicBezTo>
                <a:cubicBezTo>
                  <a:pt x="978" y="221"/>
                  <a:pt x="978" y="221"/>
                  <a:pt x="978" y="221"/>
                </a:cubicBezTo>
                <a:cubicBezTo>
                  <a:pt x="978" y="280"/>
                  <a:pt x="978" y="280"/>
                  <a:pt x="978" y="280"/>
                </a:cubicBezTo>
                <a:cubicBezTo>
                  <a:pt x="978" y="442"/>
                  <a:pt x="978" y="442"/>
                  <a:pt x="978" y="442"/>
                </a:cubicBezTo>
                <a:cubicBezTo>
                  <a:pt x="978" y="476"/>
                  <a:pt x="953" y="502"/>
                  <a:pt x="919" y="502"/>
                </a:cubicBezTo>
                <a:cubicBezTo>
                  <a:pt x="128" y="502"/>
                  <a:pt x="128" y="502"/>
                  <a:pt x="128" y="502"/>
                </a:cubicBezTo>
                <a:cubicBezTo>
                  <a:pt x="94" y="502"/>
                  <a:pt x="68" y="476"/>
                  <a:pt x="68" y="442"/>
                </a:cubicBezTo>
                <a:cubicBezTo>
                  <a:pt x="68" y="280"/>
                  <a:pt x="68" y="280"/>
                  <a:pt x="68" y="280"/>
                </a:cubicBezTo>
                <a:lnTo>
                  <a:pt x="68" y="221"/>
                </a:lnTo>
                <a:close/>
                <a:moveTo>
                  <a:pt x="68" y="765"/>
                </a:moveTo>
                <a:lnTo>
                  <a:pt x="68" y="765"/>
                </a:lnTo>
                <a:cubicBezTo>
                  <a:pt x="68" y="553"/>
                  <a:pt x="68" y="553"/>
                  <a:pt x="68" y="553"/>
                </a:cubicBezTo>
                <a:cubicBezTo>
                  <a:pt x="85" y="561"/>
                  <a:pt x="111" y="570"/>
                  <a:pt x="128" y="570"/>
                </a:cubicBezTo>
                <a:cubicBezTo>
                  <a:pt x="919" y="570"/>
                  <a:pt x="919" y="570"/>
                  <a:pt x="919" y="570"/>
                </a:cubicBezTo>
                <a:cubicBezTo>
                  <a:pt x="936" y="570"/>
                  <a:pt x="961" y="561"/>
                  <a:pt x="978" y="553"/>
                </a:cubicBezTo>
                <a:cubicBezTo>
                  <a:pt x="978" y="765"/>
                  <a:pt x="978" y="765"/>
                  <a:pt x="978" y="765"/>
                </a:cubicBezTo>
                <a:lnTo>
                  <a:pt x="68" y="76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37846"/>
            <a:endParaRPr lang="es-MX" sz="2634">
              <a:solidFill>
                <a:srgbClr val="98989A"/>
              </a:solidFill>
              <a:latin typeface="Trebuchet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713C565-7D55-4B27-828F-3EC3CC74E4AC}"/>
              </a:ext>
            </a:extLst>
          </p:cNvPr>
          <p:cNvGrpSpPr/>
          <p:nvPr userDrawn="1"/>
        </p:nvGrpSpPr>
        <p:grpSpPr>
          <a:xfrm>
            <a:off x="2566528" y="6313087"/>
            <a:ext cx="1090803" cy="928677"/>
            <a:chOff x="5846115" y="3218159"/>
            <a:chExt cx="447713" cy="343594"/>
          </a:xfrm>
        </p:grpSpPr>
        <p:sp>
          <p:nvSpPr>
            <p:cNvPr id="20" name="Freeform 402">
              <a:extLst>
                <a:ext uri="{FF2B5EF4-FFF2-40B4-BE49-F238E27FC236}">
                  <a16:creationId xmlns:a16="http://schemas.microsoft.com/office/drawing/2014/main" id="{310DB959-460F-45F1-80BB-47E88DB9E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115" y="3218159"/>
              <a:ext cx="447713" cy="343594"/>
            </a:xfrm>
            <a:custGeom>
              <a:avLst/>
              <a:gdLst>
                <a:gd name="T0" fmla="*/ 258261 w 757"/>
                <a:gd name="T1" fmla="*/ 209189 h 580"/>
                <a:gd name="T2" fmla="*/ 258261 w 757"/>
                <a:gd name="T3" fmla="*/ 209189 h 580"/>
                <a:gd name="T4" fmla="*/ 14428 w 757"/>
                <a:gd name="T5" fmla="*/ 209189 h 580"/>
                <a:gd name="T6" fmla="*/ 0 w 757"/>
                <a:gd name="T7" fmla="*/ 194737 h 580"/>
                <a:gd name="T8" fmla="*/ 0 w 757"/>
                <a:gd name="T9" fmla="*/ 14452 h 580"/>
                <a:gd name="T10" fmla="*/ 14428 w 757"/>
                <a:gd name="T11" fmla="*/ 0 h 580"/>
                <a:gd name="T12" fmla="*/ 104603 w 757"/>
                <a:gd name="T13" fmla="*/ 0 h 580"/>
                <a:gd name="T14" fmla="*/ 113260 w 757"/>
                <a:gd name="T15" fmla="*/ 5781 h 580"/>
                <a:gd name="T16" fmla="*/ 139591 w 757"/>
                <a:gd name="T17" fmla="*/ 32155 h 580"/>
                <a:gd name="T18" fmla="*/ 258261 w 757"/>
                <a:gd name="T19" fmla="*/ 32155 h 580"/>
                <a:gd name="T20" fmla="*/ 272689 w 757"/>
                <a:gd name="T21" fmla="*/ 46607 h 580"/>
                <a:gd name="T22" fmla="*/ 272689 w 757"/>
                <a:gd name="T23" fmla="*/ 194737 h 580"/>
                <a:gd name="T24" fmla="*/ 258261 w 757"/>
                <a:gd name="T25" fmla="*/ 209189 h 580"/>
                <a:gd name="T26" fmla="*/ 17314 w 757"/>
                <a:gd name="T27" fmla="*/ 191847 h 580"/>
                <a:gd name="T28" fmla="*/ 17314 w 757"/>
                <a:gd name="T29" fmla="*/ 191847 h 580"/>
                <a:gd name="T30" fmla="*/ 255376 w 757"/>
                <a:gd name="T31" fmla="*/ 191847 h 580"/>
                <a:gd name="T32" fmla="*/ 255376 w 757"/>
                <a:gd name="T33" fmla="*/ 49497 h 580"/>
                <a:gd name="T34" fmla="*/ 136705 w 757"/>
                <a:gd name="T35" fmla="*/ 49497 h 580"/>
                <a:gd name="T36" fmla="*/ 127688 w 757"/>
                <a:gd name="T37" fmla="*/ 46607 h 580"/>
                <a:gd name="T38" fmla="*/ 101717 w 757"/>
                <a:gd name="T39" fmla="*/ 17342 h 580"/>
                <a:gd name="T40" fmla="*/ 17314 w 757"/>
                <a:gd name="T41" fmla="*/ 17342 h 580"/>
                <a:gd name="T42" fmla="*/ 17314 w 757"/>
                <a:gd name="T43" fmla="*/ 191847 h 580"/>
                <a:gd name="T44" fmla="*/ 142477 w 757"/>
                <a:gd name="T45" fmla="*/ 35045 h 580"/>
                <a:gd name="T46" fmla="*/ 142477 w 757"/>
                <a:gd name="T47" fmla="*/ 35045 h 580"/>
                <a:gd name="T48" fmla="*/ 104603 w 757"/>
                <a:gd name="T49" fmla="*/ 17342 h 580"/>
                <a:gd name="T50" fmla="*/ 104603 w 757"/>
                <a:gd name="T51" fmla="*/ 17342 h 5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757" h="580">
                  <a:moveTo>
                    <a:pt x="716" y="579"/>
                  </a:moveTo>
                  <a:lnTo>
                    <a:pt x="716" y="579"/>
                  </a:lnTo>
                  <a:cubicBezTo>
                    <a:pt x="40" y="579"/>
                    <a:pt x="40" y="579"/>
                    <a:pt x="40" y="579"/>
                  </a:cubicBezTo>
                  <a:cubicBezTo>
                    <a:pt x="16" y="579"/>
                    <a:pt x="0" y="563"/>
                    <a:pt x="0" y="5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24" y="0"/>
                    <a:pt x="40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8" y="0"/>
                    <a:pt x="306" y="8"/>
                    <a:pt x="314" y="16"/>
                  </a:cubicBezTo>
                  <a:cubicBezTo>
                    <a:pt x="387" y="89"/>
                    <a:pt x="387" y="89"/>
                    <a:pt x="387" y="89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40" y="89"/>
                    <a:pt x="756" y="105"/>
                    <a:pt x="756" y="129"/>
                  </a:cubicBezTo>
                  <a:cubicBezTo>
                    <a:pt x="756" y="539"/>
                    <a:pt x="756" y="539"/>
                    <a:pt x="756" y="539"/>
                  </a:cubicBezTo>
                  <a:cubicBezTo>
                    <a:pt x="756" y="563"/>
                    <a:pt x="740" y="579"/>
                    <a:pt x="716" y="579"/>
                  </a:cubicBezTo>
                  <a:close/>
                  <a:moveTo>
                    <a:pt x="48" y="531"/>
                  </a:moveTo>
                  <a:lnTo>
                    <a:pt x="48" y="531"/>
                  </a:lnTo>
                  <a:cubicBezTo>
                    <a:pt x="708" y="531"/>
                    <a:pt x="708" y="531"/>
                    <a:pt x="708" y="531"/>
                  </a:cubicBezTo>
                  <a:cubicBezTo>
                    <a:pt x="708" y="137"/>
                    <a:pt x="708" y="137"/>
                    <a:pt x="708" y="137"/>
                  </a:cubicBezTo>
                  <a:cubicBezTo>
                    <a:pt x="379" y="137"/>
                    <a:pt x="379" y="137"/>
                    <a:pt x="379" y="137"/>
                  </a:cubicBezTo>
                  <a:cubicBezTo>
                    <a:pt x="370" y="137"/>
                    <a:pt x="362" y="137"/>
                    <a:pt x="354" y="129"/>
                  </a:cubicBezTo>
                  <a:cubicBezTo>
                    <a:pt x="282" y="48"/>
                    <a:pt x="282" y="48"/>
                    <a:pt x="282" y="48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8" y="531"/>
                  </a:lnTo>
                  <a:close/>
                  <a:moveTo>
                    <a:pt x="395" y="97"/>
                  </a:moveTo>
                  <a:lnTo>
                    <a:pt x="395" y="97"/>
                  </a:lnTo>
                  <a:close/>
                  <a:moveTo>
                    <a:pt x="290" y="48"/>
                  </a:moveTo>
                  <a:lnTo>
                    <a:pt x="290" y="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37846"/>
              <a:endParaRPr lang="es-MX" sz="2634">
                <a:solidFill>
                  <a:srgbClr val="989998"/>
                </a:solidFill>
                <a:latin typeface="Calibri" panose="020F0502020204030204"/>
              </a:endParaRPr>
            </a:p>
          </p:txBody>
        </p:sp>
        <p:sp>
          <p:nvSpPr>
            <p:cNvPr id="21" name="Freeform 403">
              <a:extLst>
                <a:ext uri="{FF2B5EF4-FFF2-40B4-BE49-F238E27FC236}">
                  <a16:creationId xmlns:a16="http://schemas.microsoft.com/office/drawing/2014/main" id="{2A1D2BDE-B395-4640-A31E-C716AA13C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9971" y="3218159"/>
              <a:ext cx="223856" cy="28634"/>
            </a:xfrm>
            <a:custGeom>
              <a:avLst/>
              <a:gdLst>
                <a:gd name="T0" fmla="*/ 127496 w 378"/>
                <a:gd name="T1" fmla="*/ 17107 h 49"/>
                <a:gd name="T2" fmla="*/ 127496 w 378"/>
                <a:gd name="T3" fmla="*/ 17107 h 49"/>
                <a:gd name="T4" fmla="*/ 8668 w 378"/>
                <a:gd name="T5" fmla="*/ 17107 h 49"/>
                <a:gd name="T6" fmla="*/ 0 w 378"/>
                <a:gd name="T7" fmla="*/ 8553 h 49"/>
                <a:gd name="T8" fmla="*/ 8668 w 378"/>
                <a:gd name="T9" fmla="*/ 0 h 49"/>
                <a:gd name="T10" fmla="*/ 127496 w 378"/>
                <a:gd name="T11" fmla="*/ 0 h 49"/>
                <a:gd name="T12" fmla="*/ 136164 w 378"/>
                <a:gd name="T13" fmla="*/ 8553 h 49"/>
                <a:gd name="T14" fmla="*/ 127496 w 378"/>
                <a:gd name="T15" fmla="*/ 17107 h 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8" h="49">
                  <a:moveTo>
                    <a:pt x="353" y="48"/>
                  </a:moveTo>
                  <a:lnTo>
                    <a:pt x="353" y="48"/>
                  </a:lnTo>
                  <a:cubicBezTo>
                    <a:pt x="24" y="48"/>
                    <a:pt x="24" y="48"/>
                    <a:pt x="24" y="48"/>
                  </a:cubicBezTo>
                  <a:cubicBezTo>
                    <a:pt x="8" y="48"/>
                    <a:pt x="0" y="40"/>
                    <a:pt x="0" y="24"/>
                  </a:cubicBezTo>
                  <a:cubicBezTo>
                    <a:pt x="0" y="16"/>
                    <a:pt x="8" y="0"/>
                    <a:pt x="24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61" y="0"/>
                    <a:pt x="377" y="16"/>
                    <a:pt x="377" y="24"/>
                  </a:cubicBezTo>
                  <a:cubicBezTo>
                    <a:pt x="377" y="40"/>
                    <a:pt x="361" y="48"/>
                    <a:pt x="353" y="4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37846"/>
              <a:endParaRPr lang="es-MX" sz="2634">
                <a:solidFill>
                  <a:srgbClr val="989998"/>
                </a:solidFill>
                <a:latin typeface="Calibri" panose="020F0502020204030204"/>
              </a:endParaRPr>
            </a:p>
          </p:txBody>
        </p:sp>
      </p:grp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072E340-3081-4F04-98E1-D621E4AC1FA5}"/>
              </a:ext>
            </a:extLst>
          </p:cNvPr>
          <p:cNvSpPr txBox="1">
            <a:spLocks/>
          </p:cNvSpPr>
          <p:nvPr userDrawn="1"/>
        </p:nvSpPr>
        <p:spPr>
          <a:xfrm>
            <a:off x="978263" y="9389523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342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Escopo do trabalho</a:t>
            </a:r>
          </a:p>
        </p:txBody>
      </p:sp>
    </p:spTree>
    <p:extLst>
      <p:ext uri="{BB962C8B-B14F-4D97-AF65-F5344CB8AC3E}">
        <p14:creationId xmlns:p14="http://schemas.microsoft.com/office/powerpoint/2010/main" val="39931882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E964904-47D0-4C35-87A7-837C5FF5F8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5719" y="3942136"/>
            <a:ext cx="4660893" cy="134462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9901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1CD44F0-9FF7-4DD3-A027-FBA74C181F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7038" y="101534"/>
            <a:ext cx="16806588" cy="987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66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245351C-6F50-4759-A5C6-0286279C69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7330"/>
            <a:ext cx="17934489" cy="1011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7975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800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42" b="0">
                <a:solidFill>
                  <a:schemeClr val="bg2"/>
                </a:solidFill>
              </a:defRPr>
            </a:lvl1pPr>
            <a:lvl2pPr>
              <a:defRPr sz="2049" b="0">
                <a:solidFill>
                  <a:schemeClr val="bg2"/>
                </a:solidFill>
              </a:defRPr>
            </a:lvl2pPr>
            <a:lvl3pPr>
              <a:defRPr sz="2342"/>
            </a:lvl3pPr>
            <a:lvl4pPr>
              <a:defRPr sz="2342"/>
            </a:lvl4pPr>
            <a:lvl5pPr>
              <a:defRPr sz="234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2671079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scos">
    <p:bg>
      <p:bgPr>
        <a:gradFill flip="none" rotWithShape="1">
          <a:gsLst>
            <a:gs pos="32000">
              <a:srgbClr val="F5F5F5"/>
            </a:gs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8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algn="l" defTabSz="670796"/>
            <a:r>
              <a:rPr lang="pt-BR"/>
              <a:t>AUDITORIA INTERNA - ATI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2377F5F-2121-4B7B-9EF4-224238D91F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5" y="539358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06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F68D063-E7BC-4EFB-9967-FBB91A77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5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34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38113" fontAlgn="auto">
              <a:spcBef>
                <a:spcPts val="1464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82F0B678-EFD7-4355-8491-77D3B6A687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4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: Rounded Corners 6">
            <a:extLst>
              <a:ext uri="{FF2B5EF4-FFF2-40B4-BE49-F238E27FC236}">
                <a16:creationId xmlns:a16="http://schemas.microsoft.com/office/drawing/2014/main" id="{4B875682-43E6-4698-9E24-3C6031219787}"/>
              </a:ext>
            </a:extLst>
          </p:cNvPr>
          <p:cNvSpPr/>
          <p:nvPr userDrawn="1"/>
        </p:nvSpPr>
        <p:spPr>
          <a:xfrm flipH="1">
            <a:off x="7253230" y="5734552"/>
            <a:ext cx="4552276" cy="3520106"/>
          </a:xfrm>
          <a:prstGeom prst="roundRect">
            <a:avLst>
              <a:gd name="adj" fmla="val 225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3">
            <a:extLst>
              <a:ext uri="{FF2B5EF4-FFF2-40B4-BE49-F238E27FC236}">
                <a16:creationId xmlns:a16="http://schemas.microsoft.com/office/drawing/2014/main" id="{02C8D298-8E20-4C42-9B2E-A978F38B64B4}"/>
              </a:ext>
            </a:extLst>
          </p:cNvPr>
          <p:cNvSpPr/>
          <p:nvPr userDrawn="1"/>
        </p:nvSpPr>
        <p:spPr>
          <a:xfrm flipH="1">
            <a:off x="12484539" y="5672283"/>
            <a:ext cx="4653732" cy="3586339"/>
          </a:xfrm>
          <a:prstGeom prst="roundRect">
            <a:avLst>
              <a:gd name="adj" fmla="val 328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: Rounded Corners 2">
            <a:extLst>
              <a:ext uri="{FF2B5EF4-FFF2-40B4-BE49-F238E27FC236}">
                <a16:creationId xmlns:a16="http://schemas.microsoft.com/office/drawing/2014/main" id="{1B1BB546-5B50-4704-A10F-3FFF08DFC1E3}"/>
              </a:ext>
            </a:extLst>
          </p:cNvPr>
          <p:cNvSpPr/>
          <p:nvPr userDrawn="1"/>
        </p:nvSpPr>
        <p:spPr>
          <a:xfrm flipH="1">
            <a:off x="7175776" y="2528915"/>
            <a:ext cx="9970675" cy="2704155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12700" dir="5400000" algn="ctr" rotWithShape="0">
              <a:srgbClr val="000104">
                <a:alpha val="1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00FACE95-955D-43AE-AA85-3C0EBB0625F3}"/>
              </a:ext>
            </a:extLst>
          </p:cNvPr>
          <p:cNvSpPr/>
          <p:nvPr userDrawn="1"/>
        </p:nvSpPr>
        <p:spPr>
          <a:xfrm flipH="1">
            <a:off x="675026" y="2528914"/>
            <a:ext cx="6056712" cy="6729709"/>
          </a:xfrm>
          <a:prstGeom prst="roundRect">
            <a:avLst>
              <a:gd name="adj" fmla="val 178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38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216B277E-7BBA-4D9B-8085-64F8CD292216}"/>
              </a:ext>
            </a:extLst>
          </p:cNvPr>
          <p:cNvSpPr txBox="1"/>
          <p:nvPr userDrawn="1"/>
        </p:nvSpPr>
        <p:spPr>
          <a:xfrm>
            <a:off x="845773" y="5075490"/>
            <a:ext cx="455061" cy="291413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PROBABILIDADE</a:t>
            </a:r>
            <a:endParaRPr lang="pt-BR" sz="1464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17873CD-53B6-408A-954C-87DA11E6366B}"/>
              </a:ext>
            </a:extLst>
          </p:cNvPr>
          <p:cNvSpPr txBox="1"/>
          <p:nvPr userDrawn="1"/>
        </p:nvSpPr>
        <p:spPr>
          <a:xfrm rot="5400000">
            <a:off x="2804678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6B2FB07-62A7-446C-BBC2-66A9B9CEF1EE}"/>
              </a:ext>
            </a:extLst>
          </p:cNvPr>
          <p:cNvSpPr txBox="1"/>
          <p:nvPr userDrawn="1"/>
        </p:nvSpPr>
        <p:spPr>
          <a:xfrm rot="5400000">
            <a:off x="3798729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ÉDI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6B5E66D-5882-4A25-BEDD-6CFF28D51FEF}"/>
              </a:ext>
            </a:extLst>
          </p:cNvPr>
          <p:cNvSpPr txBox="1"/>
          <p:nvPr userDrawn="1"/>
        </p:nvSpPr>
        <p:spPr>
          <a:xfrm rot="5400000">
            <a:off x="4864053" y="3358420"/>
            <a:ext cx="409984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0E2CB01-3845-4CCA-97C0-EFEC2E0241D2}"/>
              </a:ext>
            </a:extLst>
          </p:cNvPr>
          <p:cNvSpPr txBox="1"/>
          <p:nvPr userDrawn="1"/>
        </p:nvSpPr>
        <p:spPr>
          <a:xfrm rot="5400000">
            <a:off x="5771950" y="3305635"/>
            <a:ext cx="409984" cy="95377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ALT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96027F1-9C9E-4AF1-98CD-22200F3A0EB7}"/>
              </a:ext>
            </a:extLst>
          </p:cNvPr>
          <p:cNvSpPr txBox="1"/>
          <p:nvPr userDrawn="1"/>
        </p:nvSpPr>
        <p:spPr>
          <a:xfrm rot="5400000">
            <a:off x="1731148" y="3296871"/>
            <a:ext cx="409984" cy="97130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38113"/>
            <a:r>
              <a:rPr lang="pt-BR" sz="1464" b="1">
                <a:solidFill>
                  <a:srgbClr val="999999"/>
                </a:solidFill>
                <a:latin typeface="Calibri" panose="020F0502020204030204"/>
              </a:rPr>
              <a:t>M. BAIXA</a:t>
            </a:r>
            <a:endParaRPr lang="pt-BR" sz="1025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093BB404-8FAE-4705-B24B-1A75491A31D9}"/>
              </a:ext>
            </a:extLst>
          </p:cNvPr>
          <p:cNvSpPr txBox="1"/>
          <p:nvPr userDrawn="1"/>
        </p:nvSpPr>
        <p:spPr>
          <a:xfrm>
            <a:off x="1346831" y="8047142"/>
            <a:ext cx="3873875" cy="362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38113"/>
            <a:r>
              <a:rPr lang="pt-BR" sz="1757" b="1">
                <a:solidFill>
                  <a:srgbClr val="999999"/>
                </a:solidFill>
                <a:latin typeface="Calibri" panose="020F0502020204030204"/>
              </a:rPr>
              <a:t>IMPACTO</a:t>
            </a:r>
            <a:endParaRPr lang="pt-BR" sz="1172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505F0ED0-D0FB-40BC-B7B3-A9CB2E73D3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37610" y="2911319"/>
            <a:ext cx="8054879" cy="496858"/>
          </a:xfrm>
          <a:prstGeom prst="rect">
            <a:avLst/>
          </a:prstGeom>
          <a:noFill/>
          <a:effectLst>
            <a:softEdge rad="25400"/>
          </a:effectLst>
        </p:spPr>
        <p:txBody>
          <a:bodyPr wrap="square" lIns="36000" tIns="36000" rIns="36000" bIns="36000" rtlCol="0" anchor="t">
            <a:spAutoFit/>
          </a:bodyPr>
          <a:lstStyle>
            <a:lvl1pPr>
              <a:defRPr kumimoji="0" lang="pt-BR" sz="2049" b="0" i="0" u="none" strike="noStrike" kern="0" cap="none" spc="0" normalizeH="0" baseline="0" smtClean="0">
                <a:ln>
                  <a:noFill/>
                </a:ln>
                <a:solidFill>
                  <a:srgbClr val="494949">
                    <a:lumMod val="75000"/>
                  </a:srgbClr>
                </a:solidFill>
                <a:effectLst/>
                <a:uLnTx/>
                <a:uFillTx/>
                <a:latin typeface="Trebuchet"/>
              </a:defRPr>
            </a:lvl1pPr>
            <a:lvl2pPr>
              <a:defRPr lang="pt-BR" sz="1327" smtClean="0"/>
            </a:lvl2pPr>
            <a:lvl3pPr>
              <a:defRPr lang="pt-BR" sz="1327" smtClean="0"/>
            </a:lvl3pPr>
            <a:lvl4pPr>
              <a:defRPr lang="pt-BR" sz="1327" smtClean="0"/>
            </a:lvl4pPr>
            <a:lvl5pPr>
              <a:defRPr lang="pt-BR" sz="1327"/>
            </a:lvl5pPr>
          </a:lstStyle>
          <a:p>
            <a:pPr marR="0" lvl="0" indent="0" defTabSz="13381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</a:t>
            </a:r>
          </a:p>
        </p:txBody>
      </p:sp>
      <p:sp>
        <p:nvSpPr>
          <p:cNvPr id="86" name="Espaço Reservado para Texto 2">
            <a:extLst>
              <a:ext uri="{FF2B5EF4-FFF2-40B4-BE49-F238E27FC236}">
                <a16:creationId xmlns:a16="http://schemas.microsoft.com/office/drawing/2014/main" id="{9DC7FA72-1F35-46A6-AB4E-CE78B3977F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452432" y="5661372"/>
            <a:ext cx="3955975" cy="8220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34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37846"/>
            <a:r>
              <a:rPr lang="pt-BR"/>
              <a:t>Clique para editar os estilos de texto Mestre</a:t>
            </a:r>
          </a:p>
        </p:txBody>
      </p:sp>
      <p:sp>
        <p:nvSpPr>
          <p:cNvPr id="87" name="Espaço Reservado para Texto 2">
            <a:extLst>
              <a:ext uri="{FF2B5EF4-FFF2-40B4-BE49-F238E27FC236}">
                <a16:creationId xmlns:a16="http://schemas.microsoft.com/office/drawing/2014/main" id="{3B7A7AD3-38E8-4B30-BA1B-7EDF248DDE9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2736514" y="5661372"/>
            <a:ext cx="3955975" cy="8220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34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37846"/>
            <a:r>
              <a:rPr lang="pt-BR"/>
              <a:t>Clique para editar os estilos de texto Mestre</a:t>
            </a:r>
          </a:p>
        </p:txBody>
      </p:sp>
      <p:sp>
        <p:nvSpPr>
          <p:cNvPr id="88" name="Espaço Reservado para Texto 2">
            <a:extLst>
              <a:ext uri="{FF2B5EF4-FFF2-40B4-BE49-F238E27FC236}">
                <a16:creationId xmlns:a16="http://schemas.microsoft.com/office/drawing/2014/main" id="{EAAE459B-64BE-472F-BBCB-B81692926D5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2736514" y="6777986"/>
            <a:ext cx="3955975" cy="5790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57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09659"/>
            <a:r>
              <a:rPr lang="pt-BR"/>
              <a:t>Clique para editar os estilos de texto Mestre</a:t>
            </a:r>
          </a:p>
        </p:txBody>
      </p:sp>
      <p:sp>
        <p:nvSpPr>
          <p:cNvPr id="89" name="Espaço Reservado para Texto 2">
            <a:extLst>
              <a:ext uri="{FF2B5EF4-FFF2-40B4-BE49-F238E27FC236}">
                <a16:creationId xmlns:a16="http://schemas.microsoft.com/office/drawing/2014/main" id="{F565C565-EAE1-4216-BAD6-AD984D4F8B1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452432" y="6737371"/>
            <a:ext cx="3955975" cy="5790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57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09659"/>
            <a:r>
              <a:rPr lang="pt-BR"/>
              <a:t>Clique para editar os estilos de texto Mestre</a:t>
            </a: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2C617125-8B7B-4A4F-B5E2-6C0E0402910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5510597"/>
              </p:ext>
            </p:extLst>
          </p:nvPr>
        </p:nvGraphicFramePr>
        <p:xfrm>
          <a:off x="1377496" y="3970248"/>
          <a:ext cx="5029770" cy="3959840"/>
        </p:xfrm>
        <a:graphic>
          <a:graphicData uri="http://schemas.openxmlformats.org/drawingml/2006/table">
            <a:tbl>
              <a:tblPr firstRow="1" bandRow="1"/>
              <a:tblGrid>
                <a:gridCol w="1005954">
                  <a:extLst>
                    <a:ext uri="{9D8B030D-6E8A-4147-A177-3AD203B41FA5}">
                      <a16:colId xmlns:a16="http://schemas.microsoft.com/office/drawing/2014/main" val="3535774680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220368540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83239892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439988134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335711226"/>
                    </a:ext>
                  </a:extLst>
                </a:gridCol>
              </a:tblGrid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095737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425353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672481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981036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06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131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898962" y="2080941"/>
            <a:ext cx="16158496" cy="7237164"/>
            <a:chOff x="636583" y="1415694"/>
            <a:chExt cx="10944285" cy="4923551"/>
          </a:xfrm>
        </p:grpSpPr>
        <p:sp>
          <p:nvSpPr>
            <p:cNvPr id="8" name="Arrow: Pentagon 41">
              <a:extLst>
                <a:ext uri="{FF2B5EF4-FFF2-40B4-BE49-F238E27FC236}">
                  <a16:creationId xmlns:a16="http://schemas.microsoft.com/office/drawing/2014/main" id="{E1B57547-62A5-48B9-AE4B-DD9ABEE3CF2D}"/>
                </a:ext>
              </a:extLst>
            </p:cNvPr>
            <p:cNvSpPr/>
            <p:nvPr/>
          </p:nvSpPr>
          <p:spPr>
            <a:xfrm>
              <a:off x="636583" y="1415694"/>
              <a:ext cx="7252173" cy="4923550"/>
            </a:xfrm>
            <a:prstGeom prst="homePlate">
              <a:avLst>
                <a:gd name="adj" fmla="val 33357"/>
              </a:avLst>
            </a:prstGeom>
            <a:gradFill>
              <a:gsLst>
                <a:gs pos="100000">
                  <a:schemeClr val="bg1">
                    <a:lumMod val="85000"/>
                    <a:alpha val="0"/>
                  </a:schemeClr>
                </a:gs>
                <a:gs pos="50000">
                  <a:schemeClr val="bg1">
                    <a:lumMod val="85000"/>
                    <a:alpha val="50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lin ang="10800000" scaled="0"/>
            </a:gradFill>
            <a:ln w="19050">
              <a:noFill/>
              <a:prstDash val="dot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9" name="Arrow: Pentagon 42">
              <a:extLst>
                <a:ext uri="{FF2B5EF4-FFF2-40B4-BE49-F238E27FC236}">
                  <a16:creationId xmlns:a16="http://schemas.microsoft.com/office/drawing/2014/main" id="{21C7AEED-BA51-4C67-B63B-FC4651969188}"/>
                </a:ext>
              </a:extLst>
            </p:cNvPr>
            <p:cNvSpPr/>
            <p:nvPr/>
          </p:nvSpPr>
          <p:spPr>
            <a:xfrm>
              <a:off x="636588" y="2415485"/>
              <a:ext cx="7252172" cy="2923969"/>
            </a:xfrm>
            <a:prstGeom prst="homePlate">
              <a:avLst>
                <a:gd name="adj" fmla="val 55929"/>
              </a:avLst>
            </a:prstGeom>
            <a:gradFill>
              <a:gsLst>
                <a:gs pos="100000">
                  <a:schemeClr val="bg1">
                    <a:lumMod val="65000"/>
                    <a:alpha val="0"/>
                  </a:schemeClr>
                </a:gs>
                <a:gs pos="50000">
                  <a:schemeClr val="bg1">
                    <a:lumMod val="65000"/>
                    <a:alpha val="5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10800000" scaled="0"/>
            </a:gradFill>
            <a:ln w="762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0" name="Arrow: Pentagon 43">
              <a:extLst>
                <a:ext uri="{FF2B5EF4-FFF2-40B4-BE49-F238E27FC236}">
                  <a16:creationId xmlns:a16="http://schemas.microsoft.com/office/drawing/2014/main" id="{5F916D27-85A1-4179-BE03-007629CE41FB}"/>
                </a:ext>
              </a:extLst>
            </p:cNvPr>
            <p:cNvSpPr/>
            <p:nvPr/>
          </p:nvSpPr>
          <p:spPr>
            <a:xfrm>
              <a:off x="636589" y="3385065"/>
              <a:ext cx="6674810" cy="984809"/>
            </a:xfrm>
            <a:prstGeom prst="homePlate">
              <a:avLst>
                <a:gd name="adj" fmla="val 107567"/>
              </a:avLst>
            </a:prstGeom>
            <a:gradFill>
              <a:gsLst>
                <a:gs pos="10000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  <a:alpha val="30000"/>
                  </a:schemeClr>
                </a:gs>
                <a:gs pos="0">
                  <a:schemeClr val="bg1">
                    <a:lumMod val="50000"/>
                    <a:alpha val="75000"/>
                  </a:schemeClr>
                </a:gs>
              </a:gsLst>
              <a:lin ang="10800000" scaled="0"/>
            </a:gradFill>
            <a:ln w="76200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34">
                <a:latin typeface="Trebuchet"/>
              </a:endParaRPr>
            </a:p>
          </p:txBody>
        </p:sp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3093B7C9-666A-44C0-AC21-A8BBDED28908}"/>
                </a:ext>
              </a:extLst>
            </p:cNvPr>
            <p:cNvSpPr/>
            <p:nvPr/>
          </p:nvSpPr>
          <p:spPr>
            <a:xfrm rot="5400000">
              <a:off x="4603754" y="3054243"/>
              <a:ext cx="4923551" cy="1646453"/>
            </a:xfrm>
            <a:prstGeom prst="trapezoid">
              <a:avLst>
                <a:gd name="adj" fmla="val 149404"/>
              </a:avLst>
            </a:prstGeom>
            <a:solidFill>
              <a:schemeClr val="tx1">
                <a:alpha val="38000"/>
              </a:schemeClr>
            </a:solidFill>
            <a:ln w="19050">
              <a:noFill/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2634">
                <a:latin typeface="Trebuchet"/>
              </a:endParaRPr>
            </a:p>
          </p:txBody>
        </p:sp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AF01824D-60ED-49F9-BEC8-22035A8E9E65}"/>
                </a:ext>
              </a:extLst>
            </p:cNvPr>
            <p:cNvSpPr/>
            <p:nvPr/>
          </p:nvSpPr>
          <p:spPr>
            <a:xfrm>
              <a:off x="6910409" y="2157672"/>
              <a:ext cx="4670459" cy="3439594"/>
            </a:xfrm>
            <a:prstGeom prst="roundRect">
              <a:avLst>
                <a:gd name="adj" fmla="val 9146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  <a:prstDash val="solid"/>
              <a:headEnd type="none" w="med" len="med"/>
              <a:tailEnd type="oval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bliqueTopRight"/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algn="ctr"/>
              <a:endParaRPr lang="pt-BR" sz="1757">
                <a:latin typeface="Trebuchet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415233" y="1467755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RISCOS E PROCESSOS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no que é relevante para a Companhia.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97907" y="2445398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TEMPESTIVIDADE E QUALIDADE NAS ENTREGAS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presentação Intermediária 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ntecipação da definição dos planos de ação</a:t>
              </a: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ntribuição na identificação da causa raiz  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082DD9F7-4820-4ECC-9C6A-0EE7CCB48C67}"/>
                </a:ext>
              </a:extLst>
            </p:cNvPr>
            <p:cNvSpPr txBox="1"/>
            <p:nvPr/>
          </p:nvSpPr>
          <p:spPr>
            <a:xfrm>
              <a:off x="2397907" y="5424242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NSIFICAÇÃO NA COMUNICAÇÃO E FEEDBACK</a:t>
              </a:r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Comunicação </a:t>
              </a:r>
              <a:r>
                <a:rPr lang="pt-BR" sz="1757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Teams</a:t>
              </a: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/</a:t>
              </a:r>
              <a:r>
                <a:rPr lang="pt-BR" sz="1757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Planner</a:t>
              </a:r>
              <a:endParaRPr lang="pt-BR" sz="1757">
                <a:solidFill>
                  <a:schemeClr val="tx2"/>
                </a:solidFill>
                <a:latin typeface="Trebuchet"/>
                <a:ea typeface="Lato Light" panose="020F0502020204030203" pitchFamily="34" charset="0"/>
                <a:cs typeface="Poppins Light" pitchFamily="2" charset="77"/>
              </a:endParaRPr>
            </a:p>
            <a:p>
              <a:pPr marL="418160" indent="-418160" defTabSz="133784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 Reunião Semanal/Checkpoint  (30 minutos) 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97907" y="343834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GREGAR VALOR PARA O PROCESSO </a:t>
              </a:r>
            </a:p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E PARA COMPANHI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97907" y="4431294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57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UNIÕES PERIÓDICAS (diárias e semanais</a:t>
              </a: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)</a:t>
              </a:r>
              <a:endParaRPr lang="pt-BR" sz="1757" b="1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250896" indent="-250896">
                <a:buFont typeface="Arial" panose="020B0604020202020204" pitchFamily="34" charset="0"/>
                <a:buChar char="•"/>
              </a:pPr>
              <a:r>
                <a:rPr lang="pt-BR" sz="1757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tarefas</a:t>
              </a:r>
            </a:p>
            <a:p>
              <a:endParaRPr lang="pt-BR" sz="1757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8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ts val="146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34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Uma nova perspectiva de atuação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4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3811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6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06"/>
              <a:t>Á</a:t>
            </a:r>
            <a:r>
              <a:rPr kumimoji="0" lang="pt-BR" sz="3806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06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2" y="1112624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00FCAC0D-88BC-456F-A60A-B17A4D5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270" y="8091280"/>
            <a:ext cx="1965362" cy="782671"/>
          </a:xfrm>
          <a:prstGeom prst="rect">
            <a:avLst/>
          </a:prstGeom>
        </p:spPr>
      </p:pic>
      <p:pic>
        <p:nvPicPr>
          <p:cNvPr id="23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C90A394-A971-4D39-86BE-9701AC1A30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t="20444" r="18519" b="19588"/>
          <a:stretch/>
        </p:blipFill>
        <p:spPr>
          <a:xfrm>
            <a:off x="12552314" y="3416214"/>
            <a:ext cx="2430876" cy="574015"/>
          </a:xfrm>
          <a:prstGeom prst="rect">
            <a:avLst/>
          </a:prstGeom>
        </p:spPr>
      </p:pic>
      <p:sp>
        <p:nvSpPr>
          <p:cNvPr id="27" name="TextBox 31">
            <a:extLst>
              <a:ext uri="{FF2B5EF4-FFF2-40B4-BE49-F238E27FC236}">
                <a16:creationId xmlns:a16="http://schemas.microsoft.com/office/drawing/2014/main" id="{15109616-6170-430F-852D-FEA70A09E75A}"/>
              </a:ext>
            </a:extLst>
          </p:cNvPr>
          <p:cNvSpPr txBox="1"/>
          <p:nvPr userDrawn="1"/>
        </p:nvSpPr>
        <p:spPr>
          <a:xfrm>
            <a:off x="10942550" y="3719104"/>
            <a:ext cx="5650404" cy="129718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Sistema para acompanhamento d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relatório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,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ponto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 e </a:t>
            </a:r>
            <a:r>
              <a:rPr lang="pt-BR" sz="1757" b="1">
                <a:solidFill>
                  <a:srgbClr val="007F3A"/>
                </a:solidFill>
                <a:latin typeface="Trebuchet"/>
              </a:rPr>
              <a:t>ações</a:t>
            </a:r>
            <a:r>
              <a:rPr lang="pt-BR" sz="1757">
                <a:solidFill>
                  <a:schemeClr val="tx2">
                    <a:lumMod val="75000"/>
                  </a:schemeClr>
                </a:solidFill>
                <a:latin typeface="Trebuchet"/>
              </a:rPr>
              <a:t>. </a:t>
            </a:r>
          </a:p>
          <a:p>
            <a:endParaRPr lang="pt-BR" sz="1757">
              <a:solidFill>
                <a:schemeClr val="tx2">
                  <a:lumMod val="75000"/>
                </a:schemeClr>
              </a:solidFill>
              <a:latin typeface="Trebuchet"/>
            </a:endParaRPr>
          </a:p>
        </p:txBody>
      </p: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782466" y="6666085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1471899" y="51739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756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68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640089" y="3900599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625534" y="2389132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756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68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68224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48640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42036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649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DC59237A-6A44-4B28-A101-21676DC08D71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798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52" b="0">
                <a:solidFill>
                  <a:schemeClr val="bg2"/>
                </a:solidFill>
              </a:defRPr>
            </a:lvl1pPr>
            <a:lvl2pPr>
              <a:defRPr sz="2058" b="0">
                <a:solidFill>
                  <a:schemeClr val="bg2"/>
                </a:solidFill>
              </a:defRPr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2480143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12074439-C529-473B-89CD-E2668D52239C}" type="datetime1">
              <a:rPr lang="pt-BR" smtClean="0"/>
              <a:t>27/11/2025</a:t>
            </a:fld>
            <a:endParaRPr lang="pt-BR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573439" y="1697635"/>
            <a:ext cx="5918151" cy="8531206"/>
          </a:xfrm>
          <a:prstGeom prst="rect">
            <a:avLst/>
          </a:prstGeom>
        </p:spPr>
      </p:pic>
      <p:sp>
        <p:nvSpPr>
          <p:cNvPr id="11" name="Retângulo 2">
            <a:extLst>
              <a:ext uri="{FF2B5EF4-FFF2-40B4-BE49-F238E27FC236}">
                <a16:creationId xmlns:a16="http://schemas.microsoft.com/office/drawing/2014/main" id="{9D892EAA-520F-4D0D-AD2C-D9A87C8E7DDC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700623C5-D646-4CD5-99A7-AA898FADFA29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1174623" cy="0"/>
          </a:xfrm>
          <a:prstGeom prst="line">
            <a:avLst/>
          </a:prstGeom>
          <a:noFill/>
          <a:ln w="104775" cap="flat" cmpd="sng" algn="ctr">
            <a:solidFill>
              <a:srgbClr val="FFC000"/>
            </a:solidFill>
            <a:prstDash val="solid"/>
          </a:ln>
          <a:effectLst/>
        </p:spPr>
      </p:cxn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2781785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AE0C3E-51EF-4837-B4C3-2442E1EE42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541" y="4653894"/>
            <a:ext cx="4625662" cy="81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333" dirty="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1333017"/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3850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3F640996-956E-4C86-89F0-1DDD66DFC40B}" type="datetime1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33EC37E-4FAD-4BFC-B079-A26A5F901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2109594" y="610786"/>
            <a:ext cx="6694279" cy="96500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5293"/>
            <a:ext cx="5038178" cy="1316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endParaRPr lang="pt-BR"/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5353E05-C154-46A0-A2AF-121730F1822B}"/>
              </a:ext>
            </a:extLst>
          </p:cNvPr>
          <p:cNvGrpSpPr/>
          <p:nvPr/>
        </p:nvGrpSpPr>
        <p:grpSpPr>
          <a:xfrm>
            <a:off x="16302718" y="1783515"/>
            <a:ext cx="1187534" cy="7066536"/>
            <a:chOff x="10998983" y="1104374"/>
            <a:chExt cx="804327" cy="4807470"/>
          </a:xfrm>
        </p:grpSpPr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CD63787D-4303-481D-941D-1F10F66BC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8983" y="1104374"/>
              <a:ext cx="383673" cy="4807470"/>
            </a:xfrm>
            <a:custGeom>
              <a:avLst/>
              <a:gdLst>
                <a:gd name="T0" fmla="*/ 732 w 733"/>
                <a:gd name="T1" fmla="*/ 9171 h 9172"/>
                <a:gd name="T2" fmla="*/ 732 w 733"/>
                <a:gd name="T3" fmla="*/ 9171 h 9172"/>
                <a:gd name="T4" fmla="*/ 732 w 733"/>
                <a:gd name="T5" fmla="*/ 8755 h 9172"/>
                <a:gd name="T6" fmla="*/ 0 w 733"/>
                <a:gd name="T7" fmla="*/ 8023 h 9172"/>
                <a:gd name="T8" fmla="*/ 732 w 733"/>
                <a:gd name="T9" fmla="*/ 7291 h 9172"/>
                <a:gd name="T10" fmla="*/ 732 w 733"/>
                <a:gd name="T11" fmla="*/ 6930 h 9172"/>
                <a:gd name="T12" fmla="*/ 0 w 733"/>
                <a:gd name="T13" fmla="*/ 6198 h 9172"/>
                <a:gd name="T14" fmla="*/ 732 w 733"/>
                <a:gd name="T15" fmla="*/ 5466 h 9172"/>
                <a:gd name="T16" fmla="*/ 732 w 733"/>
                <a:gd name="T17" fmla="*/ 5105 h 9172"/>
                <a:gd name="T18" fmla="*/ 0 w 733"/>
                <a:gd name="T19" fmla="*/ 4373 h 9172"/>
                <a:gd name="T20" fmla="*/ 732 w 733"/>
                <a:gd name="T21" fmla="*/ 3650 h 9172"/>
                <a:gd name="T22" fmla="*/ 732 w 733"/>
                <a:gd name="T23" fmla="*/ 3279 h 9172"/>
                <a:gd name="T24" fmla="*/ 0 w 733"/>
                <a:gd name="T25" fmla="*/ 2558 h 9172"/>
                <a:gd name="T26" fmla="*/ 732 w 733"/>
                <a:gd name="T27" fmla="*/ 1826 h 9172"/>
                <a:gd name="T28" fmla="*/ 732 w 733"/>
                <a:gd name="T29" fmla="*/ 1455 h 9172"/>
                <a:gd name="T30" fmla="*/ 0 w 733"/>
                <a:gd name="T31" fmla="*/ 733 h 9172"/>
                <a:gd name="T32" fmla="*/ 732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732" y="9171"/>
                  </a:moveTo>
                  <a:lnTo>
                    <a:pt x="732" y="9171"/>
                  </a:lnTo>
                  <a:cubicBezTo>
                    <a:pt x="732" y="8755"/>
                    <a:pt x="732" y="8755"/>
                    <a:pt x="732" y="8755"/>
                  </a:cubicBezTo>
                  <a:cubicBezTo>
                    <a:pt x="326" y="8755"/>
                    <a:pt x="0" y="8430"/>
                    <a:pt x="0" y="8023"/>
                  </a:cubicBezTo>
                  <a:cubicBezTo>
                    <a:pt x="0" y="7617"/>
                    <a:pt x="326" y="7291"/>
                    <a:pt x="732" y="7291"/>
                  </a:cubicBezTo>
                  <a:cubicBezTo>
                    <a:pt x="732" y="6930"/>
                    <a:pt x="732" y="6930"/>
                    <a:pt x="732" y="6930"/>
                  </a:cubicBezTo>
                  <a:cubicBezTo>
                    <a:pt x="326" y="6930"/>
                    <a:pt x="0" y="6605"/>
                    <a:pt x="0" y="6198"/>
                  </a:cubicBezTo>
                  <a:cubicBezTo>
                    <a:pt x="0" y="5801"/>
                    <a:pt x="326" y="5466"/>
                    <a:pt x="732" y="5466"/>
                  </a:cubicBezTo>
                  <a:cubicBezTo>
                    <a:pt x="732" y="5105"/>
                    <a:pt x="732" y="5105"/>
                    <a:pt x="732" y="5105"/>
                  </a:cubicBezTo>
                  <a:cubicBezTo>
                    <a:pt x="326" y="5105"/>
                    <a:pt x="0" y="4779"/>
                    <a:pt x="0" y="4373"/>
                  </a:cubicBezTo>
                  <a:cubicBezTo>
                    <a:pt x="0" y="3975"/>
                    <a:pt x="326" y="3650"/>
                    <a:pt x="732" y="3650"/>
                  </a:cubicBezTo>
                  <a:cubicBezTo>
                    <a:pt x="732" y="3279"/>
                    <a:pt x="732" y="3279"/>
                    <a:pt x="732" y="3279"/>
                  </a:cubicBezTo>
                  <a:cubicBezTo>
                    <a:pt x="326" y="3279"/>
                    <a:pt x="0" y="2955"/>
                    <a:pt x="0" y="2558"/>
                  </a:cubicBezTo>
                  <a:cubicBezTo>
                    <a:pt x="0" y="2151"/>
                    <a:pt x="326" y="1826"/>
                    <a:pt x="732" y="1826"/>
                  </a:cubicBezTo>
                  <a:cubicBezTo>
                    <a:pt x="732" y="1455"/>
                    <a:pt x="732" y="1455"/>
                    <a:pt x="732" y="1455"/>
                  </a:cubicBezTo>
                  <a:cubicBezTo>
                    <a:pt x="326" y="1455"/>
                    <a:pt x="0" y="1130"/>
                    <a:pt x="0" y="733"/>
                  </a:cubicBezTo>
                  <a:cubicBezTo>
                    <a:pt x="0" y="326"/>
                    <a:pt x="326" y="0"/>
                    <a:pt x="732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06AB10EE-0BE6-4C33-BFED-B58310547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637" y="1104374"/>
              <a:ext cx="383673" cy="4807470"/>
            </a:xfrm>
            <a:custGeom>
              <a:avLst/>
              <a:gdLst>
                <a:gd name="T0" fmla="*/ 0 w 733"/>
                <a:gd name="T1" fmla="*/ 9171 h 9172"/>
                <a:gd name="T2" fmla="*/ 0 w 733"/>
                <a:gd name="T3" fmla="*/ 9171 h 9172"/>
                <a:gd name="T4" fmla="*/ 0 w 733"/>
                <a:gd name="T5" fmla="*/ 8755 h 9172"/>
                <a:gd name="T6" fmla="*/ 732 w 733"/>
                <a:gd name="T7" fmla="*/ 8023 h 9172"/>
                <a:gd name="T8" fmla="*/ 0 w 733"/>
                <a:gd name="T9" fmla="*/ 7291 h 9172"/>
                <a:gd name="T10" fmla="*/ 0 w 733"/>
                <a:gd name="T11" fmla="*/ 6930 h 9172"/>
                <a:gd name="T12" fmla="*/ 732 w 733"/>
                <a:gd name="T13" fmla="*/ 6198 h 9172"/>
                <a:gd name="T14" fmla="*/ 0 w 733"/>
                <a:gd name="T15" fmla="*/ 5466 h 9172"/>
                <a:gd name="T16" fmla="*/ 0 w 733"/>
                <a:gd name="T17" fmla="*/ 5105 h 9172"/>
                <a:gd name="T18" fmla="*/ 732 w 733"/>
                <a:gd name="T19" fmla="*/ 4373 h 9172"/>
                <a:gd name="T20" fmla="*/ 0 w 733"/>
                <a:gd name="T21" fmla="*/ 3650 h 9172"/>
                <a:gd name="T22" fmla="*/ 0 w 733"/>
                <a:gd name="T23" fmla="*/ 3279 h 9172"/>
                <a:gd name="T24" fmla="*/ 732 w 733"/>
                <a:gd name="T25" fmla="*/ 2558 h 9172"/>
                <a:gd name="T26" fmla="*/ 0 w 733"/>
                <a:gd name="T27" fmla="*/ 1826 h 9172"/>
                <a:gd name="T28" fmla="*/ 0 w 733"/>
                <a:gd name="T29" fmla="*/ 1455 h 9172"/>
                <a:gd name="T30" fmla="*/ 732 w 733"/>
                <a:gd name="T31" fmla="*/ 733 h 9172"/>
                <a:gd name="T32" fmla="*/ 0 w 733"/>
                <a:gd name="T33" fmla="*/ 0 h 9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9172">
                  <a:moveTo>
                    <a:pt x="0" y="9171"/>
                  </a:moveTo>
                  <a:lnTo>
                    <a:pt x="0" y="9171"/>
                  </a:lnTo>
                  <a:cubicBezTo>
                    <a:pt x="0" y="8755"/>
                    <a:pt x="0" y="8755"/>
                    <a:pt x="0" y="8755"/>
                  </a:cubicBezTo>
                  <a:cubicBezTo>
                    <a:pt x="407" y="8755"/>
                    <a:pt x="732" y="8430"/>
                    <a:pt x="732" y="8023"/>
                  </a:cubicBezTo>
                  <a:cubicBezTo>
                    <a:pt x="732" y="7617"/>
                    <a:pt x="407" y="7291"/>
                    <a:pt x="0" y="7291"/>
                  </a:cubicBezTo>
                  <a:cubicBezTo>
                    <a:pt x="0" y="6930"/>
                    <a:pt x="0" y="6930"/>
                    <a:pt x="0" y="6930"/>
                  </a:cubicBezTo>
                  <a:cubicBezTo>
                    <a:pt x="407" y="6930"/>
                    <a:pt x="732" y="6605"/>
                    <a:pt x="732" y="6198"/>
                  </a:cubicBezTo>
                  <a:cubicBezTo>
                    <a:pt x="732" y="5801"/>
                    <a:pt x="407" y="5466"/>
                    <a:pt x="0" y="5466"/>
                  </a:cubicBezTo>
                  <a:cubicBezTo>
                    <a:pt x="0" y="5105"/>
                    <a:pt x="0" y="5105"/>
                    <a:pt x="0" y="5105"/>
                  </a:cubicBezTo>
                  <a:cubicBezTo>
                    <a:pt x="407" y="5105"/>
                    <a:pt x="732" y="4779"/>
                    <a:pt x="732" y="4373"/>
                  </a:cubicBezTo>
                  <a:cubicBezTo>
                    <a:pt x="732" y="3975"/>
                    <a:pt x="407" y="3650"/>
                    <a:pt x="0" y="3650"/>
                  </a:cubicBezTo>
                  <a:cubicBezTo>
                    <a:pt x="0" y="3279"/>
                    <a:pt x="0" y="3279"/>
                    <a:pt x="0" y="3279"/>
                  </a:cubicBezTo>
                  <a:cubicBezTo>
                    <a:pt x="407" y="3279"/>
                    <a:pt x="732" y="2955"/>
                    <a:pt x="732" y="2558"/>
                  </a:cubicBezTo>
                  <a:cubicBezTo>
                    <a:pt x="732" y="2151"/>
                    <a:pt x="407" y="1826"/>
                    <a:pt x="0" y="1826"/>
                  </a:cubicBezTo>
                  <a:cubicBezTo>
                    <a:pt x="0" y="1455"/>
                    <a:pt x="0" y="1455"/>
                    <a:pt x="0" y="1455"/>
                  </a:cubicBezTo>
                  <a:cubicBezTo>
                    <a:pt x="407" y="1455"/>
                    <a:pt x="732" y="1130"/>
                    <a:pt x="732" y="733"/>
                  </a:cubicBezTo>
                  <a:cubicBezTo>
                    <a:pt x="732" y="326"/>
                    <a:pt x="407" y="0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FFFFF">
                  <a:lumMod val="50000"/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89998"/>
                </a:solidFill>
                <a:effectLst/>
                <a:uLnTx/>
                <a:uFillTx/>
                <a:latin typeface="Trebuchet"/>
              </a:endParaRPr>
            </a:p>
          </p:txBody>
        </p:sp>
      </p:grp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76194414-AB9A-4BF7-A256-18B8047088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969917" y="191988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8">
            <a:extLst>
              <a:ext uri="{FF2B5EF4-FFF2-40B4-BE49-F238E27FC236}">
                <a16:creationId xmlns:a16="http://schemas.microsoft.com/office/drawing/2014/main" id="{3F7B9457-B664-4BDC-9249-A71F477B8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3406527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8">
            <a:extLst>
              <a:ext uri="{FF2B5EF4-FFF2-40B4-BE49-F238E27FC236}">
                <a16:creationId xmlns:a16="http://schemas.microsoft.com/office/drawing/2014/main" id="{CBD43A44-A1E1-4D87-B77E-77937CA659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9917" y="4669149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8">
            <a:extLst>
              <a:ext uri="{FF2B5EF4-FFF2-40B4-BE49-F238E27FC236}">
                <a16:creationId xmlns:a16="http://schemas.microsoft.com/office/drawing/2014/main" id="{BD78F083-126A-468F-8E71-B779A97D84D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969917" y="611506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8">
            <a:extLst>
              <a:ext uri="{FF2B5EF4-FFF2-40B4-BE49-F238E27FC236}">
                <a16:creationId xmlns:a16="http://schemas.microsoft.com/office/drawing/2014/main" id="{FB1709BB-3C07-4A12-83D5-C488EAF2AE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969917" y="7642432"/>
            <a:ext cx="2238363" cy="82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0" lang="pt-BR" sz="1764" b="0" i="0" u="none" strike="noStrike" kern="0" cap="none" spc="0" normalizeH="0" baseline="0" smtClean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pt-BR" sz="4116" smtClean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 lang="pt-BR" sz="3528" smtClean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 lang="pt-BR" sz="2940" smtClean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 lang="pt-BR" sz="2940"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marL="0" marR="0" lvl="0" indent="0" algn="r" defTabSz="1344077" fontAlgn="auto">
              <a:spcBef>
                <a:spcPts val="882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479728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1">
    <p:bg>
      <p:bgPr>
        <a:gradFill flip="none" rotWithShape="1">
          <a:gsLst>
            <a:gs pos="100000">
              <a:srgbClr val="D0D1D3"/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93A18BA9-5804-48EA-9C2D-538F5048433A}" type="datetime1">
              <a:rPr lang="pt-BR" smtClean="0"/>
              <a:t>27/11/2025</a:t>
            </a:fld>
            <a:endParaRPr lang="pt-BR"/>
          </a:p>
        </p:txBody>
      </p:sp>
      <p:sp>
        <p:nvSpPr>
          <p:cNvPr id="4" name="Retângulo 2">
            <a:extLst>
              <a:ext uri="{FF2B5EF4-FFF2-40B4-BE49-F238E27FC236}">
                <a16:creationId xmlns:a16="http://schemas.microsoft.com/office/drawing/2014/main" id="{FEC747CF-48BD-4295-AFAE-5D4413A6948D}"/>
              </a:ext>
            </a:extLst>
          </p:cNvPr>
          <p:cNvSpPr/>
          <p:nvPr userDrawn="1"/>
        </p:nvSpPr>
        <p:spPr>
          <a:xfrm>
            <a:off x="-52078" y="74662"/>
            <a:ext cx="11204564" cy="10080528"/>
          </a:xfrm>
          <a:custGeom>
            <a:avLst/>
            <a:gdLst>
              <a:gd name="connsiteX0" fmla="*/ 0 w 6858929"/>
              <a:gd name="connsiteY0" fmla="*/ 0 h 9381403"/>
              <a:gd name="connsiteX1" fmla="*/ 6858929 w 6858929"/>
              <a:gd name="connsiteY1" fmla="*/ 0 h 9381403"/>
              <a:gd name="connsiteX2" fmla="*/ 6858929 w 6858929"/>
              <a:gd name="connsiteY2" fmla="*/ 9381403 h 9381403"/>
              <a:gd name="connsiteX3" fmla="*/ 0 w 6858929"/>
              <a:gd name="connsiteY3" fmla="*/ 9381403 h 9381403"/>
              <a:gd name="connsiteX4" fmla="*/ 0 w 6858929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6858929 w 7615674"/>
              <a:gd name="connsiteY2" fmla="*/ 9381403 h 9381403"/>
              <a:gd name="connsiteX3" fmla="*/ 0 w 7615674"/>
              <a:gd name="connsiteY3" fmla="*/ 9381403 h 9381403"/>
              <a:gd name="connsiteX4" fmla="*/ 0 w 7615674"/>
              <a:gd name="connsiteY4" fmla="*/ 0 h 9381403"/>
              <a:gd name="connsiteX0" fmla="*/ 0 w 7615674"/>
              <a:gd name="connsiteY0" fmla="*/ 0 h 9381403"/>
              <a:gd name="connsiteX1" fmla="*/ 7615674 w 7615674"/>
              <a:gd name="connsiteY1" fmla="*/ 1813035 h 9381403"/>
              <a:gd name="connsiteX2" fmla="*/ 7599908 w 7615674"/>
              <a:gd name="connsiteY2" fmla="*/ 2212751 h 9381403"/>
              <a:gd name="connsiteX3" fmla="*/ 6858929 w 7615674"/>
              <a:gd name="connsiteY3" fmla="*/ 9381403 h 9381403"/>
              <a:gd name="connsiteX4" fmla="*/ 0 w 7615674"/>
              <a:gd name="connsiteY4" fmla="*/ 9381403 h 9381403"/>
              <a:gd name="connsiteX5" fmla="*/ 0 w 7615674"/>
              <a:gd name="connsiteY5" fmla="*/ 0 h 9381403"/>
              <a:gd name="connsiteX0" fmla="*/ 0 w 7915218"/>
              <a:gd name="connsiteY0" fmla="*/ 0 h 9381403"/>
              <a:gd name="connsiteX1" fmla="*/ 7615674 w 7915218"/>
              <a:gd name="connsiteY1" fmla="*/ 1813035 h 9381403"/>
              <a:gd name="connsiteX2" fmla="*/ 7915218 w 7915218"/>
              <a:gd name="connsiteY2" fmla="*/ 2196985 h 9381403"/>
              <a:gd name="connsiteX3" fmla="*/ 6858929 w 7915218"/>
              <a:gd name="connsiteY3" fmla="*/ 9381403 h 9381403"/>
              <a:gd name="connsiteX4" fmla="*/ 0 w 7915218"/>
              <a:gd name="connsiteY4" fmla="*/ 9381403 h 9381403"/>
              <a:gd name="connsiteX5" fmla="*/ 0 w 7915218"/>
              <a:gd name="connsiteY5" fmla="*/ 0 h 9381403"/>
              <a:gd name="connsiteX0" fmla="*/ 0 w 7915218"/>
              <a:gd name="connsiteY0" fmla="*/ 0 h 9386061"/>
              <a:gd name="connsiteX1" fmla="*/ 7615674 w 7915218"/>
              <a:gd name="connsiteY1" fmla="*/ 1813035 h 9386061"/>
              <a:gd name="connsiteX2" fmla="*/ 7915218 w 7915218"/>
              <a:gd name="connsiteY2" fmla="*/ 2196985 h 9386061"/>
              <a:gd name="connsiteX3" fmla="*/ 6858929 w 7915218"/>
              <a:gd name="connsiteY3" fmla="*/ 9381403 h 9386061"/>
              <a:gd name="connsiteX4" fmla="*/ 5298142 w 7915218"/>
              <a:gd name="connsiteY4" fmla="*/ 9386061 h 9386061"/>
              <a:gd name="connsiteX5" fmla="*/ 0 w 7915218"/>
              <a:gd name="connsiteY5" fmla="*/ 9381403 h 9386061"/>
              <a:gd name="connsiteX6" fmla="*/ 0 w 7915218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674184 w 10674184"/>
              <a:gd name="connsiteY3" fmla="*/ 7694493 h 9386061"/>
              <a:gd name="connsiteX4" fmla="*/ 5298142 w 10674184"/>
              <a:gd name="connsiteY4" fmla="*/ 9386061 h 9386061"/>
              <a:gd name="connsiteX5" fmla="*/ 0 w 10674184"/>
              <a:gd name="connsiteY5" fmla="*/ 9381403 h 9386061"/>
              <a:gd name="connsiteX6" fmla="*/ 0 w 10674184"/>
              <a:gd name="connsiteY6" fmla="*/ 0 h 9386061"/>
              <a:gd name="connsiteX0" fmla="*/ 0 w 10674184"/>
              <a:gd name="connsiteY0" fmla="*/ 0 h 9386061"/>
              <a:gd name="connsiteX1" fmla="*/ 7615674 w 10674184"/>
              <a:gd name="connsiteY1" fmla="*/ 1813035 h 9386061"/>
              <a:gd name="connsiteX2" fmla="*/ 7915218 w 10674184"/>
              <a:gd name="connsiteY2" fmla="*/ 2196985 h 9386061"/>
              <a:gd name="connsiteX3" fmla="*/ 10327342 w 10674184"/>
              <a:gd name="connsiteY3" fmla="*/ 7100061 h 9386061"/>
              <a:gd name="connsiteX4" fmla="*/ 10674184 w 10674184"/>
              <a:gd name="connsiteY4" fmla="*/ 7694493 h 9386061"/>
              <a:gd name="connsiteX5" fmla="*/ 5298142 w 10674184"/>
              <a:gd name="connsiteY5" fmla="*/ 9386061 h 9386061"/>
              <a:gd name="connsiteX6" fmla="*/ 0 w 10674184"/>
              <a:gd name="connsiteY6" fmla="*/ 9381403 h 9386061"/>
              <a:gd name="connsiteX7" fmla="*/ 0 w 10674184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89703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1147149"/>
              <a:gd name="connsiteY0" fmla="*/ 0 h 9386061"/>
              <a:gd name="connsiteX1" fmla="*/ 7615674 w 11147149"/>
              <a:gd name="connsiteY1" fmla="*/ 1813035 h 9386061"/>
              <a:gd name="connsiteX2" fmla="*/ 7915218 w 11147149"/>
              <a:gd name="connsiteY2" fmla="*/ 2196985 h 9386061"/>
              <a:gd name="connsiteX3" fmla="*/ 11147149 w 11147149"/>
              <a:gd name="connsiteY3" fmla="*/ 6390614 h 9386061"/>
              <a:gd name="connsiteX4" fmla="*/ 10674184 w 11147149"/>
              <a:gd name="connsiteY4" fmla="*/ 7694493 h 9386061"/>
              <a:gd name="connsiteX5" fmla="*/ 5298142 w 11147149"/>
              <a:gd name="connsiteY5" fmla="*/ 9386061 h 9386061"/>
              <a:gd name="connsiteX6" fmla="*/ 0 w 11147149"/>
              <a:gd name="connsiteY6" fmla="*/ 9381403 h 9386061"/>
              <a:gd name="connsiteX7" fmla="*/ 0 w 11147149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74184 w 10894901"/>
              <a:gd name="connsiteY4" fmla="*/ 7694493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626887 w 10894901"/>
              <a:gd name="connsiteY4" fmla="*/ 7489541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15218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13035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78280 w 10894901"/>
              <a:gd name="connsiteY2" fmla="*/ 2196985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894901"/>
              <a:gd name="connsiteY0" fmla="*/ 0 h 9386061"/>
              <a:gd name="connsiteX1" fmla="*/ 7615674 w 10894901"/>
              <a:gd name="connsiteY1" fmla="*/ 1835446 h 9386061"/>
              <a:gd name="connsiteX2" fmla="*/ 7924492 w 10894901"/>
              <a:gd name="connsiteY2" fmla="*/ 2102856 h 9386061"/>
              <a:gd name="connsiteX3" fmla="*/ 10894901 w 10894901"/>
              <a:gd name="connsiteY3" fmla="*/ 6973938 h 9386061"/>
              <a:gd name="connsiteX4" fmla="*/ 10753012 w 10894901"/>
              <a:gd name="connsiteY4" fmla="*/ 7647197 h 9386061"/>
              <a:gd name="connsiteX5" fmla="*/ 5298142 w 10894901"/>
              <a:gd name="connsiteY5" fmla="*/ 9386061 h 9386061"/>
              <a:gd name="connsiteX6" fmla="*/ 0 w 10894901"/>
              <a:gd name="connsiteY6" fmla="*/ 9381403 h 9386061"/>
              <a:gd name="connsiteX7" fmla="*/ 0 w 10894901"/>
              <a:gd name="connsiteY7" fmla="*/ 0 h 9386061"/>
              <a:gd name="connsiteX0" fmla="*/ 0 w 10960882"/>
              <a:gd name="connsiteY0" fmla="*/ 0 h 9386061"/>
              <a:gd name="connsiteX1" fmla="*/ 7615674 w 10960882"/>
              <a:gd name="connsiteY1" fmla="*/ 1835446 h 9386061"/>
              <a:gd name="connsiteX2" fmla="*/ 7924492 w 10960882"/>
              <a:gd name="connsiteY2" fmla="*/ 2102856 h 9386061"/>
              <a:gd name="connsiteX3" fmla="*/ 10894901 w 10960882"/>
              <a:gd name="connsiteY3" fmla="*/ 6973938 h 9386061"/>
              <a:gd name="connsiteX4" fmla="*/ 10753012 w 10960882"/>
              <a:gd name="connsiteY4" fmla="*/ 7647197 h 9386061"/>
              <a:gd name="connsiteX5" fmla="*/ 5298142 w 10960882"/>
              <a:gd name="connsiteY5" fmla="*/ 9386061 h 9386061"/>
              <a:gd name="connsiteX6" fmla="*/ 0 w 10960882"/>
              <a:gd name="connsiteY6" fmla="*/ 9381403 h 9386061"/>
              <a:gd name="connsiteX7" fmla="*/ 0 w 10960882"/>
              <a:gd name="connsiteY7" fmla="*/ 0 h 9386061"/>
              <a:gd name="connsiteX0" fmla="*/ 0 w 10986635"/>
              <a:gd name="connsiteY0" fmla="*/ 0 h 9386061"/>
              <a:gd name="connsiteX1" fmla="*/ 7615674 w 10986635"/>
              <a:gd name="connsiteY1" fmla="*/ 1835446 h 9386061"/>
              <a:gd name="connsiteX2" fmla="*/ 7924492 w 10986635"/>
              <a:gd name="connsiteY2" fmla="*/ 2102856 h 9386061"/>
              <a:gd name="connsiteX3" fmla="*/ 10894901 w 10986635"/>
              <a:gd name="connsiteY3" fmla="*/ 6973938 h 9386061"/>
              <a:gd name="connsiteX4" fmla="*/ 10753012 w 10986635"/>
              <a:gd name="connsiteY4" fmla="*/ 7647197 h 9386061"/>
              <a:gd name="connsiteX5" fmla="*/ 5298142 w 10986635"/>
              <a:gd name="connsiteY5" fmla="*/ 9386061 h 9386061"/>
              <a:gd name="connsiteX6" fmla="*/ 0 w 10986635"/>
              <a:gd name="connsiteY6" fmla="*/ 9381403 h 9386061"/>
              <a:gd name="connsiteX7" fmla="*/ 0 w 10986635"/>
              <a:gd name="connsiteY7" fmla="*/ 0 h 9386061"/>
              <a:gd name="connsiteX0" fmla="*/ 0 w 10993919"/>
              <a:gd name="connsiteY0" fmla="*/ 0 h 9386061"/>
              <a:gd name="connsiteX1" fmla="*/ 7615674 w 10993919"/>
              <a:gd name="connsiteY1" fmla="*/ 1835446 h 9386061"/>
              <a:gd name="connsiteX2" fmla="*/ 7924492 w 10993919"/>
              <a:gd name="connsiteY2" fmla="*/ 2102856 h 9386061"/>
              <a:gd name="connsiteX3" fmla="*/ 10894901 w 10993919"/>
              <a:gd name="connsiteY3" fmla="*/ 6973938 h 9386061"/>
              <a:gd name="connsiteX4" fmla="*/ 10753012 w 10993919"/>
              <a:gd name="connsiteY4" fmla="*/ 7647197 h 9386061"/>
              <a:gd name="connsiteX5" fmla="*/ 5298142 w 10993919"/>
              <a:gd name="connsiteY5" fmla="*/ 9386061 h 9386061"/>
              <a:gd name="connsiteX6" fmla="*/ 0 w 10993919"/>
              <a:gd name="connsiteY6" fmla="*/ 9381403 h 9386061"/>
              <a:gd name="connsiteX7" fmla="*/ 0 w 10993919"/>
              <a:gd name="connsiteY7" fmla="*/ 0 h 9386061"/>
              <a:gd name="connsiteX0" fmla="*/ 0 w 10990159"/>
              <a:gd name="connsiteY0" fmla="*/ 0 h 9386061"/>
              <a:gd name="connsiteX1" fmla="*/ 7615674 w 10990159"/>
              <a:gd name="connsiteY1" fmla="*/ 1835446 h 9386061"/>
              <a:gd name="connsiteX2" fmla="*/ 7924492 w 10990159"/>
              <a:gd name="connsiteY2" fmla="*/ 2102856 h 9386061"/>
              <a:gd name="connsiteX3" fmla="*/ 10885937 w 10990159"/>
              <a:gd name="connsiteY3" fmla="*/ 6933597 h 9386061"/>
              <a:gd name="connsiteX4" fmla="*/ 10753012 w 10990159"/>
              <a:gd name="connsiteY4" fmla="*/ 7647197 h 9386061"/>
              <a:gd name="connsiteX5" fmla="*/ 5298142 w 10990159"/>
              <a:gd name="connsiteY5" fmla="*/ 9386061 h 9386061"/>
              <a:gd name="connsiteX6" fmla="*/ 0 w 10990159"/>
              <a:gd name="connsiteY6" fmla="*/ 9381403 h 9386061"/>
              <a:gd name="connsiteX7" fmla="*/ 0 w 10990159"/>
              <a:gd name="connsiteY7" fmla="*/ 0 h 9386061"/>
              <a:gd name="connsiteX0" fmla="*/ 0 w 11023490"/>
              <a:gd name="connsiteY0" fmla="*/ 0 h 9386061"/>
              <a:gd name="connsiteX1" fmla="*/ 7615674 w 11023490"/>
              <a:gd name="connsiteY1" fmla="*/ 1835446 h 9386061"/>
              <a:gd name="connsiteX2" fmla="*/ 7924492 w 11023490"/>
              <a:gd name="connsiteY2" fmla="*/ 2102856 h 9386061"/>
              <a:gd name="connsiteX3" fmla="*/ 10885937 w 11023490"/>
              <a:gd name="connsiteY3" fmla="*/ 6933597 h 9386061"/>
              <a:gd name="connsiteX4" fmla="*/ 10806801 w 11023490"/>
              <a:gd name="connsiteY4" fmla="*/ 7678573 h 9386061"/>
              <a:gd name="connsiteX5" fmla="*/ 5298142 w 11023490"/>
              <a:gd name="connsiteY5" fmla="*/ 9386061 h 9386061"/>
              <a:gd name="connsiteX6" fmla="*/ 0 w 11023490"/>
              <a:gd name="connsiteY6" fmla="*/ 9381403 h 9386061"/>
              <a:gd name="connsiteX7" fmla="*/ 0 w 11023490"/>
              <a:gd name="connsiteY7" fmla="*/ 0 h 9386061"/>
              <a:gd name="connsiteX0" fmla="*/ 0 w 10987543"/>
              <a:gd name="connsiteY0" fmla="*/ 0 h 9386061"/>
              <a:gd name="connsiteX1" fmla="*/ 7615674 w 10987543"/>
              <a:gd name="connsiteY1" fmla="*/ 1835446 h 9386061"/>
              <a:gd name="connsiteX2" fmla="*/ 7924492 w 10987543"/>
              <a:gd name="connsiteY2" fmla="*/ 2102856 h 9386061"/>
              <a:gd name="connsiteX3" fmla="*/ 10885937 w 10987543"/>
              <a:gd name="connsiteY3" fmla="*/ 6933597 h 9386061"/>
              <a:gd name="connsiteX4" fmla="*/ 10748530 w 10987543"/>
              <a:gd name="connsiteY4" fmla="*/ 7647197 h 9386061"/>
              <a:gd name="connsiteX5" fmla="*/ 5298142 w 10987543"/>
              <a:gd name="connsiteY5" fmla="*/ 9386061 h 9386061"/>
              <a:gd name="connsiteX6" fmla="*/ 0 w 10987543"/>
              <a:gd name="connsiteY6" fmla="*/ 9381403 h 9386061"/>
              <a:gd name="connsiteX7" fmla="*/ 0 w 10987543"/>
              <a:gd name="connsiteY7" fmla="*/ 0 h 9386061"/>
              <a:gd name="connsiteX0" fmla="*/ 0 w 11012433"/>
              <a:gd name="connsiteY0" fmla="*/ 0 h 9386061"/>
              <a:gd name="connsiteX1" fmla="*/ 7615674 w 11012433"/>
              <a:gd name="connsiteY1" fmla="*/ 1835446 h 9386061"/>
              <a:gd name="connsiteX2" fmla="*/ 7924492 w 11012433"/>
              <a:gd name="connsiteY2" fmla="*/ 2102856 h 9386061"/>
              <a:gd name="connsiteX3" fmla="*/ 10885937 w 11012433"/>
              <a:gd name="connsiteY3" fmla="*/ 6933597 h 9386061"/>
              <a:gd name="connsiteX4" fmla="*/ 10748530 w 11012433"/>
              <a:gd name="connsiteY4" fmla="*/ 7647197 h 9386061"/>
              <a:gd name="connsiteX5" fmla="*/ 5298142 w 11012433"/>
              <a:gd name="connsiteY5" fmla="*/ 9386061 h 9386061"/>
              <a:gd name="connsiteX6" fmla="*/ 0 w 11012433"/>
              <a:gd name="connsiteY6" fmla="*/ 9381403 h 9386061"/>
              <a:gd name="connsiteX7" fmla="*/ 0 w 11012433"/>
              <a:gd name="connsiteY7" fmla="*/ 0 h 9386061"/>
              <a:gd name="connsiteX0" fmla="*/ 0 w 10996668"/>
              <a:gd name="connsiteY0" fmla="*/ 0 h 9386061"/>
              <a:gd name="connsiteX1" fmla="*/ 7615674 w 10996668"/>
              <a:gd name="connsiteY1" fmla="*/ 1835446 h 9386061"/>
              <a:gd name="connsiteX2" fmla="*/ 7924492 w 10996668"/>
              <a:gd name="connsiteY2" fmla="*/ 2102856 h 9386061"/>
              <a:gd name="connsiteX3" fmla="*/ 10885937 w 10996668"/>
              <a:gd name="connsiteY3" fmla="*/ 6933597 h 9386061"/>
              <a:gd name="connsiteX4" fmla="*/ 10717153 w 10996668"/>
              <a:gd name="connsiteY4" fmla="*/ 7656162 h 9386061"/>
              <a:gd name="connsiteX5" fmla="*/ 5298142 w 10996668"/>
              <a:gd name="connsiteY5" fmla="*/ 9386061 h 9386061"/>
              <a:gd name="connsiteX6" fmla="*/ 0 w 10996668"/>
              <a:gd name="connsiteY6" fmla="*/ 9381403 h 9386061"/>
              <a:gd name="connsiteX7" fmla="*/ 0 w 10996668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24492 w 10994946"/>
              <a:gd name="connsiteY2" fmla="*/ 2102856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8000692 w 10994946"/>
              <a:gd name="connsiteY2" fmla="*/ 2075962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  <a:gd name="connsiteX0" fmla="*/ 0 w 10994946"/>
              <a:gd name="connsiteY0" fmla="*/ 0 h 9386061"/>
              <a:gd name="connsiteX1" fmla="*/ 7615674 w 10994946"/>
              <a:gd name="connsiteY1" fmla="*/ 1835446 h 9386061"/>
              <a:gd name="connsiteX2" fmla="*/ 7933457 w 10994946"/>
              <a:gd name="connsiteY2" fmla="*/ 2089410 h 9386061"/>
              <a:gd name="connsiteX3" fmla="*/ 10885937 w 10994946"/>
              <a:gd name="connsiteY3" fmla="*/ 6933597 h 9386061"/>
              <a:gd name="connsiteX4" fmla="*/ 10717153 w 10994946"/>
              <a:gd name="connsiteY4" fmla="*/ 7656162 h 9386061"/>
              <a:gd name="connsiteX5" fmla="*/ 5298142 w 10994946"/>
              <a:gd name="connsiteY5" fmla="*/ 9386061 h 9386061"/>
              <a:gd name="connsiteX6" fmla="*/ 0 w 10994946"/>
              <a:gd name="connsiteY6" fmla="*/ 9381403 h 9386061"/>
              <a:gd name="connsiteX7" fmla="*/ 0 w 10994946"/>
              <a:gd name="connsiteY7" fmla="*/ 0 h 938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94946" h="9386061">
                <a:moveTo>
                  <a:pt x="0" y="0"/>
                </a:moveTo>
                <a:lnTo>
                  <a:pt x="7615674" y="1835446"/>
                </a:lnTo>
                <a:cubicBezTo>
                  <a:pt x="7767919" y="1884242"/>
                  <a:pt x="7843963" y="1946485"/>
                  <a:pt x="7933457" y="2089410"/>
                </a:cubicBezTo>
                <a:lnTo>
                  <a:pt x="10885937" y="6933597"/>
                </a:lnTo>
                <a:cubicBezTo>
                  <a:pt x="10986559" y="7059405"/>
                  <a:pt x="11132003" y="7476566"/>
                  <a:pt x="10717153" y="7656162"/>
                </a:cubicBezTo>
                <a:lnTo>
                  <a:pt x="5298142" y="9386061"/>
                </a:lnTo>
                <a:lnTo>
                  <a:pt x="0" y="938140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35458F"/>
              </a:gs>
              <a:gs pos="0">
                <a:srgbClr val="008542">
                  <a:lumMod val="85000"/>
                </a:srgbClr>
              </a:gs>
            </a:gsLst>
            <a:lin ang="10800000" scaled="0"/>
          </a:gra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73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6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4542" y="3535260"/>
            <a:ext cx="5038178" cy="70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spc="-219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RESULTADO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defTabSz="673786"/>
            <a:endParaRPr lang="pt-BR"/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C4BDED4-A518-496E-A277-7F187553C978}"/>
              </a:ext>
            </a:extLst>
          </p:cNvPr>
          <p:cNvCxnSpPr>
            <a:cxnSpLocks/>
          </p:cNvCxnSpPr>
          <p:nvPr userDrawn="1"/>
        </p:nvCxnSpPr>
        <p:spPr>
          <a:xfrm>
            <a:off x="924542" y="4351185"/>
            <a:ext cx="956728" cy="0"/>
          </a:xfrm>
          <a:prstGeom prst="line">
            <a:avLst/>
          </a:prstGeom>
          <a:noFill/>
          <a:ln w="66675" cap="flat" cmpd="sng" algn="ctr">
            <a:solidFill>
              <a:srgbClr val="FFC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399037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ados2">
    <p:bg>
      <p:bgPr>
        <a:gradFill flip="none" rotWithShape="1">
          <a:gsLst>
            <a:gs pos="100000">
              <a:schemeClr val="tx1"/>
            </a:gs>
            <a:gs pos="0">
              <a:schemeClr val="tx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80FA5861-5D19-473C-9CE2-6BB9A52B94BB}" type="datetime1">
              <a:rPr lang="pt-BR" smtClean="0"/>
              <a:t>27/11/2025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8F98EB-347E-4FFA-B070-AE56C5550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691" y="283066"/>
            <a:ext cx="5038178" cy="70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4421" b="1" spc="-219" dirty="0">
                <a:solidFill>
                  <a:srgbClr val="007F3A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</a:lstStyle>
          <a:p>
            <a:pPr marL="0" lvl="0" defTabSz="1333017"/>
            <a:r>
              <a:rPr lang="pt-BR"/>
              <a:t>RESULTADOS</a:t>
            </a:r>
            <a:endParaRPr lang="en-US"/>
          </a:p>
        </p:txBody>
      </p:sp>
      <p:grpSp>
        <p:nvGrpSpPr>
          <p:cNvPr id="11" name="Grupo 23">
            <a:extLst>
              <a:ext uri="{FF2B5EF4-FFF2-40B4-BE49-F238E27FC236}">
                <a16:creationId xmlns:a16="http://schemas.microsoft.com/office/drawing/2014/main" id="{8CA0063C-610F-4AF5-9608-069818C5A7F5}"/>
              </a:ext>
            </a:extLst>
          </p:cNvPr>
          <p:cNvGrpSpPr/>
          <p:nvPr userDrawn="1"/>
        </p:nvGrpSpPr>
        <p:grpSpPr>
          <a:xfrm>
            <a:off x="11679976" y="1384813"/>
            <a:ext cx="6348829" cy="9123301"/>
            <a:chOff x="5940359" y="1601559"/>
            <a:chExt cx="2537586" cy="3543537"/>
          </a:xfrm>
        </p:grpSpPr>
        <p:sp>
          <p:nvSpPr>
            <p:cNvPr id="12" name="Retângulo 20">
              <a:extLst>
                <a:ext uri="{FF2B5EF4-FFF2-40B4-BE49-F238E27FC236}">
                  <a16:creationId xmlns:a16="http://schemas.microsoft.com/office/drawing/2014/main" id="{26B6BAC7-7500-4C76-8E0F-FD3D7756E2FD}"/>
                </a:ext>
              </a:extLst>
            </p:cNvPr>
            <p:cNvSpPr/>
            <p:nvPr/>
          </p:nvSpPr>
          <p:spPr>
            <a:xfrm>
              <a:off x="6622670" y="1601559"/>
              <a:ext cx="1854112" cy="2972289"/>
            </a:xfrm>
            <a:custGeom>
              <a:avLst/>
              <a:gdLst>
                <a:gd name="connsiteX0" fmla="*/ 0 w 2101774"/>
                <a:gd name="connsiteY0" fmla="*/ 0 h 3063000"/>
                <a:gd name="connsiteX1" fmla="*/ 2101774 w 2101774"/>
                <a:gd name="connsiteY1" fmla="*/ 0 h 3063000"/>
                <a:gd name="connsiteX2" fmla="*/ 2101774 w 2101774"/>
                <a:gd name="connsiteY2" fmla="*/ 3063000 h 3063000"/>
                <a:gd name="connsiteX3" fmla="*/ 0 w 2101774"/>
                <a:gd name="connsiteY3" fmla="*/ 3063000 h 3063000"/>
                <a:gd name="connsiteX4" fmla="*/ 0 w 2101774"/>
                <a:gd name="connsiteY4" fmla="*/ 0 h 3063000"/>
                <a:gd name="connsiteX0" fmla="*/ 0 w 2101774"/>
                <a:gd name="connsiteY0" fmla="*/ 9780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0 w 2101774"/>
                <a:gd name="connsiteY4" fmla="*/ 9780 h 3072780"/>
                <a:gd name="connsiteX0" fmla="*/ 9780 w 2101774"/>
                <a:gd name="connsiteY0" fmla="*/ 557442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9780 w 2101774"/>
                <a:gd name="connsiteY4" fmla="*/ 557442 h 3072780"/>
                <a:gd name="connsiteX0" fmla="*/ 625900 w 2101774"/>
                <a:gd name="connsiteY0" fmla="*/ 298281 h 3072780"/>
                <a:gd name="connsiteX1" fmla="*/ 2101774 w 2101774"/>
                <a:gd name="connsiteY1" fmla="*/ 0 h 3072780"/>
                <a:gd name="connsiteX2" fmla="*/ 2101774 w 2101774"/>
                <a:gd name="connsiteY2" fmla="*/ 3072780 h 3072780"/>
                <a:gd name="connsiteX3" fmla="*/ 0 w 2101774"/>
                <a:gd name="connsiteY3" fmla="*/ 3072780 h 3072780"/>
                <a:gd name="connsiteX4" fmla="*/ 625900 w 2101774"/>
                <a:gd name="connsiteY4" fmla="*/ 298281 h 3072780"/>
                <a:gd name="connsiteX0" fmla="*/ 151585 w 1627459"/>
                <a:gd name="connsiteY0" fmla="*/ 298281 h 3072780"/>
                <a:gd name="connsiteX1" fmla="*/ 1627459 w 1627459"/>
                <a:gd name="connsiteY1" fmla="*/ 0 h 3072780"/>
                <a:gd name="connsiteX2" fmla="*/ 1627459 w 1627459"/>
                <a:gd name="connsiteY2" fmla="*/ 3072780 h 3072780"/>
                <a:gd name="connsiteX3" fmla="*/ 0 w 1627459"/>
                <a:gd name="connsiteY3" fmla="*/ 2662033 h 3072780"/>
                <a:gd name="connsiteX4" fmla="*/ 151585 w 1627459"/>
                <a:gd name="connsiteY4" fmla="*/ 298281 h 3072780"/>
                <a:gd name="connsiteX0" fmla="*/ 464535 w 1940409"/>
                <a:gd name="connsiteY0" fmla="*/ 29828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464535 w 1940409"/>
                <a:gd name="connsiteY4" fmla="*/ 298281 h 3072780"/>
                <a:gd name="connsiteX0" fmla="*/ 625899 w 1940409"/>
                <a:gd name="connsiteY0" fmla="*/ 410747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625899 w 1940409"/>
                <a:gd name="connsiteY4" fmla="*/ 410747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547662 w 1940409"/>
                <a:gd name="connsiteY4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0 w 1940409"/>
                <a:gd name="connsiteY3" fmla="*/ 2745160 h 3072780"/>
                <a:gd name="connsiteX4" fmla="*/ 30646 w 1940409"/>
                <a:gd name="connsiteY4" fmla="*/ 2583355 h 3072780"/>
                <a:gd name="connsiteX5" fmla="*/ 547662 w 1940409"/>
                <a:gd name="connsiteY5" fmla="*/ 283611 h 3072780"/>
                <a:gd name="connsiteX0" fmla="*/ 547662 w 1940409"/>
                <a:gd name="connsiteY0" fmla="*/ 283611 h 3072780"/>
                <a:gd name="connsiteX1" fmla="*/ 1940409 w 1940409"/>
                <a:gd name="connsiteY1" fmla="*/ 0 h 3072780"/>
                <a:gd name="connsiteX2" fmla="*/ 1940409 w 1940409"/>
                <a:gd name="connsiteY2" fmla="*/ 3072780 h 3072780"/>
                <a:gd name="connsiteX3" fmla="*/ 141771 w 1940409"/>
                <a:gd name="connsiteY3" fmla="*/ 2770680 h 3072780"/>
                <a:gd name="connsiteX4" fmla="*/ 0 w 1940409"/>
                <a:gd name="connsiteY4" fmla="*/ 2745160 h 3072780"/>
                <a:gd name="connsiteX5" fmla="*/ 30646 w 1940409"/>
                <a:gd name="connsiteY5" fmla="*/ 2583355 h 3072780"/>
                <a:gd name="connsiteX6" fmla="*/ 547662 w 1940409"/>
                <a:gd name="connsiteY6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17016 w 1909763"/>
                <a:gd name="connsiteY0" fmla="*/ 283611 h 3072780"/>
                <a:gd name="connsiteX1" fmla="*/ 1909763 w 1909763"/>
                <a:gd name="connsiteY1" fmla="*/ 0 h 3072780"/>
                <a:gd name="connsiteX2" fmla="*/ 1909763 w 1909763"/>
                <a:gd name="connsiteY2" fmla="*/ 3072780 h 3072780"/>
                <a:gd name="connsiteX3" fmla="*/ 111125 w 1909763"/>
                <a:gd name="connsiteY3" fmla="*/ 2770680 h 3072780"/>
                <a:gd name="connsiteX4" fmla="*/ 0 w 1909763"/>
                <a:gd name="connsiteY4" fmla="*/ 2583355 h 3072780"/>
                <a:gd name="connsiteX5" fmla="*/ 517016 w 1909763"/>
                <a:gd name="connsiteY5" fmla="*/ 283611 h 3072780"/>
                <a:gd name="connsiteX0" fmla="*/ 523755 w 1916502"/>
                <a:gd name="connsiteY0" fmla="*/ 283611 h 3072780"/>
                <a:gd name="connsiteX1" fmla="*/ 1916502 w 1916502"/>
                <a:gd name="connsiteY1" fmla="*/ 0 h 3072780"/>
                <a:gd name="connsiteX2" fmla="*/ 1916502 w 1916502"/>
                <a:gd name="connsiteY2" fmla="*/ 3072780 h 3072780"/>
                <a:gd name="connsiteX3" fmla="*/ 117864 w 1916502"/>
                <a:gd name="connsiteY3" fmla="*/ 2770680 h 3072780"/>
                <a:gd name="connsiteX4" fmla="*/ 6739 w 1916502"/>
                <a:gd name="connsiteY4" fmla="*/ 2583355 h 3072780"/>
                <a:gd name="connsiteX5" fmla="*/ 523755 w 1916502"/>
                <a:gd name="connsiteY5" fmla="*/ 283611 h 3072780"/>
                <a:gd name="connsiteX0" fmla="*/ 524051 w 1916798"/>
                <a:gd name="connsiteY0" fmla="*/ 283611 h 3072780"/>
                <a:gd name="connsiteX1" fmla="*/ 1916798 w 1916798"/>
                <a:gd name="connsiteY1" fmla="*/ 0 h 3072780"/>
                <a:gd name="connsiteX2" fmla="*/ 1916798 w 1916798"/>
                <a:gd name="connsiteY2" fmla="*/ 3072780 h 3072780"/>
                <a:gd name="connsiteX3" fmla="*/ 118160 w 1916798"/>
                <a:gd name="connsiteY3" fmla="*/ 2770680 h 3072780"/>
                <a:gd name="connsiteX4" fmla="*/ 7035 w 1916798"/>
                <a:gd name="connsiteY4" fmla="*/ 2583355 h 3072780"/>
                <a:gd name="connsiteX5" fmla="*/ 524051 w 1916798"/>
                <a:gd name="connsiteY5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524051 w 1916798"/>
                <a:gd name="connsiteY6" fmla="*/ 283611 h 3072780"/>
                <a:gd name="connsiteX0" fmla="*/ 524051 w 1916798"/>
                <a:gd name="connsiteY0" fmla="*/ 283611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7" fmla="*/ 524051 w 1916798"/>
                <a:gd name="connsiteY7" fmla="*/ 283611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  <a:gd name="connsiteX0" fmla="*/ 492810 w 1916798"/>
                <a:gd name="connsiteY0" fmla="*/ 430705 h 3072780"/>
                <a:gd name="connsiteX1" fmla="*/ 654735 w 1916798"/>
                <a:gd name="connsiteY1" fmla="*/ 256080 h 3072780"/>
                <a:gd name="connsiteX2" fmla="*/ 1916798 w 1916798"/>
                <a:gd name="connsiteY2" fmla="*/ 0 h 3072780"/>
                <a:gd name="connsiteX3" fmla="*/ 1916798 w 1916798"/>
                <a:gd name="connsiteY3" fmla="*/ 3072780 h 3072780"/>
                <a:gd name="connsiteX4" fmla="*/ 118160 w 1916798"/>
                <a:gd name="connsiteY4" fmla="*/ 2770680 h 3072780"/>
                <a:gd name="connsiteX5" fmla="*/ 7035 w 1916798"/>
                <a:gd name="connsiteY5" fmla="*/ 2583355 h 3072780"/>
                <a:gd name="connsiteX6" fmla="*/ 492810 w 1916798"/>
                <a:gd name="connsiteY6" fmla="*/ 430705 h 307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6798" h="3072780">
                  <a:moveTo>
                    <a:pt x="492810" y="430705"/>
                  </a:moveTo>
                  <a:cubicBezTo>
                    <a:pt x="515035" y="334397"/>
                    <a:pt x="565835" y="282538"/>
                    <a:pt x="654735" y="256080"/>
                  </a:cubicBezTo>
                  <a:lnTo>
                    <a:pt x="1916798" y="0"/>
                  </a:lnTo>
                  <a:lnTo>
                    <a:pt x="1916798" y="3072780"/>
                  </a:lnTo>
                  <a:lnTo>
                    <a:pt x="118160" y="2770680"/>
                  </a:lnTo>
                  <a:cubicBezTo>
                    <a:pt x="17618" y="2752688"/>
                    <a:pt x="-16248" y="2693422"/>
                    <a:pt x="7035" y="2583355"/>
                  </a:cubicBezTo>
                  <a:lnTo>
                    <a:pt x="492810" y="430705"/>
                  </a:lnTo>
                  <a:close/>
                </a:path>
              </a:pathLst>
            </a:custGeom>
            <a:gradFill>
              <a:gsLst>
                <a:gs pos="100000">
                  <a:srgbClr val="35458F"/>
                </a:gs>
                <a:gs pos="0">
                  <a:srgbClr val="008542">
                    <a:lumMod val="8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35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6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  <p:sp>
          <p:nvSpPr>
            <p:cNvPr id="13" name="Forma Livre 25">
              <a:extLst>
                <a:ext uri="{FF2B5EF4-FFF2-40B4-BE49-F238E27FC236}">
                  <a16:creationId xmlns:a16="http://schemas.microsoft.com/office/drawing/2014/main" id="{A40F3181-454D-4A5D-9911-6B25B98430BD}"/>
                </a:ext>
              </a:extLst>
            </p:cNvPr>
            <p:cNvSpPr/>
            <p:nvPr/>
          </p:nvSpPr>
          <p:spPr>
            <a:xfrm>
              <a:off x="5940359" y="2019287"/>
              <a:ext cx="2537586" cy="3125809"/>
            </a:xfrm>
            <a:custGeom>
              <a:avLst/>
              <a:gdLst>
                <a:gd name="connsiteX0" fmla="*/ 0 w 2541494"/>
                <a:gd name="connsiteY0" fmla="*/ 3106271 h 3106271"/>
                <a:gd name="connsiteX1" fmla="*/ 813547 w 2541494"/>
                <a:gd name="connsiteY1" fmla="*/ 638736 h 3106271"/>
                <a:gd name="connsiteX2" fmla="*/ 2541494 w 2541494"/>
                <a:gd name="connsiteY2" fmla="*/ 0 h 3106271"/>
                <a:gd name="connsiteX0" fmla="*/ 0 w 2541494"/>
                <a:gd name="connsiteY0" fmla="*/ 3106271 h 3106271"/>
                <a:gd name="connsiteX1" fmla="*/ 794009 w 2541494"/>
                <a:gd name="connsiteY1" fmla="*/ 689536 h 3106271"/>
                <a:gd name="connsiteX2" fmla="*/ 2541494 w 2541494"/>
                <a:gd name="connsiteY2" fmla="*/ 0 h 3106271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2537586 w 2537586"/>
                <a:gd name="connsiteY2" fmla="*/ 0 h 3125809"/>
                <a:gd name="connsiteX0" fmla="*/ 0 w 2537586"/>
                <a:gd name="connsiteY0" fmla="*/ 3125809 h 3125809"/>
                <a:gd name="connsiteX1" fmla="*/ 794009 w 2537586"/>
                <a:gd name="connsiteY1" fmla="*/ 709074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794009 w 2537586"/>
                <a:gd name="connsiteY2" fmla="*/ 709074 h 3125809"/>
                <a:gd name="connsiteX3" fmla="*/ 881880 w 2537586"/>
                <a:gd name="connsiteY3" fmla="*/ 669213 h 3125809"/>
                <a:gd name="connsiteX4" fmla="*/ 2537586 w 2537586"/>
                <a:gd name="connsiteY4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81880 w 2537586"/>
                <a:gd name="connsiteY2" fmla="*/ 669213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2552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  <a:gd name="connsiteX0" fmla="*/ 0 w 2537586"/>
                <a:gd name="connsiteY0" fmla="*/ 3125809 h 3125809"/>
                <a:gd name="connsiteX1" fmla="*/ 756834 w 2537586"/>
                <a:gd name="connsiteY1" fmla="*/ 831870 h 3125809"/>
                <a:gd name="connsiteX2" fmla="*/ 893603 w 2537586"/>
                <a:gd name="connsiteY2" fmla="*/ 673121 h 3125809"/>
                <a:gd name="connsiteX3" fmla="*/ 2537586 w 2537586"/>
                <a:gd name="connsiteY3" fmla="*/ 0 h 312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7586" h="3125809">
                  <a:moveTo>
                    <a:pt x="0" y="3125809"/>
                  </a:moveTo>
                  <a:lnTo>
                    <a:pt x="756834" y="831870"/>
                  </a:lnTo>
                  <a:cubicBezTo>
                    <a:pt x="781176" y="772686"/>
                    <a:pt x="804785" y="718872"/>
                    <a:pt x="893603" y="673121"/>
                  </a:cubicBezTo>
                  <a:lnTo>
                    <a:pt x="2537586" y="0"/>
                  </a:lnTo>
                </a:path>
              </a:pathLst>
            </a:custGeom>
            <a:noFill/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defTabSz="6735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326" b="0" i="0" u="none" strike="noStrike" kern="0" cap="none" spc="0" normalizeH="0" baseline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Trebuchet MS" panose="020B0603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2911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1">
    <p:bg>
      <p:bgPr>
        <a:gradFill>
          <a:gsLst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6654969D-26A2-4826-A0ED-A205281C26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0" name="Subtítulo 2">
            <a:extLst>
              <a:ext uri="{FF2B5EF4-FFF2-40B4-BE49-F238E27FC236}">
                <a16:creationId xmlns:a16="http://schemas.microsoft.com/office/drawing/2014/main" id="{965E7AA6-7E7B-4475-BB84-4972240AC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DC59237A-6A44-4B28-A101-21676DC08D71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Espaço Reservado para Texto 9">
            <a:extLst>
              <a:ext uri="{FF2B5EF4-FFF2-40B4-BE49-F238E27FC236}">
                <a16:creationId xmlns:a16="http://schemas.microsoft.com/office/drawing/2014/main" id="{EB14BFC0-5F91-4455-996A-5C4A39F584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798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52" b="0">
                <a:solidFill>
                  <a:schemeClr val="bg2"/>
                </a:solidFill>
              </a:defRPr>
            </a:lvl1pPr>
            <a:lvl2pPr>
              <a:defRPr sz="2058" b="0">
                <a:solidFill>
                  <a:schemeClr val="bg2"/>
                </a:solidFill>
              </a:defRPr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3163370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icos_e_Tabelas">
    <p:bg>
      <p:bgPr>
        <a:gradFill flip="none" rotWithShape="1">
          <a:gsLst>
            <a:gs pos="100000">
              <a:schemeClr val="bg1">
                <a:lumMod val="95000"/>
              </a:schemeClr>
            </a:gs>
            <a:gs pos="0">
              <a:schemeClr val="bg1"/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8AF3BFC-3768-44CC-B7B2-EEE6A6C0E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C15CFA29-C9BA-4755-8460-955BA1317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19EBF5AF-873A-4B08-AE1E-C8FBB7A5E9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798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52" b="0">
                <a:solidFill>
                  <a:schemeClr val="tx1"/>
                </a:solidFill>
              </a:defRPr>
            </a:lvl1pPr>
            <a:lvl2pPr>
              <a:defRPr sz="2058" b="0">
                <a:solidFill>
                  <a:schemeClr val="tx1"/>
                </a:solidFill>
              </a:defRPr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3CF3819-6E5A-4E77-9AE5-1025EBF6C0EF}"/>
              </a:ext>
            </a:extLst>
          </p:cNvPr>
          <p:cNvGrpSpPr/>
          <p:nvPr userDrawn="1"/>
        </p:nvGrpSpPr>
        <p:grpSpPr>
          <a:xfrm rot="5400000" flipV="1">
            <a:off x="14830426" y="3381376"/>
            <a:ext cx="7467600" cy="704847"/>
            <a:chOff x="31376" y="-1105651"/>
            <a:chExt cx="11627224" cy="838200"/>
          </a:xfrm>
        </p:grpSpPr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39795F8-C78C-4447-9EEC-BD91A4C3C137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0DA9F354-1A03-4ACD-AB08-70CB58B40948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BEAFCA33-9743-4B26-9051-B71F4118DDC0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9C05B808-789D-4114-80E3-7181EB7AC74B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A4830349-FF5A-4957-BF1D-4B2D8075BC18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378127C7-C640-4729-84A6-28B5BD01B55F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199F2338-8DF8-481E-89F2-6B7F4101513B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D721DD00-61D1-47EC-AEF4-ACE7D5D558FF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7300F436-FFD3-4213-8AB8-D5A5BACE6A67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4BBB9BF0-4123-48FF-8945-C69B7DC90463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20" name="Retângulo 19">
                <a:extLst>
                  <a:ext uri="{FF2B5EF4-FFF2-40B4-BE49-F238E27FC236}">
                    <a16:creationId xmlns:a16="http://schemas.microsoft.com/office/drawing/2014/main" id="{F2D6A7D4-6F54-47FD-872A-A5B9707E8690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</p:grp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18B5D0C2-B372-40D0-9D54-43F660613E16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64"/>
            </a:p>
          </p:txBody>
        </p:sp>
      </p:grpSp>
      <p:sp>
        <p:nvSpPr>
          <p:cNvPr id="21" name="Retângulo 20">
            <a:extLst>
              <a:ext uri="{FF2B5EF4-FFF2-40B4-BE49-F238E27FC236}">
                <a16:creationId xmlns:a16="http://schemas.microsoft.com/office/drawing/2014/main" id="{AA2C16A8-D154-4310-8CC4-9D6C64D34EE4}"/>
              </a:ext>
            </a:extLst>
          </p:cNvPr>
          <p:cNvSpPr/>
          <p:nvPr userDrawn="1"/>
        </p:nvSpPr>
        <p:spPr>
          <a:xfrm>
            <a:off x="0" y="-659542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72755FD7-AA69-45E5-89B2-E82B9A3E9246}"/>
              </a:ext>
            </a:extLst>
          </p:cNvPr>
          <p:cNvSpPr/>
          <p:nvPr userDrawn="1"/>
        </p:nvSpPr>
        <p:spPr>
          <a:xfrm>
            <a:off x="905206" y="-659542"/>
            <a:ext cx="819150" cy="536699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826BDE5-5D88-467C-84E5-ADC73EC85A5B}"/>
              </a:ext>
            </a:extLst>
          </p:cNvPr>
          <p:cNvSpPr/>
          <p:nvPr userDrawn="1"/>
        </p:nvSpPr>
        <p:spPr>
          <a:xfrm>
            <a:off x="1808913" y="-659542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03268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scos">
    <p:bg>
      <p:bgPr>
        <a:gradFill flip="none" rotWithShape="1">
          <a:gsLst>
            <a:gs pos="32000">
              <a:srgbClr val="F5F5F5"/>
            </a:gs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85D7E103-9E6A-4E17-9064-881CC400E969}" type="datetime1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algn="l" defTabSz="673786"/>
            <a:endParaRPr lang="pt-BR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2377F5F-2121-4B7B-9EF4-224238D91F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F68D063-E7BC-4EFB-9967-FBB91A77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82F0B678-EFD7-4355-8491-77D3B6A687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: Rounded Corners 6">
            <a:extLst>
              <a:ext uri="{FF2B5EF4-FFF2-40B4-BE49-F238E27FC236}">
                <a16:creationId xmlns:a16="http://schemas.microsoft.com/office/drawing/2014/main" id="{4B875682-43E6-4698-9E24-3C6031219787}"/>
              </a:ext>
            </a:extLst>
          </p:cNvPr>
          <p:cNvSpPr/>
          <p:nvPr userDrawn="1"/>
        </p:nvSpPr>
        <p:spPr>
          <a:xfrm flipH="1">
            <a:off x="7253229" y="5734551"/>
            <a:ext cx="4552276" cy="3520106"/>
          </a:xfrm>
          <a:prstGeom prst="roundRect">
            <a:avLst>
              <a:gd name="adj" fmla="val 225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3">
            <a:extLst>
              <a:ext uri="{FF2B5EF4-FFF2-40B4-BE49-F238E27FC236}">
                <a16:creationId xmlns:a16="http://schemas.microsoft.com/office/drawing/2014/main" id="{02C8D298-8E20-4C42-9B2E-A978F38B64B4}"/>
              </a:ext>
            </a:extLst>
          </p:cNvPr>
          <p:cNvSpPr/>
          <p:nvPr userDrawn="1"/>
        </p:nvSpPr>
        <p:spPr>
          <a:xfrm flipH="1">
            <a:off x="12484539" y="5672283"/>
            <a:ext cx="4653732" cy="3586339"/>
          </a:xfrm>
          <a:prstGeom prst="roundRect">
            <a:avLst>
              <a:gd name="adj" fmla="val 328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: Rounded Corners 2">
            <a:extLst>
              <a:ext uri="{FF2B5EF4-FFF2-40B4-BE49-F238E27FC236}">
                <a16:creationId xmlns:a16="http://schemas.microsoft.com/office/drawing/2014/main" id="{1B1BB546-5B50-4704-A10F-3FFF08DFC1E3}"/>
              </a:ext>
            </a:extLst>
          </p:cNvPr>
          <p:cNvSpPr/>
          <p:nvPr userDrawn="1"/>
        </p:nvSpPr>
        <p:spPr>
          <a:xfrm flipH="1">
            <a:off x="7175776" y="2528913"/>
            <a:ext cx="9970675" cy="2704155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12700" dir="5400000" algn="ctr" rotWithShape="0">
              <a:srgbClr val="000104">
                <a:alpha val="1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00FACE95-955D-43AE-AA85-3C0EBB0625F3}"/>
              </a:ext>
            </a:extLst>
          </p:cNvPr>
          <p:cNvSpPr/>
          <p:nvPr userDrawn="1"/>
        </p:nvSpPr>
        <p:spPr>
          <a:xfrm flipH="1">
            <a:off x="675026" y="2528914"/>
            <a:ext cx="6056712" cy="6729709"/>
          </a:xfrm>
          <a:prstGeom prst="roundRect">
            <a:avLst>
              <a:gd name="adj" fmla="val 178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216B277E-7BBA-4D9B-8085-64F8CD292216}"/>
              </a:ext>
            </a:extLst>
          </p:cNvPr>
          <p:cNvSpPr txBox="1"/>
          <p:nvPr userDrawn="1"/>
        </p:nvSpPr>
        <p:spPr>
          <a:xfrm>
            <a:off x="845772" y="5075489"/>
            <a:ext cx="456151" cy="291413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764" b="1">
                <a:solidFill>
                  <a:srgbClr val="999999"/>
                </a:solidFill>
                <a:latin typeface="Calibri" panose="020F0502020204030204"/>
              </a:rPr>
              <a:t>PROBABILIDADE</a:t>
            </a:r>
            <a:endParaRPr lang="pt-BR" sz="1470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17873CD-53B6-408A-954C-87DA11E6366B}"/>
              </a:ext>
            </a:extLst>
          </p:cNvPr>
          <p:cNvSpPr txBox="1"/>
          <p:nvPr userDrawn="1"/>
        </p:nvSpPr>
        <p:spPr>
          <a:xfrm rot="5400000">
            <a:off x="2804228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BAIX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6B2FB07-62A7-446C-BBC2-66A9B9CEF1EE}"/>
              </a:ext>
            </a:extLst>
          </p:cNvPr>
          <p:cNvSpPr txBox="1"/>
          <p:nvPr userDrawn="1"/>
        </p:nvSpPr>
        <p:spPr>
          <a:xfrm rot="5400000">
            <a:off x="3798279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ÉDI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6B5E66D-5882-4A25-BEDD-6CFF28D51FEF}"/>
              </a:ext>
            </a:extLst>
          </p:cNvPr>
          <p:cNvSpPr txBox="1"/>
          <p:nvPr userDrawn="1"/>
        </p:nvSpPr>
        <p:spPr>
          <a:xfrm rot="5400000">
            <a:off x="4863603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ALT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0E2CB01-3845-4CCA-97C0-EFEC2E0241D2}"/>
              </a:ext>
            </a:extLst>
          </p:cNvPr>
          <p:cNvSpPr txBox="1"/>
          <p:nvPr userDrawn="1"/>
        </p:nvSpPr>
        <p:spPr>
          <a:xfrm rot="5400000">
            <a:off x="5771500" y="3305633"/>
            <a:ext cx="410882" cy="95377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. ALT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96027F1-9C9E-4AF1-98CD-22200F3A0EB7}"/>
              </a:ext>
            </a:extLst>
          </p:cNvPr>
          <p:cNvSpPr txBox="1"/>
          <p:nvPr userDrawn="1"/>
        </p:nvSpPr>
        <p:spPr>
          <a:xfrm rot="5400000">
            <a:off x="1730699" y="3296871"/>
            <a:ext cx="410882" cy="97130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. BAIX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093BB404-8FAE-4705-B24B-1A75491A31D9}"/>
              </a:ext>
            </a:extLst>
          </p:cNvPr>
          <p:cNvSpPr txBox="1"/>
          <p:nvPr userDrawn="1"/>
        </p:nvSpPr>
        <p:spPr>
          <a:xfrm>
            <a:off x="1346830" y="8047142"/>
            <a:ext cx="3873875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44077"/>
            <a:r>
              <a:rPr lang="pt-BR" sz="1764" b="1">
                <a:solidFill>
                  <a:srgbClr val="999999"/>
                </a:solidFill>
                <a:latin typeface="Calibri" panose="020F0502020204030204"/>
              </a:rPr>
              <a:t>IMPACTO</a:t>
            </a:r>
            <a:endParaRPr lang="pt-BR" sz="1176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505F0ED0-D0FB-40BC-B7B3-A9CB2E73D3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37608" y="2911319"/>
            <a:ext cx="8054879" cy="498654"/>
          </a:xfrm>
          <a:prstGeom prst="rect">
            <a:avLst/>
          </a:prstGeom>
          <a:noFill/>
          <a:effectLst>
            <a:softEdge rad="25400"/>
          </a:effectLst>
        </p:spPr>
        <p:txBody>
          <a:bodyPr wrap="square" lIns="36000" tIns="36000" rIns="36000" bIns="36000" rtlCol="0" anchor="t">
            <a:spAutoFit/>
          </a:bodyPr>
          <a:lstStyle>
            <a:lvl1pPr>
              <a:defRPr kumimoji="0" lang="pt-BR" sz="2058" b="0" i="0" u="none" strike="noStrike" kern="0" cap="none" spc="0" normalizeH="0" baseline="0" smtClean="0">
                <a:ln>
                  <a:noFill/>
                </a:ln>
                <a:solidFill>
                  <a:srgbClr val="494949">
                    <a:lumMod val="75000"/>
                  </a:srgbClr>
                </a:solidFill>
                <a:effectLst/>
                <a:uLnTx/>
                <a:uFillTx/>
                <a:latin typeface="Trebuchet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R="0" lvl="0" indent="0" defTabSz="134407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</a:t>
            </a:r>
          </a:p>
        </p:txBody>
      </p:sp>
      <p:sp>
        <p:nvSpPr>
          <p:cNvPr id="86" name="Espaço Reservado para Texto 2">
            <a:extLst>
              <a:ext uri="{FF2B5EF4-FFF2-40B4-BE49-F238E27FC236}">
                <a16:creationId xmlns:a16="http://schemas.microsoft.com/office/drawing/2014/main" id="{9DC7FA72-1F35-46A6-AB4E-CE78B3977F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452430" y="5661371"/>
            <a:ext cx="3955975" cy="82522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46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43808"/>
            <a:r>
              <a:rPr lang="pt-BR"/>
              <a:t>Clique para editar os estilos de texto Mestre</a:t>
            </a:r>
          </a:p>
        </p:txBody>
      </p:sp>
      <p:sp>
        <p:nvSpPr>
          <p:cNvPr id="87" name="Espaço Reservado para Texto 2">
            <a:extLst>
              <a:ext uri="{FF2B5EF4-FFF2-40B4-BE49-F238E27FC236}">
                <a16:creationId xmlns:a16="http://schemas.microsoft.com/office/drawing/2014/main" id="{3B7A7AD3-38E8-4B30-BA1B-7EDF248DDE9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2736512" y="5661371"/>
            <a:ext cx="3955975" cy="82522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46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43808"/>
            <a:r>
              <a:rPr lang="pt-BR"/>
              <a:t>Clique para editar os estilos de texto Mestre</a:t>
            </a:r>
          </a:p>
        </p:txBody>
      </p:sp>
      <p:sp>
        <p:nvSpPr>
          <p:cNvPr id="88" name="Espaço Reservado para Texto 2">
            <a:extLst>
              <a:ext uri="{FF2B5EF4-FFF2-40B4-BE49-F238E27FC236}">
                <a16:creationId xmlns:a16="http://schemas.microsoft.com/office/drawing/2014/main" id="{EAAE459B-64BE-472F-BBCB-B81692926D5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2736512" y="6777986"/>
            <a:ext cx="3955975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64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16387"/>
            <a:r>
              <a:rPr lang="pt-BR"/>
              <a:t>Clique para editar os estilos de texto Mestre</a:t>
            </a:r>
          </a:p>
        </p:txBody>
      </p:sp>
      <p:sp>
        <p:nvSpPr>
          <p:cNvPr id="89" name="Espaço Reservado para Texto 2">
            <a:extLst>
              <a:ext uri="{FF2B5EF4-FFF2-40B4-BE49-F238E27FC236}">
                <a16:creationId xmlns:a16="http://schemas.microsoft.com/office/drawing/2014/main" id="{F565C565-EAE1-4216-BAD6-AD984D4F8B1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452430" y="6737371"/>
            <a:ext cx="3955975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64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16387"/>
            <a:r>
              <a:rPr lang="pt-BR"/>
              <a:t>Clique para editar os estilos de texto Mestre</a:t>
            </a: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2C617125-8B7B-4A4F-B5E2-6C0E0402910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5510597"/>
              </p:ext>
            </p:extLst>
          </p:nvPr>
        </p:nvGraphicFramePr>
        <p:xfrm>
          <a:off x="1377495" y="3970247"/>
          <a:ext cx="5029770" cy="3959840"/>
        </p:xfrm>
        <a:graphic>
          <a:graphicData uri="http://schemas.openxmlformats.org/drawingml/2006/table">
            <a:tbl>
              <a:tblPr firstRow="1" bandRow="1"/>
              <a:tblGrid>
                <a:gridCol w="1005954">
                  <a:extLst>
                    <a:ext uri="{9D8B030D-6E8A-4147-A177-3AD203B41FA5}">
                      <a16:colId xmlns:a16="http://schemas.microsoft.com/office/drawing/2014/main" val="3535774680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220368540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83239892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439988134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335711226"/>
                    </a:ext>
                  </a:extLst>
                </a:gridCol>
              </a:tblGrid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095737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425353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672481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981036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06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177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o_Result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12" y="379535"/>
            <a:ext cx="2930915" cy="845575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8A18C4B2-FD75-4F97-8F51-C272B8A145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84AFFBBA-7188-436C-A24C-9EDAE35A56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A980B7AB-4664-4E0E-9972-B46332BFD374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angle 74">
            <a:extLst>
              <a:ext uri="{FF2B5EF4-FFF2-40B4-BE49-F238E27FC236}">
                <a16:creationId xmlns:a16="http://schemas.microsoft.com/office/drawing/2014/main" id="{3838FEA5-FBE7-4E2D-B8A8-1016AE18F6CE}"/>
              </a:ext>
            </a:extLst>
          </p:cNvPr>
          <p:cNvSpPr/>
          <p:nvPr userDrawn="1"/>
        </p:nvSpPr>
        <p:spPr>
          <a:xfrm>
            <a:off x="3755469" y="2550355"/>
            <a:ext cx="14242852" cy="7530271"/>
          </a:xfrm>
          <a:prstGeom prst="rect">
            <a:avLst/>
          </a:prstGeom>
          <a:gradFill>
            <a:gsLst>
              <a:gs pos="100000">
                <a:srgbClr val="2A3A54"/>
              </a:gs>
              <a:gs pos="0">
                <a:srgbClr val="004165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58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3C51927C-01D9-4BEB-9731-DA87ED407D47}"/>
              </a:ext>
            </a:extLst>
          </p:cNvPr>
          <p:cNvSpPr/>
          <p:nvPr userDrawn="1"/>
        </p:nvSpPr>
        <p:spPr>
          <a:xfrm>
            <a:off x="11815281" y="2533498"/>
            <a:ext cx="6183040" cy="1299281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4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6" name="Straight Connector 34">
            <a:extLst>
              <a:ext uri="{FF2B5EF4-FFF2-40B4-BE49-F238E27FC236}">
                <a16:creationId xmlns:a16="http://schemas.microsoft.com/office/drawing/2014/main" id="{1D971FFA-3691-4246-99DA-E4935964AEB8}"/>
              </a:ext>
            </a:extLst>
          </p:cNvPr>
          <p:cNvCxnSpPr>
            <a:cxnSpLocks/>
          </p:cNvCxnSpPr>
          <p:nvPr userDrawn="1"/>
        </p:nvCxnSpPr>
        <p:spPr>
          <a:xfrm>
            <a:off x="5041458" y="3886260"/>
            <a:ext cx="0" cy="5982018"/>
          </a:xfrm>
          <a:prstGeom prst="line">
            <a:avLst/>
          </a:prstGeom>
          <a:noFill/>
          <a:ln w="1016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pic>
        <p:nvPicPr>
          <p:cNvPr id="22" name="Imagem 21" descr="Navio no mar&#10;&#10;Descrição gerada automaticamente com confiança média">
            <a:extLst>
              <a:ext uri="{FF2B5EF4-FFF2-40B4-BE49-F238E27FC236}">
                <a16:creationId xmlns:a16="http://schemas.microsoft.com/office/drawing/2014/main" id="{5A1C2C8F-EE19-4E9C-9F92-69B8FA0D83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4892" y="2550356"/>
            <a:ext cx="5037891" cy="7515271"/>
          </a:xfrm>
          <a:prstGeom prst="rect">
            <a:avLst/>
          </a:prstGeom>
        </p:spPr>
      </p:pic>
      <p:sp>
        <p:nvSpPr>
          <p:cNvPr id="24" name="Espaço Reservado para Conteúdo 2">
            <a:extLst>
              <a:ext uri="{FF2B5EF4-FFF2-40B4-BE49-F238E27FC236}">
                <a16:creationId xmlns:a16="http://schemas.microsoft.com/office/drawing/2014/main" id="{0F4A50CF-897E-4E5A-A3DC-148002FB439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1777256" y="5177834"/>
            <a:ext cx="6183039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5" name="Espaço Reservado para Conteúdo 2">
            <a:extLst>
              <a:ext uri="{FF2B5EF4-FFF2-40B4-BE49-F238E27FC236}">
                <a16:creationId xmlns:a16="http://schemas.microsoft.com/office/drawing/2014/main" id="{F0A763E7-27DC-4C4C-999B-8B8B4E75AC8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1684245" y="7797178"/>
            <a:ext cx="6183039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6" name="Espaço Reservado para Conteúdo 2">
            <a:extLst>
              <a:ext uri="{FF2B5EF4-FFF2-40B4-BE49-F238E27FC236}">
                <a16:creationId xmlns:a16="http://schemas.microsoft.com/office/drawing/2014/main" id="{D49E7FCA-5A9A-4FE1-996C-B7C06082C38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441441" y="4129935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5B05624A-CB0C-48AF-926E-A341B2AA70D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520509" y="6355112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791EE106-3CC3-4CDD-B010-95A19758336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441441" y="8284915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2">
            <a:extLst>
              <a:ext uri="{FF2B5EF4-FFF2-40B4-BE49-F238E27FC236}">
                <a16:creationId xmlns:a16="http://schemas.microsoft.com/office/drawing/2014/main" id="{6258B816-08DA-4575-9E5E-3450BA17686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643486" y="2678023"/>
            <a:ext cx="560717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28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2">
            <a:extLst>
              <a:ext uri="{FF2B5EF4-FFF2-40B4-BE49-F238E27FC236}">
                <a16:creationId xmlns:a16="http://schemas.microsoft.com/office/drawing/2014/main" id="{9A9F0572-273A-41C3-89D3-4F696EAD098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2260112" y="2667533"/>
            <a:ext cx="560717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28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2646998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30C1B2-A21E-4C5A-97D0-5B7E62F7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124E3-DBA3-4277-B8CC-C90934865AB7}" type="datetime1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8822A-E0EF-40DD-94E6-5D5381F7D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7" name="Título 1">
            <a:extLst>
              <a:ext uri="{FF2B5EF4-FFF2-40B4-BE49-F238E27FC236}">
                <a16:creationId xmlns:a16="http://schemas.microsoft.com/office/drawing/2014/main" id="{8E7C3A4A-C904-408B-AF80-CF448F4D71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679" y="4497047"/>
            <a:ext cx="4185649" cy="1037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grpSp>
        <p:nvGrpSpPr>
          <p:cNvPr id="364" name="Grupo 3">
            <a:extLst>
              <a:ext uri="{FF2B5EF4-FFF2-40B4-BE49-F238E27FC236}">
                <a16:creationId xmlns:a16="http://schemas.microsoft.com/office/drawing/2014/main" id="{9A07BDD1-D780-406C-A592-6BBC559413A3}"/>
              </a:ext>
            </a:extLst>
          </p:cNvPr>
          <p:cNvGrpSpPr/>
          <p:nvPr userDrawn="1"/>
        </p:nvGrpSpPr>
        <p:grpSpPr>
          <a:xfrm>
            <a:off x="6636057" y="402969"/>
            <a:ext cx="9793421" cy="9274687"/>
            <a:chOff x="8986138" y="548292"/>
            <a:chExt cx="13266332" cy="12619416"/>
          </a:xfrm>
        </p:grpSpPr>
        <p:sp>
          <p:nvSpPr>
            <p:cNvPr id="365" name="Freeform 548">
              <a:extLst>
                <a:ext uri="{FF2B5EF4-FFF2-40B4-BE49-F238E27FC236}">
                  <a16:creationId xmlns:a16="http://schemas.microsoft.com/office/drawing/2014/main" id="{639784E3-C209-42C6-AE65-D10D16C9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549">
              <a:extLst>
                <a:ext uri="{FF2B5EF4-FFF2-40B4-BE49-F238E27FC236}">
                  <a16:creationId xmlns:a16="http://schemas.microsoft.com/office/drawing/2014/main" id="{7BD114B7-F88B-4800-AD84-30715077D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7" name="Grupo 1277">
            <a:extLst>
              <a:ext uri="{FF2B5EF4-FFF2-40B4-BE49-F238E27FC236}">
                <a16:creationId xmlns:a16="http://schemas.microsoft.com/office/drawing/2014/main" id="{BA5647BA-7E8E-4DE3-AEAB-BFB8BE81CDB6}"/>
              </a:ext>
            </a:extLst>
          </p:cNvPr>
          <p:cNvGrpSpPr/>
          <p:nvPr userDrawn="1"/>
        </p:nvGrpSpPr>
        <p:grpSpPr>
          <a:xfrm>
            <a:off x="6623122" y="396272"/>
            <a:ext cx="9793421" cy="9274687"/>
            <a:chOff x="8986138" y="548292"/>
            <a:chExt cx="13266332" cy="12619416"/>
          </a:xfrm>
        </p:grpSpPr>
        <p:sp>
          <p:nvSpPr>
            <p:cNvPr id="368" name="Freeform 548">
              <a:extLst>
                <a:ext uri="{FF2B5EF4-FFF2-40B4-BE49-F238E27FC236}">
                  <a16:creationId xmlns:a16="http://schemas.microsoft.com/office/drawing/2014/main" id="{FF104208-347D-4C51-B785-58E8F84B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549">
              <a:extLst>
                <a:ext uri="{FF2B5EF4-FFF2-40B4-BE49-F238E27FC236}">
                  <a16:creationId xmlns:a16="http://schemas.microsoft.com/office/drawing/2014/main" id="{1D3C6BE9-D1EA-4485-BB06-6C324300D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0" name="Line 565">
            <a:extLst>
              <a:ext uri="{FF2B5EF4-FFF2-40B4-BE49-F238E27FC236}">
                <a16:creationId xmlns:a16="http://schemas.microsoft.com/office/drawing/2014/main" id="{3C649AD0-6946-4391-9012-15357E63F4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9020512" y="4651914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1" name="Line 566">
            <a:extLst>
              <a:ext uri="{FF2B5EF4-FFF2-40B4-BE49-F238E27FC236}">
                <a16:creationId xmlns:a16="http://schemas.microsoft.com/office/drawing/2014/main" id="{1A7BABB7-E3A3-40A7-9781-49AF93CFB02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815362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2" name="Line 567">
            <a:extLst>
              <a:ext uri="{FF2B5EF4-FFF2-40B4-BE49-F238E27FC236}">
                <a16:creationId xmlns:a16="http://schemas.microsoft.com/office/drawing/2014/main" id="{C5E3353C-045A-4B77-8377-76C617136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606848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3" name="Line 568">
            <a:extLst>
              <a:ext uri="{FF2B5EF4-FFF2-40B4-BE49-F238E27FC236}">
                <a16:creationId xmlns:a16="http://schemas.microsoft.com/office/drawing/2014/main" id="{4C2AA826-29CD-435B-99DA-7EDB936A81EB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398335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4" name="Line 569">
            <a:extLst>
              <a:ext uri="{FF2B5EF4-FFF2-40B4-BE49-F238E27FC236}">
                <a16:creationId xmlns:a16="http://schemas.microsoft.com/office/drawing/2014/main" id="{74BBF0BE-118D-41A2-8C56-826ED304A3DE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3183" y="4651914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5" name="Line 704">
            <a:extLst>
              <a:ext uri="{FF2B5EF4-FFF2-40B4-BE49-F238E27FC236}">
                <a16:creationId xmlns:a16="http://schemas.microsoft.com/office/drawing/2014/main" id="{E5FBC4F7-0625-4E76-8671-0D0D71815F1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926252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6" name="Line 705">
            <a:extLst>
              <a:ext uri="{FF2B5EF4-FFF2-40B4-BE49-F238E27FC236}">
                <a16:creationId xmlns:a16="http://schemas.microsoft.com/office/drawing/2014/main" id="{A03D99AD-E15A-4EA2-ADC7-8A1EDEB0F1E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721102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7" name="Line 706">
            <a:extLst>
              <a:ext uri="{FF2B5EF4-FFF2-40B4-BE49-F238E27FC236}">
                <a16:creationId xmlns:a16="http://schemas.microsoft.com/office/drawing/2014/main" id="{C07BA8E1-2DA1-4B4D-8C2D-644EB523F65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12588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8" name="Line 707">
            <a:extLst>
              <a:ext uri="{FF2B5EF4-FFF2-40B4-BE49-F238E27FC236}">
                <a16:creationId xmlns:a16="http://schemas.microsoft.com/office/drawing/2014/main" id="{8ED9AB92-3524-43A8-896D-74C9BC0B324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304075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9" name="Line 708">
            <a:extLst>
              <a:ext uri="{FF2B5EF4-FFF2-40B4-BE49-F238E27FC236}">
                <a16:creationId xmlns:a16="http://schemas.microsoft.com/office/drawing/2014/main" id="{07741A84-29A4-4A17-A1A0-C69AA34AEFA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098923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0" name="Line 722">
            <a:extLst>
              <a:ext uri="{FF2B5EF4-FFF2-40B4-BE49-F238E27FC236}">
                <a16:creationId xmlns:a16="http://schemas.microsoft.com/office/drawing/2014/main" id="{7B4C4713-35BF-47A6-8D62-14ED1D6D7E3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9909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1" name="Freeform 742">
            <a:extLst>
              <a:ext uri="{FF2B5EF4-FFF2-40B4-BE49-F238E27FC236}">
                <a16:creationId xmlns:a16="http://schemas.microsoft.com/office/drawing/2014/main" id="{24D9E696-303F-44F8-B934-9B1E1D82F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1461021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09750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09750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17"/>
                  <a:pt x="1579" y="1417"/>
                  <a:pt x="1579" y="1417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2" name="Freeform 743">
            <a:extLst>
              <a:ext uri="{FF2B5EF4-FFF2-40B4-BE49-F238E27FC236}">
                <a16:creationId xmlns:a16="http://schemas.microsoft.com/office/drawing/2014/main" id="{3C4D5722-13C6-423F-8FD9-C65076615A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900407" y="1461021"/>
            <a:ext cx="1197273" cy="1191982"/>
          </a:xfrm>
          <a:custGeom>
            <a:avLst/>
            <a:gdLst>
              <a:gd name="T0" fmla="*/ 512988 w 1571"/>
              <a:gd name="T1" fmla="*/ 564790 h 1571"/>
              <a:gd name="T2" fmla="*/ 512988 w 1571"/>
              <a:gd name="T3" fmla="*/ 564790 h 1571"/>
              <a:gd name="T4" fmla="*/ 55040 w 1571"/>
              <a:gd name="T5" fmla="*/ 564790 h 1571"/>
              <a:gd name="T6" fmla="*/ 0 w 1571"/>
              <a:gd name="T7" fmla="*/ 509750 h 1571"/>
              <a:gd name="T8" fmla="*/ 0 w 1571"/>
              <a:gd name="T9" fmla="*/ 55040 h 1571"/>
              <a:gd name="T10" fmla="*/ 55040 w 1571"/>
              <a:gd name="T11" fmla="*/ 0 h 1571"/>
              <a:gd name="T12" fmla="*/ 512988 w 1571"/>
              <a:gd name="T13" fmla="*/ 0 h 1571"/>
              <a:gd name="T14" fmla="*/ 564790 w 1571"/>
              <a:gd name="T15" fmla="*/ 55040 h 1571"/>
              <a:gd name="T16" fmla="*/ 564790 w 1571"/>
              <a:gd name="T17" fmla="*/ 509750 h 1571"/>
              <a:gd name="T18" fmla="*/ 512988 w 1571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8"/>
                  <a:pt x="1570" y="153"/>
                </a:cubicBezTo>
                <a:cubicBezTo>
                  <a:pt x="1570" y="1417"/>
                  <a:pt x="1570" y="1417"/>
                  <a:pt x="1570" y="1417"/>
                </a:cubicBezTo>
                <a:cubicBezTo>
                  <a:pt x="1570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6215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3" name="Freeform 744">
            <a:extLst>
              <a:ext uri="{FF2B5EF4-FFF2-40B4-BE49-F238E27FC236}">
                <a16:creationId xmlns:a16="http://schemas.microsoft.com/office/drawing/2014/main" id="{5E95C423-2B0F-4CC9-96D6-1305215EF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48569" y="4052576"/>
            <a:ext cx="1197273" cy="1198679"/>
          </a:xfrm>
          <a:custGeom>
            <a:avLst/>
            <a:gdLst>
              <a:gd name="T0" fmla="*/ 510075 w 1570"/>
              <a:gd name="T1" fmla="*/ 567965 h 1578"/>
              <a:gd name="T2" fmla="*/ 510075 w 1570"/>
              <a:gd name="T3" fmla="*/ 567965 h 1578"/>
              <a:gd name="T4" fmla="*/ 52195 w 1570"/>
              <a:gd name="T5" fmla="*/ 567965 h 1578"/>
              <a:gd name="T6" fmla="*/ 0 w 1570"/>
              <a:gd name="T7" fmla="*/ 512861 h 1578"/>
              <a:gd name="T8" fmla="*/ 0 w 1570"/>
              <a:gd name="T9" fmla="*/ 54744 h 1578"/>
              <a:gd name="T10" fmla="*/ 52195 w 1570"/>
              <a:gd name="T11" fmla="*/ 0 h 1578"/>
              <a:gd name="T12" fmla="*/ 510075 w 1570"/>
              <a:gd name="T13" fmla="*/ 0 h 1578"/>
              <a:gd name="T14" fmla="*/ 564790 w 1570"/>
              <a:gd name="T15" fmla="*/ 54744 h 1578"/>
              <a:gd name="T16" fmla="*/ 564790 w 1570"/>
              <a:gd name="T17" fmla="*/ 512861 h 1578"/>
              <a:gd name="T18" fmla="*/ 510075 w 157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8">
                <a:moveTo>
                  <a:pt x="1417" y="1577"/>
                </a:moveTo>
                <a:lnTo>
                  <a:pt x="1417" y="1577"/>
                </a:lnTo>
                <a:cubicBezTo>
                  <a:pt x="145" y="1577"/>
                  <a:pt x="145" y="1577"/>
                  <a:pt x="145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7"/>
                  <a:pt x="1569" y="152"/>
                </a:cubicBezTo>
                <a:cubicBezTo>
                  <a:pt x="1569" y="1424"/>
                  <a:pt x="1569" y="1424"/>
                  <a:pt x="1569" y="1424"/>
                </a:cubicBezTo>
                <a:cubicBezTo>
                  <a:pt x="1569" y="1509"/>
                  <a:pt x="1502" y="1577"/>
                  <a:pt x="1417" y="1577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6298"/>
            </a:solidFill>
            <a:prstDash val="solid"/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4" name="Freeform 745">
            <a:extLst>
              <a:ext uri="{FF2B5EF4-FFF2-40B4-BE49-F238E27FC236}">
                <a16:creationId xmlns:a16="http://schemas.microsoft.com/office/drawing/2014/main" id="{43615B0E-E93C-4E5A-9A90-A6A13900D3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4052576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4F5B7C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5" name="Freeform 748">
            <a:extLst>
              <a:ext uri="{FF2B5EF4-FFF2-40B4-BE49-F238E27FC236}">
                <a16:creationId xmlns:a16="http://schemas.microsoft.com/office/drawing/2014/main" id="{4A18BC58-BD57-46EC-A547-B576665384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6647479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12988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12988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26"/>
                  <a:pt x="1579" y="1426"/>
                  <a:pt x="1579" y="1426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4165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grpSp>
        <p:nvGrpSpPr>
          <p:cNvPr id="386" name="Agrupar 385">
            <a:extLst>
              <a:ext uri="{FF2B5EF4-FFF2-40B4-BE49-F238E27FC236}">
                <a16:creationId xmlns:a16="http://schemas.microsoft.com/office/drawing/2014/main" id="{9FDB7CCE-09A1-4286-955C-898BB859333B}"/>
              </a:ext>
            </a:extLst>
          </p:cNvPr>
          <p:cNvGrpSpPr/>
          <p:nvPr userDrawn="1"/>
        </p:nvGrpSpPr>
        <p:grpSpPr>
          <a:xfrm>
            <a:off x="11277169" y="4382377"/>
            <a:ext cx="844146" cy="585945"/>
            <a:chOff x="5617647" y="4729666"/>
            <a:chExt cx="571747" cy="398627"/>
          </a:xfrm>
          <a:solidFill>
            <a:srgbClr val="4F5B7C"/>
          </a:solidFill>
        </p:grpSpPr>
        <p:sp>
          <p:nvSpPr>
            <p:cNvPr id="387" name="Line 718">
              <a:extLst>
                <a:ext uri="{FF2B5EF4-FFF2-40B4-BE49-F238E27FC236}">
                  <a16:creationId xmlns:a16="http://schemas.microsoft.com/office/drawing/2014/main" id="{3ADE10D1-04D4-49A0-9AF5-7A316B2DB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4223" y="4930119"/>
              <a:ext cx="75171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Line 719">
              <a:extLst>
                <a:ext uri="{FF2B5EF4-FFF2-40B4-BE49-F238E27FC236}">
                  <a16:creationId xmlns:a16="http://schemas.microsoft.com/office/drawing/2014/main" id="{2CA9A0AD-69C9-4232-A373-D3F46DAD8C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5274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Line 720">
              <a:extLst>
                <a:ext uri="{FF2B5EF4-FFF2-40B4-BE49-F238E27FC236}">
                  <a16:creationId xmlns:a16="http://schemas.microsoft.com/office/drawing/2014/main" id="{5711C788-55F8-4FF1-9076-FDECC0E337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34046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Line 721">
              <a:extLst>
                <a:ext uri="{FF2B5EF4-FFF2-40B4-BE49-F238E27FC236}">
                  <a16:creationId xmlns:a16="http://schemas.microsoft.com/office/drawing/2014/main" id="{329E4C7D-C9AB-4558-BFED-4EBF6A07F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818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989">
              <a:extLst>
                <a:ext uri="{FF2B5EF4-FFF2-40B4-BE49-F238E27FC236}">
                  <a16:creationId xmlns:a16="http://schemas.microsoft.com/office/drawing/2014/main" id="{BFB8EC47-6662-417B-90B0-576A149F1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729666"/>
              <a:ext cx="473798" cy="398627"/>
            </a:xfrm>
            <a:custGeom>
              <a:avLst/>
              <a:gdLst>
                <a:gd name="T0" fmla="*/ 164740 w 918"/>
                <a:gd name="T1" fmla="*/ 277453 h 773"/>
                <a:gd name="T2" fmla="*/ 164740 w 918"/>
                <a:gd name="T3" fmla="*/ 277453 h 773"/>
                <a:gd name="T4" fmla="*/ 164740 w 918"/>
                <a:gd name="T5" fmla="*/ 277453 h 773"/>
                <a:gd name="T6" fmla="*/ 158625 w 918"/>
                <a:gd name="T7" fmla="*/ 274577 h 773"/>
                <a:gd name="T8" fmla="*/ 2878 w 918"/>
                <a:gd name="T9" fmla="*/ 63972 h 773"/>
                <a:gd name="T10" fmla="*/ 2878 w 918"/>
                <a:gd name="T11" fmla="*/ 54987 h 773"/>
                <a:gd name="T12" fmla="*/ 55033 w 918"/>
                <a:gd name="T13" fmla="*/ 2875 h 773"/>
                <a:gd name="T14" fmla="*/ 61148 w 918"/>
                <a:gd name="T15" fmla="*/ 0 h 773"/>
                <a:gd name="T16" fmla="*/ 61148 w 918"/>
                <a:gd name="T17" fmla="*/ 0 h 773"/>
                <a:gd name="T18" fmla="*/ 268692 w 918"/>
                <a:gd name="T19" fmla="*/ 0 h 773"/>
                <a:gd name="T20" fmla="*/ 274807 w 918"/>
                <a:gd name="T21" fmla="*/ 2875 h 773"/>
                <a:gd name="T22" fmla="*/ 326603 w 918"/>
                <a:gd name="T23" fmla="*/ 57863 h 773"/>
                <a:gd name="T24" fmla="*/ 329840 w 918"/>
                <a:gd name="T25" fmla="*/ 66847 h 773"/>
                <a:gd name="T26" fmla="*/ 170855 w 918"/>
                <a:gd name="T27" fmla="*/ 274577 h 773"/>
                <a:gd name="T28" fmla="*/ 164740 w 918"/>
                <a:gd name="T29" fmla="*/ 277453 h 773"/>
                <a:gd name="T30" fmla="*/ 18344 w 918"/>
                <a:gd name="T31" fmla="*/ 61097 h 773"/>
                <a:gd name="T32" fmla="*/ 18344 w 918"/>
                <a:gd name="T33" fmla="*/ 61097 h 773"/>
                <a:gd name="T34" fmla="*/ 164740 w 918"/>
                <a:gd name="T35" fmla="*/ 256248 h 773"/>
                <a:gd name="T36" fmla="*/ 311496 w 918"/>
                <a:gd name="T37" fmla="*/ 63972 h 773"/>
                <a:gd name="T38" fmla="*/ 265455 w 918"/>
                <a:gd name="T39" fmla="*/ 15095 h 773"/>
                <a:gd name="T40" fmla="*/ 64026 w 918"/>
                <a:gd name="T41" fmla="*/ 15095 h 773"/>
                <a:gd name="T42" fmla="*/ 18344 w 918"/>
                <a:gd name="T43" fmla="*/ 61097 h 7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18" h="773">
                  <a:moveTo>
                    <a:pt x="458" y="772"/>
                  </a:moveTo>
                  <a:lnTo>
                    <a:pt x="458" y="772"/>
                  </a:lnTo>
                  <a:cubicBezTo>
                    <a:pt x="458" y="772"/>
                    <a:pt x="450" y="772"/>
                    <a:pt x="441" y="764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0" y="170"/>
                    <a:pt x="0" y="161"/>
                    <a:pt x="8" y="153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61" y="8"/>
                    <a:pt x="170" y="0"/>
                    <a:pt x="170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55" y="0"/>
                    <a:pt x="764" y="8"/>
                    <a:pt x="764" y="8"/>
                  </a:cubicBezTo>
                  <a:cubicBezTo>
                    <a:pt x="908" y="161"/>
                    <a:pt x="908" y="161"/>
                    <a:pt x="908" y="161"/>
                  </a:cubicBezTo>
                  <a:cubicBezTo>
                    <a:pt x="917" y="170"/>
                    <a:pt x="917" y="178"/>
                    <a:pt x="917" y="186"/>
                  </a:cubicBezTo>
                  <a:cubicBezTo>
                    <a:pt x="475" y="764"/>
                    <a:pt x="475" y="764"/>
                    <a:pt x="475" y="764"/>
                  </a:cubicBezTo>
                  <a:cubicBezTo>
                    <a:pt x="475" y="772"/>
                    <a:pt x="467" y="772"/>
                    <a:pt x="458" y="772"/>
                  </a:cubicBezTo>
                  <a:close/>
                  <a:moveTo>
                    <a:pt x="51" y="170"/>
                  </a:moveTo>
                  <a:lnTo>
                    <a:pt x="51" y="170"/>
                  </a:lnTo>
                  <a:cubicBezTo>
                    <a:pt x="458" y="713"/>
                    <a:pt x="458" y="713"/>
                    <a:pt x="458" y="713"/>
                  </a:cubicBezTo>
                  <a:cubicBezTo>
                    <a:pt x="866" y="178"/>
                    <a:pt x="866" y="178"/>
                    <a:pt x="866" y="178"/>
                  </a:cubicBezTo>
                  <a:cubicBezTo>
                    <a:pt x="738" y="42"/>
                    <a:pt x="738" y="42"/>
                    <a:pt x="738" y="42"/>
                  </a:cubicBezTo>
                  <a:cubicBezTo>
                    <a:pt x="178" y="42"/>
                    <a:pt x="178" y="42"/>
                    <a:pt x="178" y="42"/>
                  </a:cubicBezTo>
                  <a:lnTo>
                    <a:pt x="51" y="17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990">
              <a:extLst>
                <a:ext uri="{FF2B5EF4-FFF2-40B4-BE49-F238E27FC236}">
                  <a16:creationId xmlns:a16="http://schemas.microsoft.com/office/drawing/2014/main" id="{1CC0B80B-8A5B-435E-8BF3-D97832EB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818" y="4729666"/>
              <a:ext cx="325735" cy="100227"/>
            </a:xfrm>
            <a:custGeom>
              <a:avLst/>
              <a:gdLst>
                <a:gd name="T0" fmla="*/ 61355 w 629"/>
                <a:gd name="T1" fmla="*/ 69494 h 196"/>
                <a:gd name="T2" fmla="*/ 61355 w 629"/>
                <a:gd name="T3" fmla="*/ 69494 h 196"/>
                <a:gd name="T4" fmla="*/ 55219 w 629"/>
                <a:gd name="T5" fmla="*/ 66286 h 196"/>
                <a:gd name="T6" fmla="*/ 3248 w 629"/>
                <a:gd name="T7" fmla="*/ 14968 h 196"/>
                <a:gd name="T8" fmla="*/ 3248 w 629"/>
                <a:gd name="T9" fmla="*/ 2851 h 196"/>
                <a:gd name="T10" fmla="*/ 15519 w 629"/>
                <a:gd name="T11" fmla="*/ 2851 h 196"/>
                <a:gd name="T12" fmla="*/ 61355 w 629"/>
                <a:gd name="T13" fmla="*/ 48467 h 196"/>
                <a:gd name="T14" fmla="*/ 110438 w 629"/>
                <a:gd name="T15" fmla="*/ 2851 h 196"/>
                <a:gd name="T16" fmla="*/ 119461 w 629"/>
                <a:gd name="T17" fmla="*/ 2851 h 196"/>
                <a:gd name="T18" fmla="*/ 165296 w 629"/>
                <a:gd name="T19" fmla="*/ 48467 h 196"/>
                <a:gd name="T20" fmla="*/ 214380 w 629"/>
                <a:gd name="T21" fmla="*/ 2851 h 196"/>
                <a:gd name="T22" fmla="*/ 223764 w 629"/>
                <a:gd name="T23" fmla="*/ 2851 h 196"/>
                <a:gd name="T24" fmla="*/ 223764 w 629"/>
                <a:gd name="T25" fmla="*/ 14968 h 196"/>
                <a:gd name="T26" fmla="*/ 171432 w 629"/>
                <a:gd name="T27" fmla="*/ 66286 h 196"/>
                <a:gd name="T28" fmla="*/ 162409 w 629"/>
                <a:gd name="T29" fmla="*/ 66286 h 196"/>
                <a:gd name="T30" fmla="*/ 113326 w 629"/>
                <a:gd name="T31" fmla="*/ 18175 h 196"/>
                <a:gd name="T32" fmla="*/ 67490 w 629"/>
                <a:gd name="T33" fmla="*/ 66286 h 196"/>
                <a:gd name="T34" fmla="*/ 61355 w 629"/>
                <a:gd name="T35" fmla="*/ 69494 h 1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9" h="196">
                  <a:moveTo>
                    <a:pt x="170" y="195"/>
                  </a:moveTo>
                  <a:lnTo>
                    <a:pt x="170" y="195"/>
                  </a:lnTo>
                  <a:cubicBezTo>
                    <a:pt x="170" y="195"/>
                    <a:pt x="162" y="186"/>
                    <a:pt x="153" y="18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4"/>
                    <a:pt x="0" y="17"/>
                    <a:pt x="9" y="8"/>
                  </a:cubicBezTo>
                  <a:cubicBezTo>
                    <a:pt x="17" y="0"/>
                    <a:pt x="34" y="0"/>
                    <a:pt x="43" y="8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306" y="8"/>
                    <a:pt x="306" y="8"/>
                    <a:pt x="306" y="8"/>
                  </a:cubicBezTo>
                  <a:cubicBezTo>
                    <a:pt x="314" y="0"/>
                    <a:pt x="323" y="0"/>
                    <a:pt x="331" y="8"/>
                  </a:cubicBezTo>
                  <a:cubicBezTo>
                    <a:pt x="458" y="136"/>
                    <a:pt x="458" y="136"/>
                    <a:pt x="458" y="136"/>
                  </a:cubicBezTo>
                  <a:cubicBezTo>
                    <a:pt x="594" y="8"/>
                    <a:pt x="594" y="8"/>
                    <a:pt x="594" y="8"/>
                  </a:cubicBezTo>
                  <a:cubicBezTo>
                    <a:pt x="603" y="0"/>
                    <a:pt x="611" y="0"/>
                    <a:pt x="620" y="8"/>
                  </a:cubicBezTo>
                  <a:cubicBezTo>
                    <a:pt x="628" y="17"/>
                    <a:pt x="628" y="34"/>
                    <a:pt x="620" y="42"/>
                  </a:cubicBezTo>
                  <a:cubicBezTo>
                    <a:pt x="475" y="186"/>
                    <a:pt x="475" y="186"/>
                    <a:pt x="475" y="186"/>
                  </a:cubicBezTo>
                  <a:cubicBezTo>
                    <a:pt x="467" y="195"/>
                    <a:pt x="458" y="195"/>
                    <a:pt x="450" y="186"/>
                  </a:cubicBezTo>
                  <a:cubicBezTo>
                    <a:pt x="314" y="51"/>
                    <a:pt x="314" y="51"/>
                    <a:pt x="314" y="51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78" y="186"/>
                    <a:pt x="178" y="195"/>
                    <a:pt x="170" y="19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991">
              <a:extLst>
                <a:ext uri="{FF2B5EF4-FFF2-40B4-BE49-F238E27FC236}">
                  <a16:creationId xmlns:a16="http://schemas.microsoft.com/office/drawing/2014/main" id="{9946B5AA-028D-448E-BC58-3B621B75D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5710" y="4802558"/>
              <a:ext cx="175396" cy="325735"/>
            </a:xfrm>
            <a:custGeom>
              <a:avLst/>
              <a:gdLst>
                <a:gd name="T0" fmla="*/ 60939 w 341"/>
                <a:gd name="T1" fmla="*/ 226651 h 629"/>
                <a:gd name="T2" fmla="*/ 60939 w 341"/>
                <a:gd name="T3" fmla="*/ 226651 h 629"/>
                <a:gd name="T4" fmla="*/ 54845 w 341"/>
                <a:gd name="T5" fmla="*/ 220516 h 629"/>
                <a:gd name="T6" fmla="*/ 3226 w 341"/>
                <a:gd name="T7" fmla="*/ 12271 h 629"/>
                <a:gd name="T8" fmla="*/ 9320 w 341"/>
                <a:gd name="T9" fmla="*/ 3248 h 629"/>
                <a:gd name="T10" fmla="*/ 18282 w 341"/>
                <a:gd name="T11" fmla="*/ 6135 h 629"/>
                <a:gd name="T12" fmla="*/ 60939 w 341"/>
                <a:gd name="T13" fmla="*/ 186951 h 629"/>
                <a:gd name="T14" fmla="*/ 106823 w 341"/>
                <a:gd name="T15" fmla="*/ 6135 h 629"/>
                <a:gd name="T16" fmla="*/ 115785 w 341"/>
                <a:gd name="T17" fmla="*/ 3248 h 629"/>
                <a:gd name="T18" fmla="*/ 121879 w 341"/>
                <a:gd name="T19" fmla="*/ 12271 h 629"/>
                <a:gd name="T20" fmla="*/ 70259 w 341"/>
                <a:gd name="T21" fmla="*/ 220516 h 629"/>
                <a:gd name="T22" fmla="*/ 60939 w 341"/>
                <a:gd name="T23" fmla="*/ 226651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41" h="629">
                  <a:moveTo>
                    <a:pt x="170" y="628"/>
                  </a:moveTo>
                  <a:lnTo>
                    <a:pt x="170" y="628"/>
                  </a:lnTo>
                  <a:cubicBezTo>
                    <a:pt x="162" y="628"/>
                    <a:pt x="153" y="620"/>
                    <a:pt x="153" y="61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0" y="17"/>
                    <a:pt x="9" y="9"/>
                    <a:pt x="26" y="9"/>
                  </a:cubicBezTo>
                  <a:cubicBezTo>
                    <a:pt x="34" y="0"/>
                    <a:pt x="43" y="9"/>
                    <a:pt x="51" y="17"/>
                  </a:cubicBezTo>
                  <a:cubicBezTo>
                    <a:pt x="170" y="518"/>
                    <a:pt x="170" y="518"/>
                    <a:pt x="170" y="5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9"/>
                    <a:pt x="314" y="0"/>
                    <a:pt x="323" y="9"/>
                  </a:cubicBezTo>
                  <a:cubicBezTo>
                    <a:pt x="331" y="9"/>
                    <a:pt x="340" y="17"/>
                    <a:pt x="340" y="34"/>
                  </a:cubicBezTo>
                  <a:cubicBezTo>
                    <a:pt x="196" y="611"/>
                    <a:pt x="196" y="611"/>
                    <a:pt x="196" y="611"/>
                  </a:cubicBezTo>
                  <a:cubicBezTo>
                    <a:pt x="196" y="620"/>
                    <a:pt x="187" y="628"/>
                    <a:pt x="170" y="62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992">
              <a:extLst>
                <a:ext uri="{FF2B5EF4-FFF2-40B4-BE49-F238E27FC236}">
                  <a16:creationId xmlns:a16="http://schemas.microsoft.com/office/drawing/2014/main" id="{1DF6D6EE-B0D9-4272-82F3-7F1E0F2E9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802558"/>
              <a:ext cx="473798" cy="27335"/>
            </a:xfrm>
            <a:custGeom>
              <a:avLst/>
              <a:gdLst>
                <a:gd name="T0" fmla="*/ 323725 w 918"/>
                <a:gd name="T1" fmla="*/ 18684 h 52"/>
                <a:gd name="T2" fmla="*/ 323725 w 918"/>
                <a:gd name="T3" fmla="*/ 18684 h 52"/>
                <a:gd name="T4" fmla="*/ 323725 w 918"/>
                <a:gd name="T5" fmla="*/ 18684 h 52"/>
                <a:gd name="T6" fmla="*/ 8992 w 918"/>
                <a:gd name="T7" fmla="*/ 15387 h 52"/>
                <a:gd name="T8" fmla="*/ 2878 w 918"/>
                <a:gd name="T9" fmla="*/ 9525 h 52"/>
                <a:gd name="T10" fmla="*/ 8992 w 918"/>
                <a:gd name="T11" fmla="*/ 0 h 52"/>
                <a:gd name="T12" fmla="*/ 8992 w 918"/>
                <a:gd name="T13" fmla="*/ 0 h 52"/>
                <a:gd name="T14" fmla="*/ 323725 w 918"/>
                <a:gd name="T15" fmla="*/ 3297 h 52"/>
                <a:gd name="T16" fmla="*/ 329840 w 918"/>
                <a:gd name="T17" fmla="*/ 9525 h 52"/>
                <a:gd name="T18" fmla="*/ 323725 w 918"/>
                <a:gd name="T19" fmla="*/ 18684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8" h="52">
                  <a:moveTo>
                    <a:pt x="900" y="51"/>
                  </a:moveTo>
                  <a:lnTo>
                    <a:pt x="900" y="51"/>
                  </a:lnTo>
                  <a:cubicBezTo>
                    <a:pt x="25" y="42"/>
                    <a:pt x="25" y="42"/>
                    <a:pt x="25" y="42"/>
                  </a:cubicBezTo>
                  <a:cubicBezTo>
                    <a:pt x="17" y="42"/>
                    <a:pt x="0" y="34"/>
                    <a:pt x="8" y="26"/>
                  </a:cubicBezTo>
                  <a:cubicBezTo>
                    <a:pt x="8" y="17"/>
                    <a:pt x="17" y="0"/>
                    <a:pt x="25" y="0"/>
                  </a:cubicBezTo>
                  <a:cubicBezTo>
                    <a:pt x="900" y="9"/>
                    <a:pt x="900" y="9"/>
                    <a:pt x="900" y="9"/>
                  </a:cubicBezTo>
                  <a:cubicBezTo>
                    <a:pt x="908" y="9"/>
                    <a:pt x="917" y="17"/>
                    <a:pt x="917" y="26"/>
                  </a:cubicBezTo>
                  <a:cubicBezTo>
                    <a:pt x="917" y="42"/>
                    <a:pt x="908" y="51"/>
                    <a:pt x="900" y="51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5" name="Freeform 993">
            <a:extLst>
              <a:ext uri="{FF2B5EF4-FFF2-40B4-BE49-F238E27FC236}">
                <a16:creationId xmlns:a16="http://schemas.microsoft.com/office/drawing/2014/main" id="{0B3951D2-84CB-429A-8375-49DB4AA3A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77169" y="6885206"/>
            <a:ext cx="686077" cy="813628"/>
          </a:xfrm>
          <a:custGeom>
            <a:avLst/>
            <a:gdLst>
              <a:gd name="T0" fmla="*/ 308377 w 900"/>
              <a:gd name="T1" fmla="*/ 385401 h 1070"/>
              <a:gd name="T2" fmla="*/ 308377 w 900"/>
              <a:gd name="T3" fmla="*/ 385401 h 1070"/>
              <a:gd name="T4" fmla="*/ 12234 w 900"/>
              <a:gd name="T5" fmla="*/ 385401 h 1070"/>
              <a:gd name="T6" fmla="*/ 0 w 900"/>
              <a:gd name="T7" fmla="*/ 370259 h 1070"/>
              <a:gd name="T8" fmla="*/ 0 w 900"/>
              <a:gd name="T9" fmla="*/ 15142 h 1070"/>
              <a:gd name="T10" fmla="*/ 12234 w 900"/>
              <a:gd name="T11" fmla="*/ 0 h 1070"/>
              <a:gd name="T12" fmla="*/ 70168 w 900"/>
              <a:gd name="T13" fmla="*/ 0 h 1070"/>
              <a:gd name="T14" fmla="*/ 79163 w 900"/>
              <a:gd name="T15" fmla="*/ 9013 h 1070"/>
              <a:gd name="T16" fmla="*/ 70168 w 900"/>
              <a:gd name="T17" fmla="*/ 18387 h 1070"/>
              <a:gd name="T18" fmla="*/ 18352 w 900"/>
              <a:gd name="T19" fmla="*/ 18387 h 1070"/>
              <a:gd name="T20" fmla="*/ 18352 w 900"/>
              <a:gd name="T21" fmla="*/ 367015 h 1070"/>
              <a:gd name="T22" fmla="*/ 305499 w 900"/>
              <a:gd name="T23" fmla="*/ 367015 h 1070"/>
              <a:gd name="T24" fmla="*/ 305499 w 900"/>
              <a:gd name="T25" fmla="*/ 18387 h 1070"/>
              <a:gd name="T26" fmla="*/ 253323 w 900"/>
              <a:gd name="T27" fmla="*/ 18387 h 1070"/>
              <a:gd name="T28" fmla="*/ 244327 w 900"/>
              <a:gd name="T29" fmla="*/ 9013 h 1070"/>
              <a:gd name="T30" fmla="*/ 253323 w 900"/>
              <a:gd name="T31" fmla="*/ 0 h 1070"/>
              <a:gd name="T32" fmla="*/ 308377 w 900"/>
              <a:gd name="T33" fmla="*/ 0 h 1070"/>
              <a:gd name="T34" fmla="*/ 323490 w 900"/>
              <a:gd name="T35" fmla="*/ 15142 h 1070"/>
              <a:gd name="T36" fmla="*/ 323490 w 900"/>
              <a:gd name="T37" fmla="*/ 370259 h 1070"/>
              <a:gd name="T38" fmla="*/ 308377 w 900"/>
              <a:gd name="T39" fmla="*/ 385401 h 1070"/>
              <a:gd name="T40" fmla="*/ 308377 w 900"/>
              <a:gd name="T41" fmla="*/ 18387 h 1070"/>
              <a:gd name="T42" fmla="*/ 308377 w 900"/>
              <a:gd name="T43" fmla="*/ 18387 h 10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00" h="1070">
                <a:moveTo>
                  <a:pt x="857" y="1069"/>
                </a:moveTo>
                <a:lnTo>
                  <a:pt x="857" y="1069"/>
                </a:lnTo>
                <a:cubicBezTo>
                  <a:pt x="34" y="1069"/>
                  <a:pt x="34" y="1069"/>
                  <a:pt x="34" y="1069"/>
                </a:cubicBezTo>
                <a:cubicBezTo>
                  <a:pt x="17" y="1069"/>
                  <a:pt x="0" y="1052"/>
                  <a:pt x="0" y="102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"/>
                  <a:pt x="17" y="0"/>
                  <a:pt x="34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212" y="0"/>
                  <a:pt x="220" y="17"/>
                  <a:pt x="220" y="25"/>
                </a:cubicBezTo>
                <a:cubicBezTo>
                  <a:pt x="220" y="42"/>
                  <a:pt x="212" y="51"/>
                  <a:pt x="195" y="51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1018"/>
                  <a:pt x="51" y="1018"/>
                  <a:pt x="51" y="1018"/>
                </a:cubicBezTo>
                <a:cubicBezTo>
                  <a:pt x="849" y="1018"/>
                  <a:pt x="849" y="1018"/>
                  <a:pt x="849" y="1018"/>
                </a:cubicBezTo>
                <a:cubicBezTo>
                  <a:pt x="849" y="51"/>
                  <a:pt x="849" y="51"/>
                  <a:pt x="849" y="51"/>
                </a:cubicBezTo>
                <a:cubicBezTo>
                  <a:pt x="704" y="51"/>
                  <a:pt x="704" y="51"/>
                  <a:pt x="704" y="51"/>
                </a:cubicBezTo>
                <a:cubicBezTo>
                  <a:pt x="687" y="51"/>
                  <a:pt x="679" y="42"/>
                  <a:pt x="679" y="25"/>
                </a:cubicBezTo>
                <a:cubicBezTo>
                  <a:pt x="679" y="17"/>
                  <a:pt x="687" y="0"/>
                  <a:pt x="704" y="0"/>
                </a:cubicBezTo>
                <a:cubicBezTo>
                  <a:pt x="857" y="0"/>
                  <a:pt x="857" y="0"/>
                  <a:pt x="857" y="0"/>
                </a:cubicBezTo>
                <a:cubicBezTo>
                  <a:pt x="882" y="0"/>
                  <a:pt x="899" y="17"/>
                  <a:pt x="899" y="42"/>
                </a:cubicBezTo>
                <a:cubicBezTo>
                  <a:pt x="899" y="1027"/>
                  <a:pt x="899" y="1027"/>
                  <a:pt x="899" y="1027"/>
                </a:cubicBezTo>
                <a:cubicBezTo>
                  <a:pt x="899" y="1052"/>
                  <a:pt x="882" y="1069"/>
                  <a:pt x="857" y="1069"/>
                </a:cubicBezTo>
                <a:close/>
                <a:moveTo>
                  <a:pt x="857" y="51"/>
                </a:moveTo>
                <a:lnTo>
                  <a:pt x="857" y="51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6" name="Freeform 994">
            <a:extLst>
              <a:ext uri="{FF2B5EF4-FFF2-40B4-BE49-F238E27FC236}">
                <a16:creationId xmlns:a16="http://schemas.microsoft.com/office/drawing/2014/main" id="{ACBDEDE4-BD17-4D3A-A06F-5E7E84316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079405"/>
            <a:ext cx="137887" cy="137278"/>
          </a:xfrm>
          <a:custGeom>
            <a:avLst/>
            <a:gdLst>
              <a:gd name="T0" fmla="*/ 55324 w 180"/>
              <a:gd name="T1" fmla="*/ 64723 h 179"/>
              <a:gd name="T2" fmla="*/ 55324 w 180"/>
              <a:gd name="T3" fmla="*/ 64723 h 179"/>
              <a:gd name="T4" fmla="*/ 9401 w 180"/>
              <a:gd name="T5" fmla="*/ 64723 h 179"/>
              <a:gd name="T6" fmla="*/ 0 w 180"/>
              <a:gd name="T7" fmla="*/ 55269 h 179"/>
              <a:gd name="T8" fmla="*/ 0 w 180"/>
              <a:gd name="T9" fmla="*/ 9090 h 179"/>
              <a:gd name="T10" fmla="*/ 9401 w 180"/>
              <a:gd name="T11" fmla="*/ 0 h 179"/>
              <a:gd name="T12" fmla="*/ 55324 w 180"/>
              <a:gd name="T13" fmla="*/ 0 h 179"/>
              <a:gd name="T14" fmla="*/ 64725 w 180"/>
              <a:gd name="T15" fmla="*/ 9090 h 179"/>
              <a:gd name="T16" fmla="*/ 64725 w 180"/>
              <a:gd name="T17" fmla="*/ 55269 h 179"/>
              <a:gd name="T18" fmla="*/ 55324 w 180"/>
              <a:gd name="T19" fmla="*/ 64723 h 179"/>
              <a:gd name="T20" fmla="*/ 18441 w 180"/>
              <a:gd name="T21" fmla="*/ 46179 h 179"/>
              <a:gd name="T22" fmla="*/ 18441 w 180"/>
              <a:gd name="T23" fmla="*/ 46179 h 179"/>
              <a:gd name="T24" fmla="*/ 46284 w 180"/>
              <a:gd name="T25" fmla="*/ 46179 h 179"/>
              <a:gd name="T26" fmla="*/ 46284 w 180"/>
              <a:gd name="T27" fmla="*/ 18181 h 179"/>
              <a:gd name="T28" fmla="*/ 18441 w 180"/>
              <a:gd name="T29" fmla="*/ 18181 h 179"/>
              <a:gd name="T30" fmla="*/ 18441 w 180"/>
              <a:gd name="T31" fmla="*/ 46179 h 1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9">
                <a:moveTo>
                  <a:pt x="153" y="178"/>
                </a:moveTo>
                <a:lnTo>
                  <a:pt x="153" y="178"/>
                </a:lnTo>
                <a:cubicBezTo>
                  <a:pt x="26" y="178"/>
                  <a:pt x="26" y="178"/>
                  <a:pt x="26" y="178"/>
                </a:cubicBezTo>
                <a:cubicBezTo>
                  <a:pt x="9" y="178"/>
                  <a:pt x="0" y="161"/>
                  <a:pt x="0" y="1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8"/>
                  <a:pt x="179" y="25"/>
                </a:cubicBezTo>
                <a:cubicBezTo>
                  <a:pt x="179" y="152"/>
                  <a:pt x="179" y="152"/>
                  <a:pt x="179" y="152"/>
                </a:cubicBezTo>
                <a:cubicBezTo>
                  <a:pt x="179" y="161"/>
                  <a:pt x="162" y="178"/>
                  <a:pt x="153" y="178"/>
                </a:cubicBezTo>
                <a:close/>
                <a:moveTo>
                  <a:pt x="51" y="127"/>
                </a:moveTo>
                <a:lnTo>
                  <a:pt x="51" y="127"/>
                </a:lnTo>
                <a:cubicBezTo>
                  <a:pt x="128" y="127"/>
                  <a:pt x="128" y="127"/>
                  <a:pt x="128" y="127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51" y="50"/>
                  <a:pt x="51" y="50"/>
                  <a:pt x="51" y="50"/>
                </a:cubicBezTo>
                <a:lnTo>
                  <a:pt x="51" y="127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7" name="Freeform 995">
            <a:extLst>
              <a:ext uri="{FF2B5EF4-FFF2-40B4-BE49-F238E27FC236}">
                <a16:creationId xmlns:a16="http://schemas.microsoft.com/office/drawing/2014/main" id="{7C4C8CB3-1114-430B-B23C-F50D560A6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273604"/>
            <a:ext cx="137887" cy="130582"/>
          </a:xfrm>
          <a:custGeom>
            <a:avLst/>
            <a:gdLst>
              <a:gd name="T0" fmla="*/ 55324 w 180"/>
              <a:gd name="T1" fmla="*/ 61550 h 171"/>
              <a:gd name="T2" fmla="*/ 55324 w 180"/>
              <a:gd name="T3" fmla="*/ 61550 h 171"/>
              <a:gd name="T4" fmla="*/ 9401 w 180"/>
              <a:gd name="T5" fmla="*/ 61550 h 171"/>
              <a:gd name="T6" fmla="*/ 0 w 180"/>
              <a:gd name="T7" fmla="*/ 52136 h 171"/>
              <a:gd name="T8" fmla="*/ 0 w 180"/>
              <a:gd name="T9" fmla="*/ 9414 h 171"/>
              <a:gd name="T10" fmla="*/ 9401 w 180"/>
              <a:gd name="T11" fmla="*/ 0 h 171"/>
              <a:gd name="T12" fmla="*/ 55324 w 180"/>
              <a:gd name="T13" fmla="*/ 0 h 171"/>
              <a:gd name="T14" fmla="*/ 64725 w 180"/>
              <a:gd name="T15" fmla="*/ 9414 h 171"/>
              <a:gd name="T16" fmla="*/ 64725 w 180"/>
              <a:gd name="T17" fmla="*/ 52136 h 171"/>
              <a:gd name="T18" fmla="*/ 55324 w 180"/>
              <a:gd name="T19" fmla="*/ 61550 h 171"/>
              <a:gd name="T20" fmla="*/ 18441 w 180"/>
              <a:gd name="T21" fmla="*/ 43085 h 171"/>
              <a:gd name="T22" fmla="*/ 18441 w 180"/>
              <a:gd name="T23" fmla="*/ 43085 h 171"/>
              <a:gd name="T24" fmla="*/ 46284 w 180"/>
              <a:gd name="T25" fmla="*/ 43085 h 171"/>
              <a:gd name="T26" fmla="*/ 46284 w 180"/>
              <a:gd name="T27" fmla="*/ 15206 h 171"/>
              <a:gd name="T28" fmla="*/ 18441 w 180"/>
              <a:gd name="T29" fmla="*/ 15206 h 171"/>
              <a:gd name="T30" fmla="*/ 18441 w 180"/>
              <a:gd name="T31" fmla="*/ 43085 h 1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1">
                <a:moveTo>
                  <a:pt x="153" y="170"/>
                </a:moveTo>
                <a:lnTo>
                  <a:pt x="153" y="170"/>
                </a:lnTo>
                <a:cubicBezTo>
                  <a:pt x="26" y="170"/>
                  <a:pt x="26" y="170"/>
                  <a:pt x="26" y="170"/>
                </a:cubicBezTo>
                <a:cubicBezTo>
                  <a:pt x="9" y="170"/>
                  <a:pt x="0" y="161"/>
                  <a:pt x="0" y="144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9"/>
                  <a:pt x="179" y="26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9" y="161"/>
                  <a:pt x="162" y="170"/>
                  <a:pt x="153" y="170"/>
                </a:cubicBezTo>
                <a:close/>
                <a:moveTo>
                  <a:pt x="51" y="119"/>
                </a:moveTo>
                <a:lnTo>
                  <a:pt x="51" y="119"/>
                </a:lnTo>
                <a:cubicBezTo>
                  <a:pt x="128" y="119"/>
                  <a:pt x="128" y="119"/>
                  <a:pt x="128" y="119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1" y="42"/>
                  <a:pt x="51" y="42"/>
                  <a:pt x="51" y="42"/>
                </a:cubicBezTo>
                <a:lnTo>
                  <a:pt x="51" y="11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8" name="Freeform 996">
            <a:extLst>
              <a:ext uri="{FF2B5EF4-FFF2-40B4-BE49-F238E27FC236}">
                <a16:creationId xmlns:a16="http://schemas.microsoft.com/office/drawing/2014/main" id="{8588F888-9A9D-41CD-8E35-D3D1D38798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461106"/>
            <a:ext cx="137887" cy="137278"/>
          </a:xfrm>
          <a:custGeom>
            <a:avLst/>
            <a:gdLst>
              <a:gd name="T0" fmla="*/ 55324 w 180"/>
              <a:gd name="T1" fmla="*/ 64725 h 180"/>
              <a:gd name="T2" fmla="*/ 55324 w 180"/>
              <a:gd name="T3" fmla="*/ 64725 h 180"/>
              <a:gd name="T4" fmla="*/ 9401 w 180"/>
              <a:gd name="T5" fmla="*/ 64725 h 180"/>
              <a:gd name="T6" fmla="*/ 0 w 180"/>
              <a:gd name="T7" fmla="*/ 55324 h 180"/>
              <a:gd name="T8" fmla="*/ 0 w 180"/>
              <a:gd name="T9" fmla="*/ 9401 h 180"/>
              <a:gd name="T10" fmla="*/ 9401 w 180"/>
              <a:gd name="T11" fmla="*/ 0 h 180"/>
              <a:gd name="T12" fmla="*/ 55324 w 180"/>
              <a:gd name="T13" fmla="*/ 0 h 180"/>
              <a:gd name="T14" fmla="*/ 64725 w 180"/>
              <a:gd name="T15" fmla="*/ 9401 h 180"/>
              <a:gd name="T16" fmla="*/ 64725 w 180"/>
              <a:gd name="T17" fmla="*/ 55324 h 180"/>
              <a:gd name="T18" fmla="*/ 55324 w 180"/>
              <a:gd name="T19" fmla="*/ 64725 h 180"/>
              <a:gd name="T20" fmla="*/ 18441 w 180"/>
              <a:gd name="T21" fmla="*/ 46284 h 180"/>
              <a:gd name="T22" fmla="*/ 18441 w 180"/>
              <a:gd name="T23" fmla="*/ 46284 h 180"/>
              <a:gd name="T24" fmla="*/ 46284 w 180"/>
              <a:gd name="T25" fmla="*/ 46284 h 180"/>
              <a:gd name="T26" fmla="*/ 46284 w 180"/>
              <a:gd name="T27" fmla="*/ 18441 h 180"/>
              <a:gd name="T28" fmla="*/ 18441 w 180"/>
              <a:gd name="T29" fmla="*/ 18441 h 180"/>
              <a:gd name="T30" fmla="*/ 18441 w 180"/>
              <a:gd name="T31" fmla="*/ 46284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80">
                <a:moveTo>
                  <a:pt x="153" y="179"/>
                </a:moveTo>
                <a:lnTo>
                  <a:pt x="153" y="179"/>
                </a:lnTo>
                <a:cubicBezTo>
                  <a:pt x="26" y="179"/>
                  <a:pt x="26" y="179"/>
                  <a:pt x="26" y="179"/>
                </a:cubicBezTo>
                <a:cubicBezTo>
                  <a:pt x="9" y="179"/>
                  <a:pt x="0" y="170"/>
                  <a:pt x="0" y="1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17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17"/>
                  <a:pt x="179" y="26"/>
                </a:cubicBezTo>
                <a:cubicBezTo>
                  <a:pt x="179" y="153"/>
                  <a:pt x="179" y="153"/>
                  <a:pt x="179" y="153"/>
                </a:cubicBezTo>
                <a:cubicBezTo>
                  <a:pt x="179" y="170"/>
                  <a:pt x="162" y="179"/>
                  <a:pt x="153" y="179"/>
                </a:cubicBezTo>
                <a:close/>
                <a:moveTo>
                  <a:pt x="51" y="128"/>
                </a:moveTo>
                <a:lnTo>
                  <a:pt x="51" y="128"/>
                </a:lnTo>
                <a:cubicBezTo>
                  <a:pt x="128" y="128"/>
                  <a:pt x="128" y="128"/>
                  <a:pt x="128" y="128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51" y="51"/>
                  <a:pt x="51" y="51"/>
                  <a:pt x="51" y="51"/>
                </a:cubicBezTo>
                <a:lnTo>
                  <a:pt x="51" y="128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9" name="Freeform 997">
            <a:extLst>
              <a:ext uri="{FF2B5EF4-FFF2-40B4-BE49-F238E27FC236}">
                <a16:creationId xmlns:a16="http://schemas.microsoft.com/office/drawing/2014/main" id="{BF5CA5D1-0929-444B-B010-E4E723B3FF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126281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159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159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42"/>
                  <a:pt x="0" y="25"/>
                </a:cubicBezTo>
                <a:cubicBezTo>
                  <a:pt x="0" y="17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17"/>
                  <a:pt x="297" y="25"/>
                </a:cubicBezTo>
                <a:cubicBezTo>
                  <a:pt x="297" y="42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0" name="Freeform 998">
            <a:extLst>
              <a:ext uri="{FF2B5EF4-FFF2-40B4-BE49-F238E27FC236}">
                <a16:creationId xmlns:a16="http://schemas.microsoft.com/office/drawing/2014/main" id="{3CE96516-AB9D-4D6B-8784-EC569722DF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317131"/>
            <a:ext cx="228693" cy="40180"/>
          </a:xfrm>
          <a:custGeom>
            <a:avLst/>
            <a:gdLst>
              <a:gd name="T0" fmla="*/ 101430 w 298"/>
              <a:gd name="T1" fmla="*/ 18676 h 51"/>
              <a:gd name="T2" fmla="*/ 101430 w 298"/>
              <a:gd name="T3" fmla="*/ 18676 h 51"/>
              <a:gd name="T4" fmla="*/ 9418 w 298"/>
              <a:gd name="T5" fmla="*/ 18676 h 51"/>
              <a:gd name="T6" fmla="*/ 0 w 298"/>
              <a:gd name="T7" fmla="*/ 9338 h 51"/>
              <a:gd name="T8" fmla="*/ 9418 w 298"/>
              <a:gd name="T9" fmla="*/ 0 h 51"/>
              <a:gd name="T10" fmla="*/ 101430 w 298"/>
              <a:gd name="T11" fmla="*/ 0 h 51"/>
              <a:gd name="T12" fmla="*/ 107588 w 298"/>
              <a:gd name="T13" fmla="*/ 9338 h 51"/>
              <a:gd name="T14" fmla="*/ 101430 w 298"/>
              <a:gd name="T15" fmla="*/ 18676 h 5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1">
                <a:moveTo>
                  <a:pt x="280" y="50"/>
                </a:moveTo>
                <a:lnTo>
                  <a:pt x="280" y="50"/>
                </a:lnTo>
                <a:cubicBezTo>
                  <a:pt x="26" y="50"/>
                  <a:pt x="26" y="50"/>
                  <a:pt x="26" y="50"/>
                </a:cubicBezTo>
                <a:cubicBezTo>
                  <a:pt x="9" y="50"/>
                  <a:pt x="0" y="42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8"/>
                  <a:pt x="297" y="25"/>
                </a:cubicBezTo>
                <a:cubicBezTo>
                  <a:pt x="297" y="42"/>
                  <a:pt x="289" y="50"/>
                  <a:pt x="280" y="50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1" name="Freeform 999">
            <a:extLst>
              <a:ext uri="{FF2B5EF4-FFF2-40B4-BE49-F238E27FC236}">
                <a16:creationId xmlns:a16="http://schemas.microsoft.com/office/drawing/2014/main" id="{FD353D14-0162-4434-81F9-8EFBDDB8F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511330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525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525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34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9"/>
                  <a:pt x="297" y="26"/>
                </a:cubicBezTo>
                <a:cubicBezTo>
                  <a:pt x="297" y="34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2" name="Freeform 1000">
            <a:extLst>
              <a:ext uri="{FF2B5EF4-FFF2-40B4-BE49-F238E27FC236}">
                <a16:creationId xmlns:a16="http://schemas.microsoft.com/office/drawing/2014/main" id="{014ACAB3-6894-47BD-BB7D-0B110CDC0E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778" y="6794801"/>
            <a:ext cx="326222" cy="214289"/>
          </a:xfrm>
          <a:custGeom>
            <a:avLst/>
            <a:gdLst>
              <a:gd name="T0" fmla="*/ 141335 w 426"/>
              <a:gd name="T1" fmla="*/ 101238 h 281"/>
              <a:gd name="T2" fmla="*/ 141335 w 426"/>
              <a:gd name="T3" fmla="*/ 101238 h 281"/>
              <a:gd name="T4" fmla="*/ 9398 w 426"/>
              <a:gd name="T5" fmla="*/ 101238 h 281"/>
              <a:gd name="T6" fmla="*/ 0 w 426"/>
              <a:gd name="T7" fmla="*/ 88945 h 281"/>
              <a:gd name="T8" fmla="*/ 0 w 426"/>
              <a:gd name="T9" fmla="*/ 52065 h 281"/>
              <a:gd name="T10" fmla="*/ 0 w 426"/>
              <a:gd name="T11" fmla="*/ 49173 h 281"/>
              <a:gd name="T12" fmla="*/ 30725 w 426"/>
              <a:gd name="T13" fmla="*/ 12293 h 281"/>
              <a:gd name="T14" fmla="*/ 76994 w 426"/>
              <a:gd name="T15" fmla="*/ 0 h 281"/>
              <a:gd name="T16" fmla="*/ 122900 w 426"/>
              <a:gd name="T17" fmla="*/ 12293 h 281"/>
              <a:gd name="T18" fmla="*/ 150372 w 426"/>
              <a:gd name="T19" fmla="*/ 49173 h 281"/>
              <a:gd name="T20" fmla="*/ 153626 w 426"/>
              <a:gd name="T21" fmla="*/ 52065 h 281"/>
              <a:gd name="T22" fmla="*/ 153626 w 426"/>
              <a:gd name="T23" fmla="*/ 88945 h 281"/>
              <a:gd name="T24" fmla="*/ 141335 w 426"/>
              <a:gd name="T25" fmla="*/ 101238 h 281"/>
              <a:gd name="T26" fmla="*/ 18435 w 426"/>
              <a:gd name="T27" fmla="*/ 82799 h 281"/>
              <a:gd name="T28" fmla="*/ 18435 w 426"/>
              <a:gd name="T29" fmla="*/ 82799 h 281"/>
              <a:gd name="T30" fmla="*/ 135190 w 426"/>
              <a:gd name="T31" fmla="*/ 82799 h 281"/>
              <a:gd name="T32" fmla="*/ 135190 w 426"/>
              <a:gd name="T33" fmla="*/ 55320 h 281"/>
              <a:gd name="T34" fmla="*/ 113502 w 426"/>
              <a:gd name="T35" fmla="*/ 27841 h 281"/>
              <a:gd name="T36" fmla="*/ 76994 w 426"/>
              <a:gd name="T37" fmla="*/ 15547 h 281"/>
              <a:gd name="T38" fmla="*/ 40123 w 426"/>
              <a:gd name="T39" fmla="*/ 27841 h 281"/>
              <a:gd name="T40" fmla="*/ 18435 w 426"/>
              <a:gd name="T41" fmla="*/ 55320 h 281"/>
              <a:gd name="T42" fmla="*/ 18435 w 426"/>
              <a:gd name="T43" fmla="*/ 82799 h 2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26" h="281">
                <a:moveTo>
                  <a:pt x="391" y="280"/>
                </a:moveTo>
                <a:lnTo>
                  <a:pt x="391" y="280"/>
                </a:lnTo>
                <a:cubicBezTo>
                  <a:pt x="26" y="280"/>
                  <a:pt x="26" y="280"/>
                  <a:pt x="26" y="280"/>
                </a:cubicBezTo>
                <a:cubicBezTo>
                  <a:pt x="17" y="280"/>
                  <a:pt x="0" y="263"/>
                  <a:pt x="0" y="246"/>
                </a:cubicBezTo>
                <a:cubicBezTo>
                  <a:pt x="0" y="144"/>
                  <a:pt x="0" y="144"/>
                  <a:pt x="0" y="144"/>
                </a:cubicBezTo>
                <a:lnTo>
                  <a:pt x="0" y="136"/>
                </a:lnTo>
                <a:cubicBezTo>
                  <a:pt x="17" y="93"/>
                  <a:pt x="43" y="59"/>
                  <a:pt x="85" y="34"/>
                </a:cubicBezTo>
                <a:cubicBezTo>
                  <a:pt x="119" y="9"/>
                  <a:pt x="162" y="0"/>
                  <a:pt x="213" y="0"/>
                </a:cubicBezTo>
                <a:cubicBezTo>
                  <a:pt x="255" y="0"/>
                  <a:pt x="298" y="9"/>
                  <a:pt x="340" y="34"/>
                </a:cubicBezTo>
                <a:cubicBezTo>
                  <a:pt x="374" y="59"/>
                  <a:pt x="408" y="93"/>
                  <a:pt x="416" y="136"/>
                </a:cubicBezTo>
                <a:cubicBezTo>
                  <a:pt x="425" y="136"/>
                  <a:pt x="425" y="144"/>
                  <a:pt x="425" y="144"/>
                </a:cubicBezTo>
                <a:cubicBezTo>
                  <a:pt x="425" y="246"/>
                  <a:pt x="425" y="246"/>
                  <a:pt x="425" y="246"/>
                </a:cubicBezTo>
                <a:cubicBezTo>
                  <a:pt x="425" y="263"/>
                  <a:pt x="408" y="280"/>
                  <a:pt x="391" y="280"/>
                </a:cubicBezTo>
                <a:close/>
                <a:moveTo>
                  <a:pt x="51" y="229"/>
                </a:moveTo>
                <a:lnTo>
                  <a:pt x="51" y="229"/>
                </a:lnTo>
                <a:cubicBezTo>
                  <a:pt x="374" y="229"/>
                  <a:pt x="374" y="229"/>
                  <a:pt x="374" y="229"/>
                </a:cubicBezTo>
                <a:cubicBezTo>
                  <a:pt x="374" y="153"/>
                  <a:pt x="374" y="153"/>
                  <a:pt x="374" y="153"/>
                </a:cubicBezTo>
                <a:cubicBezTo>
                  <a:pt x="357" y="119"/>
                  <a:pt x="340" y="93"/>
                  <a:pt x="314" y="77"/>
                </a:cubicBezTo>
                <a:cubicBezTo>
                  <a:pt x="280" y="59"/>
                  <a:pt x="246" y="43"/>
                  <a:pt x="213" y="43"/>
                </a:cubicBezTo>
                <a:cubicBezTo>
                  <a:pt x="170" y="43"/>
                  <a:pt x="136" y="59"/>
                  <a:pt x="111" y="77"/>
                </a:cubicBezTo>
                <a:cubicBezTo>
                  <a:pt x="85" y="93"/>
                  <a:pt x="60" y="119"/>
                  <a:pt x="51" y="153"/>
                </a:cubicBezTo>
                <a:lnTo>
                  <a:pt x="51" y="22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  <a:latin typeface="Trebuchet"/>
            </a:endParaRPr>
          </a:p>
        </p:txBody>
      </p:sp>
      <p:sp>
        <p:nvSpPr>
          <p:cNvPr id="403" name="CuadroTexto 395">
            <a:extLst>
              <a:ext uri="{FF2B5EF4-FFF2-40B4-BE49-F238E27FC236}">
                <a16:creationId xmlns:a16="http://schemas.microsoft.com/office/drawing/2014/main" id="{79B8F1CF-7E8A-4FE0-8BAF-4760D6184066}"/>
              </a:ext>
            </a:extLst>
          </p:cNvPr>
          <p:cNvSpPr txBox="1"/>
          <p:nvPr userDrawn="1"/>
        </p:nvSpPr>
        <p:spPr>
          <a:xfrm>
            <a:off x="7562158" y="2766582"/>
            <a:ext cx="2249590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esquisa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e </a:t>
            </a:r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Satisfaç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4" name="CuadroTexto 395">
            <a:extLst>
              <a:ext uri="{FF2B5EF4-FFF2-40B4-BE49-F238E27FC236}">
                <a16:creationId xmlns:a16="http://schemas.microsoft.com/office/drawing/2014/main" id="{A1BCD024-7372-46CF-814C-8BC0569CE1E8}"/>
              </a:ext>
            </a:extLst>
          </p:cNvPr>
          <p:cNvSpPr txBox="1"/>
          <p:nvPr userDrawn="1"/>
        </p:nvSpPr>
        <p:spPr>
          <a:xfrm>
            <a:off x="10775350" y="2767122"/>
            <a:ext cx="1758930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Relatório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Final</a:t>
            </a:r>
          </a:p>
        </p:txBody>
      </p:sp>
      <p:sp>
        <p:nvSpPr>
          <p:cNvPr id="405" name="CuadroTexto 395">
            <a:extLst>
              <a:ext uri="{FF2B5EF4-FFF2-40B4-BE49-F238E27FC236}">
                <a16:creationId xmlns:a16="http://schemas.microsoft.com/office/drawing/2014/main" id="{95DDD58E-A317-4E91-8E51-185D92974733}"/>
              </a:ext>
            </a:extLst>
          </p:cNvPr>
          <p:cNvSpPr txBox="1"/>
          <p:nvPr userDrawn="1"/>
        </p:nvSpPr>
        <p:spPr>
          <a:xfrm>
            <a:off x="12987438" y="2767122"/>
            <a:ext cx="3081905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companhamento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as </a:t>
            </a:r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ções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7" name="CuadroTexto 395">
            <a:extLst>
              <a:ext uri="{FF2B5EF4-FFF2-40B4-BE49-F238E27FC236}">
                <a16:creationId xmlns:a16="http://schemas.microsoft.com/office/drawing/2014/main" id="{F851D7B0-C06E-4256-9B76-A3B7965A7FC7}"/>
              </a:ext>
            </a:extLst>
          </p:cNvPr>
          <p:cNvSpPr txBox="1"/>
          <p:nvPr/>
        </p:nvSpPr>
        <p:spPr>
          <a:xfrm>
            <a:off x="7481526" y="5378484"/>
            <a:ext cx="2420158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presentaç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0" name="CuadroTexto 395">
            <a:extLst>
              <a:ext uri="{FF2B5EF4-FFF2-40B4-BE49-F238E27FC236}">
                <a16:creationId xmlns:a16="http://schemas.microsoft.com/office/drawing/2014/main" id="{E0947B8F-13EC-4AEE-B215-504608D02E3A}"/>
              </a:ext>
            </a:extLst>
          </p:cNvPr>
          <p:cNvSpPr txBox="1"/>
          <p:nvPr/>
        </p:nvSpPr>
        <p:spPr>
          <a:xfrm>
            <a:off x="10550342" y="5378484"/>
            <a:ext cx="2128245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Conclus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3" name="CuadroTexto 395">
            <a:extLst>
              <a:ext uri="{FF2B5EF4-FFF2-40B4-BE49-F238E27FC236}">
                <a16:creationId xmlns:a16="http://schemas.microsoft.com/office/drawing/2014/main" id="{2441EB75-C4C9-46E4-BF8E-21D9963ECEC2}"/>
              </a:ext>
            </a:extLst>
          </p:cNvPr>
          <p:cNvSpPr txBox="1"/>
          <p:nvPr/>
        </p:nvSpPr>
        <p:spPr>
          <a:xfrm>
            <a:off x="13555809" y="5359816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Testes</a:t>
            </a:r>
          </a:p>
        </p:txBody>
      </p:sp>
      <p:sp>
        <p:nvSpPr>
          <p:cNvPr id="416" name="CuadroTexto 395">
            <a:extLst>
              <a:ext uri="{FF2B5EF4-FFF2-40B4-BE49-F238E27FC236}">
                <a16:creationId xmlns:a16="http://schemas.microsoft.com/office/drawing/2014/main" id="{B6B8AAAE-4FEC-4406-B6DD-3789C7298F2F}"/>
              </a:ext>
            </a:extLst>
          </p:cNvPr>
          <p:cNvSpPr txBox="1"/>
          <p:nvPr/>
        </p:nvSpPr>
        <p:spPr>
          <a:xfrm>
            <a:off x="7767739" y="8028248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o</a:t>
            </a:r>
          </a:p>
        </p:txBody>
      </p:sp>
      <p:sp>
        <p:nvSpPr>
          <p:cNvPr id="419" name="CuadroTexto 395">
            <a:extLst>
              <a:ext uri="{FF2B5EF4-FFF2-40B4-BE49-F238E27FC236}">
                <a16:creationId xmlns:a16="http://schemas.microsoft.com/office/drawing/2014/main" id="{7CE93F1D-6021-42E6-AD64-E80F88023975}"/>
              </a:ext>
            </a:extLst>
          </p:cNvPr>
          <p:cNvSpPr txBox="1"/>
          <p:nvPr/>
        </p:nvSpPr>
        <p:spPr>
          <a:xfrm>
            <a:off x="10260125" y="8028248"/>
            <a:ext cx="2714377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ejament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2" name="CuadroTexto 395">
            <a:extLst>
              <a:ext uri="{FF2B5EF4-FFF2-40B4-BE49-F238E27FC236}">
                <a16:creationId xmlns:a16="http://schemas.microsoft.com/office/drawing/2014/main" id="{4D8A3DDB-871E-42BC-912B-B301C2332C60}"/>
              </a:ext>
            </a:extLst>
          </p:cNvPr>
          <p:cNvSpPr txBox="1"/>
          <p:nvPr/>
        </p:nvSpPr>
        <p:spPr>
          <a:xfrm>
            <a:off x="13630813" y="8028248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bertura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4" name="Freeform 747">
            <a:extLst>
              <a:ext uri="{FF2B5EF4-FFF2-40B4-BE49-F238E27FC236}">
                <a16:creationId xmlns:a16="http://schemas.microsoft.com/office/drawing/2014/main" id="{4783C306-DCB0-42E7-B793-C48B008FB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25026" y="6647479"/>
            <a:ext cx="1197273" cy="1191982"/>
          </a:xfrm>
          <a:custGeom>
            <a:avLst/>
            <a:gdLst>
              <a:gd name="T0" fmla="*/ 510075 w 1570"/>
              <a:gd name="T1" fmla="*/ 564790 h 1571"/>
              <a:gd name="T2" fmla="*/ 510075 w 1570"/>
              <a:gd name="T3" fmla="*/ 564790 h 1571"/>
              <a:gd name="T4" fmla="*/ 52195 w 1570"/>
              <a:gd name="T5" fmla="*/ 564790 h 1571"/>
              <a:gd name="T6" fmla="*/ 0 w 1570"/>
              <a:gd name="T7" fmla="*/ 512988 h 1571"/>
              <a:gd name="T8" fmla="*/ 0 w 1570"/>
              <a:gd name="T9" fmla="*/ 55040 h 1571"/>
              <a:gd name="T10" fmla="*/ 52195 w 1570"/>
              <a:gd name="T11" fmla="*/ 0 h 1571"/>
              <a:gd name="T12" fmla="*/ 510075 w 1570"/>
              <a:gd name="T13" fmla="*/ 0 h 1571"/>
              <a:gd name="T14" fmla="*/ 564790 w 1570"/>
              <a:gd name="T15" fmla="*/ 55040 h 1571"/>
              <a:gd name="T16" fmla="*/ 564790 w 1570"/>
              <a:gd name="T17" fmla="*/ 512988 h 1571"/>
              <a:gd name="T18" fmla="*/ 510075 w 157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1">
                <a:moveTo>
                  <a:pt x="1417" y="1570"/>
                </a:moveTo>
                <a:lnTo>
                  <a:pt x="1417" y="1570"/>
                </a:lnTo>
                <a:cubicBezTo>
                  <a:pt x="145" y="1570"/>
                  <a:pt x="145" y="1570"/>
                  <a:pt x="145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8"/>
                  <a:pt x="1569" y="153"/>
                </a:cubicBezTo>
                <a:cubicBezTo>
                  <a:pt x="1569" y="1426"/>
                  <a:pt x="1569" y="1426"/>
                  <a:pt x="1569" y="1426"/>
                </a:cubicBezTo>
                <a:cubicBezTo>
                  <a:pt x="1569" y="1502"/>
                  <a:pt x="1502" y="1570"/>
                  <a:pt x="1417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02B4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5" name="Gráfico 424" descr="Marca de verificação do selo com preenchimento sólido">
            <a:extLst>
              <a:ext uri="{FF2B5EF4-FFF2-40B4-BE49-F238E27FC236}">
                <a16:creationId xmlns:a16="http://schemas.microsoft.com/office/drawing/2014/main" id="{E80A37E3-2EE5-4667-96F5-D5EFE57D0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8890" y="6799451"/>
            <a:ext cx="939063" cy="934913"/>
          </a:xfrm>
          <a:prstGeom prst="rect">
            <a:avLst/>
          </a:prstGeom>
        </p:spPr>
      </p:pic>
      <p:sp>
        <p:nvSpPr>
          <p:cNvPr id="426" name="Freeform 746">
            <a:extLst>
              <a:ext uri="{FF2B5EF4-FFF2-40B4-BE49-F238E27FC236}">
                <a16:creationId xmlns:a16="http://schemas.microsoft.com/office/drawing/2014/main" id="{66F9DD58-260A-4B08-804F-9138455CA9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836506" y="4059269"/>
            <a:ext cx="1197273" cy="1198679"/>
          </a:xfrm>
          <a:custGeom>
            <a:avLst/>
            <a:gdLst>
              <a:gd name="T0" fmla="*/ 512988 w 1571"/>
              <a:gd name="T1" fmla="*/ 567965 h 1578"/>
              <a:gd name="T2" fmla="*/ 512988 w 1571"/>
              <a:gd name="T3" fmla="*/ 567965 h 1578"/>
              <a:gd name="T4" fmla="*/ 55040 w 1571"/>
              <a:gd name="T5" fmla="*/ 567965 h 1578"/>
              <a:gd name="T6" fmla="*/ 0 w 1571"/>
              <a:gd name="T7" fmla="*/ 512861 h 1578"/>
              <a:gd name="T8" fmla="*/ 0 w 1571"/>
              <a:gd name="T9" fmla="*/ 54744 h 1578"/>
              <a:gd name="T10" fmla="*/ 55040 w 1571"/>
              <a:gd name="T11" fmla="*/ 0 h 1578"/>
              <a:gd name="T12" fmla="*/ 512988 w 1571"/>
              <a:gd name="T13" fmla="*/ 0 h 1578"/>
              <a:gd name="T14" fmla="*/ 564790 w 1571"/>
              <a:gd name="T15" fmla="*/ 54744 h 1578"/>
              <a:gd name="T16" fmla="*/ 564790 w 1571"/>
              <a:gd name="T17" fmla="*/ 512861 h 1578"/>
              <a:gd name="T18" fmla="*/ 512988 w 1571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7"/>
                  <a:pt x="1570" y="152"/>
                </a:cubicBezTo>
                <a:cubicBezTo>
                  <a:pt x="1570" y="1424"/>
                  <a:pt x="1570" y="1424"/>
                  <a:pt x="1570" y="1424"/>
                </a:cubicBezTo>
                <a:cubicBezTo>
                  <a:pt x="1570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8AABCA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7" name="Gráfico 426" descr="Análise do cliente com preenchimento sólido">
            <a:extLst>
              <a:ext uri="{FF2B5EF4-FFF2-40B4-BE49-F238E27FC236}">
                <a16:creationId xmlns:a16="http://schemas.microsoft.com/office/drawing/2014/main" id="{4CA941C0-45E4-48D2-A80A-E5C6E802D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9163" y="4225592"/>
            <a:ext cx="851955" cy="848189"/>
          </a:xfrm>
          <a:prstGeom prst="rect">
            <a:avLst/>
          </a:prstGeom>
        </p:spPr>
      </p:pic>
      <p:pic>
        <p:nvPicPr>
          <p:cNvPr id="428" name="Gráfico 427" descr="Apresentação com lista de verificação com preenchimento sólido">
            <a:extLst>
              <a:ext uri="{FF2B5EF4-FFF2-40B4-BE49-F238E27FC236}">
                <a16:creationId xmlns:a16="http://schemas.microsoft.com/office/drawing/2014/main" id="{293E3D97-C3CF-413A-A942-75202E79EA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434" y="4221502"/>
            <a:ext cx="851955" cy="848189"/>
          </a:xfrm>
          <a:prstGeom prst="rect">
            <a:avLst/>
          </a:prstGeom>
        </p:spPr>
      </p:pic>
      <p:sp>
        <p:nvSpPr>
          <p:cNvPr id="429" name="Line 551">
            <a:extLst>
              <a:ext uri="{FF2B5EF4-FFF2-40B4-BE49-F238E27FC236}">
                <a16:creationId xmlns:a16="http://schemas.microsoft.com/office/drawing/2014/main" id="{036000FA-7E43-45DA-963D-2407AF86D98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918840" y="7280179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0" name="Line 552">
            <a:extLst>
              <a:ext uri="{FF2B5EF4-FFF2-40B4-BE49-F238E27FC236}">
                <a16:creationId xmlns:a16="http://schemas.microsoft.com/office/drawing/2014/main" id="{0A8742C1-6B96-46D0-B81A-86F6901140A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713691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1" name="Line 553">
            <a:extLst>
              <a:ext uri="{FF2B5EF4-FFF2-40B4-BE49-F238E27FC236}">
                <a16:creationId xmlns:a16="http://schemas.microsoft.com/office/drawing/2014/main" id="{123518FE-426F-419A-BE07-8B36031F8173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505178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2" name="Line 554">
            <a:extLst>
              <a:ext uri="{FF2B5EF4-FFF2-40B4-BE49-F238E27FC236}">
                <a16:creationId xmlns:a16="http://schemas.microsoft.com/office/drawing/2014/main" id="{0EA0BB59-C4E4-4042-A760-84BC1D215BD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296663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3" name="Line 555">
            <a:extLst>
              <a:ext uri="{FF2B5EF4-FFF2-40B4-BE49-F238E27FC236}">
                <a16:creationId xmlns:a16="http://schemas.microsoft.com/office/drawing/2014/main" id="{A26B4481-C68F-4E41-A208-74C54C5F477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091511" y="7280179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4" name="Line 648">
            <a:extLst>
              <a:ext uri="{FF2B5EF4-FFF2-40B4-BE49-F238E27FC236}">
                <a16:creationId xmlns:a16="http://schemas.microsoft.com/office/drawing/2014/main" id="{E84E94BE-A2CE-4434-9E4B-44DF3FA4A9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148685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5" name="Line 649">
            <a:extLst>
              <a:ext uri="{FF2B5EF4-FFF2-40B4-BE49-F238E27FC236}">
                <a16:creationId xmlns:a16="http://schemas.microsoft.com/office/drawing/2014/main" id="{B0A5A7EE-8140-4D7C-8383-474D2B6B9A8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353836" y="7280179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6" name="Line 650">
            <a:extLst>
              <a:ext uri="{FF2B5EF4-FFF2-40B4-BE49-F238E27FC236}">
                <a16:creationId xmlns:a16="http://schemas.microsoft.com/office/drawing/2014/main" id="{DF5F3856-B351-464F-93B1-63B51A4AE60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562350" y="7280179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7" name="Line 651">
            <a:extLst>
              <a:ext uri="{FF2B5EF4-FFF2-40B4-BE49-F238E27FC236}">
                <a16:creationId xmlns:a16="http://schemas.microsoft.com/office/drawing/2014/main" id="{E4F5D741-4D83-4BA7-A9C6-A26AF3B9E1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767501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8" name="Line 652">
            <a:extLst>
              <a:ext uri="{FF2B5EF4-FFF2-40B4-BE49-F238E27FC236}">
                <a16:creationId xmlns:a16="http://schemas.microsoft.com/office/drawing/2014/main" id="{11B78DA9-5BF0-471E-8A4F-986B14F590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976014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9" name="Freeform 745">
            <a:extLst>
              <a:ext uri="{FF2B5EF4-FFF2-40B4-BE49-F238E27FC236}">
                <a16:creationId xmlns:a16="http://schemas.microsoft.com/office/drawing/2014/main" id="{84BF3944-148B-42A1-A7A9-27B2185139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7522" y="6680841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0" name="Freeform 966">
            <a:extLst>
              <a:ext uri="{FF2B5EF4-FFF2-40B4-BE49-F238E27FC236}">
                <a16:creationId xmlns:a16="http://schemas.microsoft.com/office/drawing/2014/main" id="{0FA8A307-33F5-42B8-944C-8428255AF0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458093" y="6814772"/>
            <a:ext cx="319496" cy="800234"/>
          </a:xfrm>
          <a:custGeom>
            <a:avLst/>
            <a:gdLst>
              <a:gd name="T0" fmla="*/ 122964 w 417"/>
              <a:gd name="T1" fmla="*/ 379052 h 1053"/>
              <a:gd name="T2" fmla="*/ 122964 w 417"/>
              <a:gd name="T3" fmla="*/ 379052 h 1053"/>
              <a:gd name="T4" fmla="*/ 27848 w 417"/>
              <a:gd name="T5" fmla="*/ 379052 h 1053"/>
              <a:gd name="T6" fmla="*/ 15551 w 417"/>
              <a:gd name="T7" fmla="*/ 366801 h 1053"/>
              <a:gd name="T8" fmla="*/ 6148 w 417"/>
              <a:gd name="T9" fmla="*/ 256905 h 1053"/>
              <a:gd name="T10" fmla="*/ 58589 w 417"/>
              <a:gd name="T11" fmla="*/ 21259 h 1053"/>
              <a:gd name="T12" fmla="*/ 64737 w 417"/>
              <a:gd name="T13" fmla="*/ 6125 h 1053"/>
              <a:gd name="T14" fmla="*/ 73779 w 417"/>
              <a:gd name="T15" fmla="*/ 0 h 1053"/>
              <a:gd name="T16" fmla="*/ 73779 w 417"/>
              <a:gd name="T17" fmla="*/ 0 h 1053"/>
              <a:gd name="T18" fmla="*/ 83182 w 417"/>
              <a:gd name="T19" fmla="*/ 6125 h 1053"/>
              <a:gd name="T20" fmla="*/ 86075 w 417"/>
              <a:gd name="T21" fmla="*/ 12251 h 1053"/>
              <a:gd name="T22" fmla="*/ 141409 w 417"/>
              <a:gd name="T23" fmla="*/ 269156 h 1053"/>
              <a:gd name="T24" fmla="*/ 132006 w 417"/>
              <a:gd name="T25" fmla="*/ 269156 h 1053"/>
              <a:gd name="T26" fmla="*/ 141409 w 417"/>
              <a:gd name="T27" fmla="*/ 269156 h 1053"/>
              <a:gd name="T28" fmla="*/ 132006 w 417"/>
              <a:gd name="T29" fmla="*/ 370044 h 1053"/>
              <a:gd name="T30" fmla="*/ 122964 w 417"/>
              <a:gd name="T31" fmla="*/ 379052 h 1053"/>
              <a:gd name="T32" fmla="*/ 36889 w 417"/>
              <a:gd name="T33" fmla="*/ 357793 h 1053"/>
              <a:gd name="T34" fmla="*/ 36889 w 417"/>
              <a:gd name="T35" fmla="*/ 357793 h 1053"/>
              <a:gd name="T36" fmla="*/ 113561 w 417"/>
              <a:gd name="T37" fmla="*/ 357793 h 1053"/>
              <a:gd name="T38" fmla="*/ 122964 w 417"/>
              <a:gd name="T39" fmla="*/ 269156 h 1053"/>
              <a:gd name="T40" fmla="*/ 73779 w 417"/>
              <a:gd name="T41" fmla="*/ 33509 h 1053"/>
              <a:gd name="T42" fmla="*/ 27848 w 417"/>
              <a:gd name="T43" fmla="*/ 253662 h 1053"/>
              <a:gd name="T44" fmla="*/ 36889 w 417"/>
              <a:gd name="T45" fmla="*/ 357793 h 105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17" h="1053">
                <a:moveTo>
                  <a:pt x="340" y="1052"/>
                </a:moveTo>
                <a:lnTo>
                  <a:pt x="340" y="1052"/>
                </a:lnTo>
                <a:cubicBezTo>
                  <a:pt x="77" y="1052"/>
                  <a:pt x="77" y="1052"/>
                  <a:pt x="77" y="1052"/>
                </a:cubicBezTo>
                <a:cubicBezTo>
                  <a:pt x="60" y="1052"/>
                  <a:pt x="43" y="1035"/>
                  <a:pt x="43" y="1018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501"/>
                  <a:pt x="51" y="280"/>
                  <a:pt x="162" y="59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7" y="8"/>
                  <a:pt x="196" y="0"/>
                  <a:pt x="204" y="0"/>
                </a:cubicBezTo>
                <a:cubicBezTo>
                  <a:pt x="213" y="0"/>
                  <a:pt x="230" y="8"/>
                  <a:pt x="230" y="17"/>
                </a:cubicBezTo>
                <a:cubicBezTo>
                  <a:pt x="238" y="34"/>
                  <a:pt x="238" y="34"/>
                  <a:pt x="238" y="34"/>
                </a:cubicBezTo>
                <a:cubicBezTo>
                  <a:pt x="365" y="254"/>
                  <a:pt x="416" y="501"/>
                  <a:pt x="391" y="747"/>
                </a:cubicBezTo>
                <a:cubicBezTo>
                  <a:pt x="365" y="747"/>
                  <a:pt x="365" y="747"/>
                  <a:pt x="365" y="747"/>
                </a:cubicBezTo>
                <a:cubicBezTo>
                  <a:pt x="391" y="747"/>
                  <a:pt x="391" y="747"/>
                  <a:pt x="391" y="747"/>
                </a:cubicBezTo>
                <a:cubicBezTo>
                  <a:pt x="365" y="1027"/>
                  <a:pt x="365" y="1027"/>
                  <a:pt x="365" y="1027"/>
                </a:cubicBezTo>
                <a:cubicBezTo>
                  <a:pt x="365" y="1035"/>
                  <a:pt x="357" y="1052"/>
                  <a:pt x="340" y="1052"/>
                </a:cubicBezTo>
                <a:close/>
                <a:moveTo>
                  <a:pt x="102" y="993"/>
                </a:moveTo>
                <a:lnTo>
                  <a:pt x="102" y="993"/>
                </a:lnTo>
                <a:cubicBezTo>
                  <a:pt x="314" y="993"/>
                  <a:pt x="314" y="993"/>
                  <a:pt x="314" y="993"/>
                </a:cubicBezTo>
                <a:cubicBezTo>
                  <a:pt x="340" y="747"/>
                  <a:pt x="340" y="747"/>
                  <a:pt x="340" y="747"/>
                </a:cubicBezTo>
                <a:cubicBezTo>
                  <a:pt x="357" y="518"/>
                  <a:pt x="314" y="297"/>
                  <a:pt x="204" y="93"/>
                </a:cubicBezTo>
                <a:cubicBezTo>
                  <a:pt x="102" y="297"/>
                  <a:pt x="60" y="501"/>
                  <a:pt x="77" y="704"/>
                </a:cubicBezTo>
                <a:lnTo>
                  <a:pt x="102" y="99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1" name="Freeform 967">
            <a:extLst>
              <a:ext uri="{FF2B5EF4-FFF2-40B4-BE49-F238E27FC236}">
                <a16:creationId xmlns:a16="http://schemas.microsoft.com/office/drawing/2014/main" id="{318E693C-FF7B-45C1-A48E-79C090D4C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690147" y="7397370"/>
            <a:ext cx="161430" cy="348220"/>
          </a:xfrm>
          <a:custGeom>
            <a:avLst/>
            <a:gdLst>
              <a:gd name="T0" fmla="*/ 66899 w 213"/>
              <a:gd name="T1" fmla="*/ 164740 h 458"/>
              <a:gd name="T2" fmla="*/ 66899 w 213"/>
              <a:gd name="T3" fmla="*/ 164740 h 458"/>
              <a:gd name="T4" fmla="*/ 57597 w 213"/>
              <a:gd name="T5" fmla="*/ 161495 h 458"/>
              <a:gd name="T6" fmla="*/ 2862 w 213"/>
              <a:gd name="T7" fmla="*/ 94806 h 458"/>
              <a:gd name="T8" fmla="*/ 6082 w 213"/>
              <a:gd name="T9" fmla="*/ 79306 h 458"/>
              <a:gd name="T10" fmla="*/ 21107 w 213"/>
              <a:gd name="T11" fmla="*/ 79306 h 458"/>
              <a:gd name="T12" fmla="*/ 54735 w 213"/>
              <a:gd name="T13" fmla="*/ 125447 h 458"/>
              <a:gd name="T14" fmla="*/ 54735 w 213"/>
              <a:gd name="T15" fmla="*/ 107063 h 458"/>
              <a:gd name="T16" fmla="*/ 8944 w 213"/>
              <a:gd name="T17" fmla="*/ 18024 h 458"/>
              <a:gd name="T18" fmla="*/ 15025 w 213"/>
              <a:gd name="T19" fmla="*/ 2884 h 458"/>
              <a:gd name="T20" fmla="*/ 27189 w 213"/>
              <a:gd name="T21" fmla="*/ 9012 h 458"/>
              <a:gd name="T22" fmla="*/ 75842 w 213"/>
              <a:gd name="T23" fmla="*/ 100934 h 458"/>
              <a:gd name="T24" fmla="*/ 75842 w 213"/>
              <a:gd name="T25" fmla="*/ 103818 h 458"/>
              <a:gd name="T26" fmla="*/ 75842 w 213"/>
              <a:gd name="T27" fmla="*/ 155728 h 458"/>
              <a:gd name="T28" fmla="*/ 69761 w 213"/>
              <a:gd name="T29" fmla="*/ 164740 h 458"/>
              <a:gd name="T30" fmla="*/ 66899 w 213"/>
              <a:gd name="T31" fmla="*/ 164740 h 4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13" h="458">
                <a:moveTo>
                  <a:pt x="187" y="457"/>
                </a:moveTo>
                <a:lnTo>
                  <a:pt x="187" y="457"/>
                </a:lnTo>
                <a:cubicBezTo>
                  <a:pt x="178" y="457"/>
                  <a:pt x="170" y="457"/>
                  <a:pt x="161" y="448"/>
                </a:cubicBezTo>
                <a:cubicBezTo>
                  <a:pt x="8" y="263"/>
                  <a:pt x="8" y="263"/>
                  <a:pt x="8" y="263"/>
                </a:cubicBezTo>
                <a:cubicBezTo>
                  <a:pt x="0" y="246"/>
                  <a:pt x="8" y="229"/>
                  <a:pt x="17" y="220"/>
                </a:cubicBezTo>
                <a:cubicBezTo>
                  <a:pt x="25" y="212"/>
                  <a:pt x="51" y="212"/>
                  <a:pt x="59" y="220"/>
                </a:cubicBezTo>
                <a:cubicBezTo>
                  <a:pt x="153" y="348"/>
                  <a:pt x="153" y="348"/>
                  <a:pt x="153" y="348"/>
                </a:cubicBezTo>
                <a:cubicBezTo>
                  <a:pt x="153" y="297"/>
                  <a:pt x="153" y="297"/>
                  <a:pt x="153" y="297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34"/>
                  <a:pt x="25" y="17"/>
                  <a:pt x="42" y="8"/>
                </a:cubicBezTo>
                <a:cubicBezTo>
                  <a:pt x="59" y="0"/>
                  <a:pt x="76" y="8"/>
                  <a:pt x="76" y="25"/>
                </a:cubicBezTo>
                <a:cubicBezTo>
                  <a:pt x="212" y="280"/>
                  <a:pt x="212" y="280"/>
                  <a:pt x="212" y="280"/>
                </a:cubicBezTo>
                <a:lnTo>
                  <a:pt x="212" y="288"/>
                </a:lnTo>
                <a:cubicBezTo>
                  <a:pt x="212" y="432"/>
                  <a:pt x="212" y="432"/>
                  <a:pt x="212" y="432"/>
                </a:cubicBezTo>
                <a:cubicBezTo>
                  <a:pt x="212" y="440"/>
                  <a:pt x="204" y="448"/>
                  <a:pt x="195" y="457"/>
                </a:cubicBezTo>
                <a:cubicBezTo>
                  <a:pt x="187" y="457"/>
                  <a:pt x="187" y="457"/>
                  <a:pt x="187" y="457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2" name="Freeform 968">
            <a:extLst>
              <a:ext uri="{FF2B5EF4-FFF2-40B4-BE49-F238E27FC236}">
                <a16:creationId xmlns:a16="http://schemas.microsoft.com/office/drawing/2014/main" id="{B65F1AA9-E852-4BF4-8125-BAB18721D1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387466" y="7400717"/>
            <a:ext cx="147978" cy="341523"/>
          </a:xfrm>
          <a:custGeom>
            <a:avLst/>
            <a:gdLst>
              <a:gd name="T0" fmla="*/ 8909 w 196"/>
              <a:gd name="T1" fmla="*/ 161565 h 450"/>
              <a:gd name="T2" fmla="*/ 8909 w 196"/>
              <a:gd name="T3" fmla="*/ 161565 h 450"/>
              <a:gd name="T4" fmla="*/ 6058 w 196"/>
              <a:gd name="T5" fmla="*/ 161565 h 450"/>
              <a:gd name="T6" fmla="*/ 0 w 196"/>
              <a:gd name="T7" fmla="*/ 152569 h 450"/>
              <a:gd name="T8" fmla="*/ 0 w 196"/>
              <a:gd name="T9" fmla="*/ 100753 h 450"/>
              <a:gd name="T10" fmla="*/ 0 w 196"/>
              <a:gd name="T11" fmla="*/ 97875 h 450"/>
              <a:gd name="T12" fmla="*/ 45260 w 196"/>
              <a:gd name="T13" fmla="*/ 9356 h 450"/>
              <a:gd name="T14" fmla="*/ 57377 w 196"/>
              <a:gd name="T15" fmla="*/ 3239 h 450"/>
              <a:gd name="T16" fmla="*/ 63435 w 196"/>
              <a:gd name="T17" fmla="*/ 18352 h 450"/>
              <a:gd name="T18" fmla="*/ 18175 w 196"/>
              <a:gd name="T19" fmla="*/ 103992 h 450"/>
              <a:gd name="T20" fmla="*/ 18175 w 196"/>
              <a:gd name="T21" fmla="*/ 122343 h 450"/>
              <a:gd name="T22" fmla="*/ 51318 w 196"/>
              <a:gd name="T23" fmla="*/ 82402 h 450"/>
              <a:gd name="T24" fmla="*/ 63435 w 196"/>
              <a:gd name="T25" fmla="*/ 79523 h 450"/>
              <a:gd name="T26" fmla="*/ 66643 w 196"/>
              <a:gd name="T27" fmla="*/ 94636 h 450"/>
              <a:gd name="T28" fmla="*/ 18175 w 196"/>
              <a:gd name="T29" fmla="*/ 158327 h 450"/>
              <a:gd name="T30" fmla="*/ 8909 w 196"/>
              <a:gd name="T31" fmla="*/ 161565 h 4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6" h="450">
                <a:moveTo>
                  <a:pt x="25" y="449"/>
                </a:moveTo>
                <a:lnTo>
                  <a:pt x="25" y="449"/>
                </a:lnTo>
                <a:lnTo>
                  <a:pt x="17" y="449"/>
                </a:lnTo>
                <a:cubicBezTo>
                  <a:pt x="8" y="440"/>
                  <a:pt x="0" y="432"/>
                  <a:pt x="0" y="424"/>
                </a:cubicBezTo>
                <a:cubicBezTo>
                  <a:pt x="0" y="280"/>
                  <a:pt x="0" y="280"/>
                  <a:pt x="0" y="280"/>
                </a:cubicBezTo>
                <a:lnTo>
                  <a:pt x="0" y="272"/>
                </a:lnTo>
                <a:cubicBezTo>
                  <a:pt x="127" y="26"/>
                  <a:pt x="127" y="26"/>
                  <a:pt x="127" y="26"/>
                </a:cubicBezTo>
                <a:cubicBezTo>
                  <a:pt x="127" y="9"/>
                  <a:pt x="144" y="0"/>
                  <a:pt x="161" y="9"/>
                </a:cubicBezTo>
                <a:cubicBezTo>
                  <a:pt x="178" y="17"/>
                  <a:pt x="178" y="34"/>
                  <a:pt x="178" y="51"/>
                </a:cubicBezTo>
                <a:cubicBezTo>
                  <a:pt x="51" y="289"/>
                  <a:pt x="51" y="289"/>
                  <a:pt x="51" y="289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144" y="229"/>
                  <a:pt x="144" y="229"/>
                  <a:pt x="144" y="229"/>
                </a:cubicBezTo>
                <a:cubicBezTo>
                  <a:pt x="153" y="212"/>
                  <a:pt x="170" y="212"/>
                  <a:pt x="178" y="221"/>
                </a:cubicBezTo>
                <a:cubicBezTo>
                  <a:pt x="195" y="238"/>
                  <a:pt x="195" y="255"/>
                  <a:pt x="187" y="263"/>
                </a:cubicBezTo>
                <a:cubicBezTo>
                  <a:pt x="51" y="440"/>
                  <a:pt x="51" y="440"/>
                  <a:pt x="51" y="440"/>
                </a:cubicBezTo>
                <a:cubicBezTo>
                  <a:pt x="42" y="449"/>
                  <a:pt x="34" y="449"/>
                  <a:pt x="25" y="449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3" name="Freeform 969">
            <a:extLst>
              <a:ext uri="{FF2B5EF4-FFF2-40B4-BE49-F238E27FC236}">
                <a16:creationId xmlns:a16="http://schemas.microsoft.com/office/drawing/2014/main" id="{BF2A7272-F818-4738-984B-B5409FB1C7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48896" y="7568129"/>
            <a:ext cx="137890" cy="83708"/>
          </a:xfrm>
          <a:custGeom>
            <a:avLst/>
            <a:gdLst>
              <a:gd name="T0" fmla="*/ 55325 w 180"/>
              <a:gd name="T1" fmla="*/ 39330 h 111"/>
              <a:gd name="T2" fmla="*/ 55325 w 180"/>
              <a:gd name="T3" fmla="*/ 39330 h 111"/>
              <a:gd name="T4" fmla="*/ 9402 w 180"/>
              <a:gd name="T5" fmla="*/ 39330 h 111"/>
              <a:gd name="T6" fmla="*/ 0 w 180"/>
              <a:gd name="T7" fmla="*/ 30392 h 111"/>
              <a:gd name="T8" fmla="*/ 0 w 180"/>
              <a:gd name="T9" fmla="*/ 8939 h 111"/>
              <a:gd name="T10" fmla="*/ 9402 w 180"/>
              <a:gd name="T11" fmla="*/ 0 h 111"/>
              <a:gd name="T12" fmla="*/ 55325 w 180"/>
              <a:gd name="T13" fmla="*/ 0 h 111"/>
              <a:gd name="T14" fmla="*/ 64726 w 180"/>
              <a:gd name="T15" fmla="*/ 8939 h 111"/>
              <a:gd name="T16" fmla="*/ 64726 w 180"/>
              <a:gd name="T17" fmla="*/ 30392 h 111"/>
              <a:gd name="T18" fmla="*/ 55325 w 180"/>
              <a:gd name="T19" fmla="*/ 39330 h 111"/>
              <a:gd name="T20" fmla="*/ 18442 w 180"/>
              <a:gd name="T21" fmla="*/ 21095 h 111"/>
              <a:gd name="T22" fmla="*/ 18442 w 180"/>
              <a:gd name="T23" fmla="*/ 21095 h 111"/>
              <a:gd name="T24" fmla="*/ 45923 w 180"/>
              <a:gd name="T25" fmla="*/ 21095 h 111"/>
              <a:gd name="T26" fmla="*/ 45923 w 180"/>
              <a:gd name="T27" fmla="*/ 21095 h 111"/>
              <a:gd name="T28" fmla="*/ 18442 w 180"/>
              <a:gd name="T29" fmla="*/ 21095 h 11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0" h="111">
                <a:moveTo>
                  <a:pt x="153" y="110"/>
                </a:moveTo>
                <a:lnTo>
                  <a:pt x="153" y="110"/>
                </a:lnTo>
                <a:cubicBezTo>
                  <a:pt x="26" y="110"/>
                  <a:pt x="26" y="110"/>
                  <a:pt x="26" y="110"/>
                </a:cubicBezTo>
                <a:cubicBezTo>
                  <a:pt x="9" y="110"/>
                  <a:pt x="0" y="102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70" y="0"/>
                  <a:pt x="179" y="8"/>
                  <a:pt x="179" y="25"/>
                </a:cubicBezTo>
                <a:cubicBezTo>
                  <a:pt x="179" y="85"/>
                  <a:pt x="179" y="85"/>
                  <a:pt x="179" y="85"/>
                </a:cubicBezTo>
                <a:cubicBezTo>
                  <a:pt x="179" y="102"/>
                  <a:pt x="170" y="110"/>
                  <a:pt x="153" y="110"/>
                </a:cubicBezTo>
                <a:close/>
                <a:moveTo>
                  <a:pt x="51" y="59"/>
                </a:moveTo>
                <a:lnTo>
                  <a:pt x="51" y="59"/>
                </a:lnTo>
                <a:cubicBezTo>
                  <a:pt x="127" y="59"/>
                  <a:pt x="127" y="59"/>
                  <a:pt x="127" y="59"/>
                </a:cubicBezTo>
                <a:cubicBezTo>
                  <a:pt x="51" y="59"/>
                  <a:pt x="51" y="59"/>
                  <a:pt x="51" y="59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4" name="Freeform 970">
            <a:extLst>
              <a:ext uri="{FF2B5EF4-FFF2-40B4-BE49-F238E27FC236}">
                <a16:creationId xmlns:a16="http://schemas.microsoft.com/office/drawing/2014/main" id="{6C5E4509-8C8D-414C-88C5-5798DB3879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55622" y="7052497"/>
            <a:ext cx="124437" cy="123887"/>
          </a:xfrm>
          <a:custGeom>
            <a:avLst/>
            <a:gdLst>
              <a:gd name="T0" fmla="*/ 30819 w 162"/>
              <a:gd name="T1" fmla="*/ 58375 h 162"/>
              <a:gd name="T2" fmla="*/ 30819 w 162"/>
              <a:gd name="T3" fmla="*/ 58375 h 162"/>
              <a:gd name="T4" fmla="*/ 0 w 162"/>
              <a:gd name="T5" fmla="*/ 27556 h 162"/>
              <a:gd name="T6" fmla="*/ 30819 w 162"/>
              <a:gd name="T7" fmla="*/ 0 h 162"/>
              <a:gd name="T8" fmla="*/ 58375 w 162"/>
              <a:gd name="T9" fmla="*/ 27556 h 162"/>
              <a:gd name="T10" fmla="*/ 30819 w 162"/>
              <a:gd name="T11" fmla="*/ 58375 h 162"/>
              <a:gd name="T12" fmla="*/ 30819 w 162"/>
              <a:gd name="T13" fmla="*/ 18492 h 162"/>
              <a:gd name="T14" fmla="*/ 30819 w 162"/>
              <a:gd name="T15" fmla="*/ 18492 h 162"/>
              <a:gd name="T16" fmla="*/ 18492 w 162"/>
              <a:gd name="T17" fmla="*/ 27556 h 162"/>
              <a:gd name="T18" fmla="*/ 30819 w 162"/>
              <a:gd name="T19" fmla="*/ 39884 h 162"/>
              <a:gd name="T20" fmla="*/ 39884 w 162"/>
              <a:gd name="T21" fmla="*/ 27556 h 162"/>
              <a:gd name="T22" fmla="*/ 30819 w 162"/>
              <a:gd name="T23" fmla="*/ 18492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2" h="162">
                <a:moveTo>
                  <a:pt x="85" y="161"/>
                </a:moveTo>
                <a:lnTo>
                  <a:pt x="85" y="161"/>
                </a:lnTo>
                <a:cubicBezTo>
                  <a:pt x="34" y="161"/>
                  <a:pt x="0" y="127"/>
                  <a:pt x="0" y="76"/>
                </a:cubicBezTo>
                <a:cubicBezTo>
                  <a:pt x="0" y="34"/>
                  <a:pt x="34" y="0"/>
                  <a:pt x="85" y="0"/>
                </a:cubicBezTo>
                <a:cubicBezTo>
                  <a:pt x="127" y="0"/>
                  <a:pt x="161" y="34"/>
                  <a:pt x="161" y="76"/>
                </a:cubicBezTo>
                <a:cubicBezTo>
                  <a:pt x="161" y="127"/>
                  <a:pt x="127" y="161"/>
                  <a:pt x="85" y="161"/>
                </a:cubicBezTo>
                <a:close/>
                <a:moveTo>
                  <a:pt x="85" y="51"/>
                </a:moveTo>
                <a:lnTo>
                  <a:pt x="85" y="51"/>
                </a:lnTo>
                <a:cubicBezTo>
                  <a:pt x="68" y="51"/>
                  <a:pt x="51" y="68"/>
                  <a:pt x="51" y="76"/>
                </a:cubicBezTo>
                <a:cubicBezTo>
                  <a:pt x="51" y="93"/>
                  <a:pt x="68" y="110"/>
                  <a:pt x="85" y="110"/>
                </a:cubicBezTo>
                <a:cubicBezTo>
                  <a:pt x="93" y="110"/>
                  <a:pt x="110" y="93"/>
                  <a:pt x="110" y="76"/>
                </a:cubicBezTo>
                <a:cubicBezTo>
                  <a:pt x="110" y="68"/>
                  <a:pt x="93" y="51"/>
                  <a:pt x="85" y="51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5" name="Freeform 971">
            <a:extLst>
              <a:ext uri="{FF2B5EF4-FFF2-40B4-BE49-F238E27FC236}">
                <a16:creationId xmlns:a16="http://schemas.microsoft.com/office/drawing/2014/main" id="{C5694439-A9C1-4665-8ABB-C32C0DD8B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92617" y="7407412"/>
            <a:ext cx="47083" cy="334827"/>
          </a:xfrm>
          <a:custGeom>
            <a:avLst/>
            <a:gdLst>
              <a:gd name="T0" fmla="*/ 9260 w 60"/>
              <a:gd name="T1" fmla="*/ 158390 h 441"/>
              <a:gd name="T2" fmla="*/ 9260 w 60"/>
              <a:gd name="T3" fmla="*/ 158390 h 441"/>
              <a:gd name="T4" fmla="*/ 0 w 60"/>
              <a:gd name="T5" fmla="*/ 149391 h 441"/>
              <a:gd name="T6" fmla="*/ 0 w 60"/>
              <a:gd name="T7" fmla="*/ 8999 h 441"/>
              <a:gd name="T8" fmla="*/ 9260 w 60"/>
              <a:gd name="T9" fmla="*/ 0 h 441"/>
              <a:gd name="T10" fmla="*/ 21855 w 60"/>
              <a:gd name="T11" fmla="*/ 8999 h 441"/>
              <a:gd name="T12" fmla="*/ 21855 w 60"/>
              <a:gd name="T13" fmla="*/ 149391 h 441"/>
              <a:gd name="T14" fmla="*/ 9260 w 60"/>
              <a:gd name="T15" fmla="*/ 158390 h 4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0" h="441">
                <a:moveTo>
                  <a:pt x="25" y="440"/>
                </a:moveTo>
                <a:lnTo>
                  <a:pt x="25" y="440"/>
                </a:lnTo>
                <a:cubicBezTo>
                  <a:pt x="17" y="440"/>
                  <a:pt x="0" y="431"/>
                  <a:pt x="0" y="4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17" y="0"/>
                  <a:pt x="25" y="0"/>
                </a:cubicBezTo>
                <a:cubicBezTo>
                  <a:pt x="42" y="0"/>
                  <a:pt x="59" y="8"/>
                  <a:pt x="59" y="25"/>
                </a:cubicBezTo>
                <a:cubicBezTo>
                  <a:pt x="59" y="415"/>
                  <a:pt x="59" y="415"/>
                  <a:pt x="59" y="415"/>
                </a:cubicBezTo>
                <a:cubicBezTo>
                  <a:pt x="59" y="431"/>
                  <a:pt x="42" y="440"/>
                  <a:pt x="25" y="440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46" name="Gráfico 445" descr="Aperto de mão com preenchimento sólido">
            <a:extLst>
              <a:ext uri="{FF2B5EF4-FFF2-40B4-BE49-F238E27FC236}">
                <a16:creationId xmlns:a16="http://schemas.microsoft.com/office/drawing/2014/main" id="{6F55FA37-6204-4165-90A9-D0143AB983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85632" y="1674419"/>
            <a:ext cx="988700" cy="984331"/>
          </a:xfrm>
          <a:prstGeom prst="rect">
            <a:avLst/>
          </a:prstGeom>
        </p:spPr>
      </p:pic>
      <p:grpSp>
        <p:nvGrpSpPr>
          <p:cNvPr id="447" name="Agrupar 446">
            <a:extLst>
              <a:ext uri="{FF2B5EF4-FFF2-40B4-BE49-F238E27FC236}">
                <a16:creationId xmlns:a16="http://schemas.microsoft.com/office/drawing/2014/main" id="{08D28F02-F404-4873-AE71-671FC4960EF0}"/>
              </a:ext>
            </a:extLst>
          </p:cNvPr>
          <p:cNvGrpSpPr/>
          <p:nvPr userDrawn="1"/>
        </p:nvGrpSpPr>
        <p:grpSpPr>
          <a:xfrm>
            <a:off x="8008211" y="1469504"/>
            <a:ext cx="1197273" cy="1191982"/>
            <a:chOff x="12445208" y="734178"/>
            <a:chExt cx="810923" cy="810923"/>
          </a:xfrm>
        </p:grpSpPr>
        <p:sp>
          <p:nvSpPr>
            <p:cNvPr id="448" name="Freeform 741">
              <a:extLst>
                <a:ext uri="{FF2B5EF4-FFF2-40B4-BE49-F238E27FC236}">
                  <a16:creationId xmlns:a16="http://schemas.microsoft.com/office/drawing/2014/main" id="{D425A1DB-BDC9-4D91-9A2E-88AACE4B9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5208" y="734178"/>
              <a:ext cx="810923" cy="810923"/>
            </a:xfrm>
            <a:custGeom>
              <a:avLst/>
              <a:gdLst>
                <a:gd name="T0" fmla="*/ 510075 w 1570"/>
                <a:gd name="T1" fmla="*/ 564790 h 1571"/>
                <a:gd name="T2" fmla="*/ 510075 w 1570"/>
                <a:gd name="T3" fmla="*/ 564790 h 1571"/>
                <a:gd name="T4" fmla="*/ 52195 w 1570"/>
                <a:gd name="T5" fmla="*/ 564790 h 1571"/>
                <a:gd name="T6" fmla="*/ 0 w 1570"/>
                <a:gd name="T7" fmla="*/ 509750 h 1571"/>
                <a:gd name="T8" fmla="*/ 0 w 1570"/>
                <a:gd name="T9" fmla="*/ 55040 h 1571"/>
                <a:gd name="T10" fmla="*/ 52195 w 1570"/>
                <a:gd name="T11" fmla="*/ 0 h 1571"/>
                <a:gd name="T12" fmla="*/ 510075 w 1570"/>
                <a:gd name="T13" fmla="*/ 0 h 1571"/>
                <a:gd name="T14" fmla="*/ 564790 w 1570"/>
                <a:gd name="T15" fmla="*/ 55040 h 1571"/>
                <a:gd name="T16" fmla="*/ 564790 w 1570"/>
                <a:gd name="T17" fmla="*/ 509750 h 1571"/>
                <a:gd name="T18" fmla="*/ 510075 w 1570"/>
                <a:gd name="T19" fmla="*/ 564790 h 15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70" h="1571">
                  <a:moveTo>
                    <a:pt x="1417" y="1570"/>
                  </a:moveTo>
                  <a:lnTo>
                    <a:pt x="1417" y="1570"/>
                  </a:lnTo>
                  <a:cubicBezTo>
                    <a:pt x="145" y="1570"/>
                    <a:pt x="145" y="1570"/>
                    <a:pt x="145" y="1570"/>
                  </a:cubicBezTo>
                  <a:cubicBezTo>
                    <a:pt x="68" y="1570"/>
                    <a:pt x="0" y="1502"/>
                    <a:pt x="0" y="141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68"/>
                    <a:pt x="68" y="0"/>
                    <a:pt x="145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502" y="0"/>
                    <a:pt x="1569" y="68"/>
                    <a:pt x="1569" y="153"/>
                  </a:cubicBezTo>
                  <a:cubicBezTo>
                    <a:pt x="1569" y="1417"/>
                    <a:pt x="1569" y="1417"/>
                    <a:pt x="1569" y="1417"/>
                  </a:cubicBezTo>
                  <a:cubicBezTo>
                    <a:pt x="1569" y="1502"/>
                    <a:pt x="1502" y="1570"/>
                    <a:pt x="1417" y="1570"/>
                  </a:cubicBezTo>
                </a:path>
              </a:pathLst>
            </a:custGeom>
            <a:solidFill>
              <a:srgbClr val="FFFFFF"/>
            </a:solidFill>
            <a:ln w="38100" cap="flat">
              <a:solidFill>
                <a:srgbClr val="8AABCA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pic>
          <p:nvPicPr>
            <p:cNvPr id="449" name="Gráfico 448" descr="Sementes brotando com preenchimento sólido">
              <a:extLst>
                <a:ext uri="{FF2B5EF4-FFF2-40B4-BE49-F238E27FC236}">
                  <a16:creationId xmlns:a16="http://schemas.microsoft.com/office/drawing/2014/main" id="{8BBE1393-B066-4A26-9802-74539168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491024" y="745537"/>
              <a:ext cx="732960" cy="732960"/>
            </a:xfrm>
            <a:prstGeom prst="rect">
              <a:avLst/>
            </a:prstGeom>
          </p:spPr>
        </p:pic>
      </p:grpSp>
      <p:pic>
        <p:nvPicPr>
          <p:cNvPr id="450" name="Gráfico 449" descr="Reunião com preenchimento sólido">
            <a:extLst>
              <a:ext uri="{FF2B5EF4-FFF2-40B4-BE49-F238E27FC236}">
                <a16:creationId xmlns:a16="http://schemas.microsoft.com/office/drawing/2014/main" id="{5768EC7E-B931-4C08-ABA0-F648AE4111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91663" y="1647231"/>
            <a:ext cx="874159" cy="870295"/>
          </a:xfrm>
          <a:prstGeom prst="rect">
            <a:avLst/>
          </a:prstGeom>
        </p:spPr>
      </p:pic>
      <p:pic>
        <p:nvPicPr>
          <p:cNvPr id="451" name="Imagem 450">
            <a:extLst>
              <a:ext uri="{FF2B5EF4-FFF2-40B4-BE49-F238E27FC236}">
                <a16:creationId xmlns:a16="http://schemas.microsoft.com/office/drawing/2014/main" id="{F7D2F15D-932C-471B-B9AA-B115EABA7AB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9742" y="9162643"/>
            <a:ext cx="2198950" cy="6343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2" name="Espaço Reservado para Conteúdo 2">
            <a:extLst>
              <a:ext uri="{FF2B5EF4-FFF2-40B4-BE49-F238E27FC236}">
                <a16:creationId xmlns:a16="http://schemas.microsoft.com/office/drawing/2014/main" id="{5F6FE98F-4F92-4B5C-BEFC-D4A9F4D63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2408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3" name="Espaço Reservado para Conteúdo 2">
            <a:extLst>
              <a:ext uri="{FF2B5EF4-FFF2-40B4-BE49-F238E27FC236}">
                <a16:creationId xmlns:a16="http://schemas.microsoft.com/office/drawing/2014/main" id="{F73C517F-BE08-4C22-8E46-C737249F842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285016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4" name="Espaço Reservado para Conteúdo 2">
            <a:extLst>
              <a:ext uri="{FF2B5EF4-FFF2-40B4-BE49-F238E27FC236}">
                <a16:creationId xmlns:a16="http://schemas.microsoft.com/office/drawing/2014/main" id="{AEE5D094-F050-4211-9E7D-9101EC64725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436705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5" name="Espaço Reservado para Conteúdo 2">
            <a:extLst>
              <a:ext uri="{FF2B5EF4-FFF2-40B4-BE49-F238E27FC236}">
                <a16:creationId xmlns:a16="http://schemas.microsoft.com/office/drawing/2014/main" id="{7AFEFE9E-5F00-471C-9F1F-407B24D96E1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3072911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6" name="Espaço Reservado para Conteúdo 2">
            <a:extLst>
              <a:ext uri="{FF2B5EF4-FFF2-40B4-BE49-F238E27FC236}">
                <a16:creationId xmlns:a16="http://schemas.microsoft.com/office/drawing/2014/main" id="{CFCCF986-0667-465D-B0BA-0AD74A493C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0165519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7" name="Espaço Reservado para Conteúdo 2">
            <a:extLst>
              <a:ext uri="{FF2B5EF4-FFF2-40B4-BE49-F238E27FC236}">
                <a16:creationId xmlns:a16="http://schemas.microsoft.com/office/drawing/2014/main" id="{44894242-CE24-4CC7-B27A-6EE5AF4B1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7208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8" name="Espaço Reservado para Conteúdo 2">
            <a:extLst>
              <a:ext uri="{FF2B5EF4-FFF2-40B4-BE49-F238E27FC236}">
                <a16:creationId xmlns:a16="http://schemas.microsoft.com/office/drawing/2014/main" id="{A66E5C75-438F-401E-A0FF-03C647D6413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267160" y="5595638"/>
            <a:ext cx="4050149" cy="65158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pt-BR" sz="2352" dirty="0" smtClean="0">
                <a:solidFill>
                  <a:schemeClr val="bg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864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2632692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m_Som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5">
            <a:extLst>
              <a:ext uri="{FF2B5EF4-FFF2-40B4-BE49-F238E27FC236}">
                <a16:creationId xmlns:a16="http://schemas.microsoft.com/office/drawing/2014/main" id="{B002C482-A3E0-4CFC-905A-FAAE5373B20B}"/>
              </a:ext>
            </a:extLst>
          </p:cNvPr>
          <p:cNvSpPr/>
          <p:nvPr userDrawn="1"/>
        </p:nvSpPr>
        <p:spPr>
          <a:xfrm>
            <a:off x="5338271" y="1889349"/>
            <a:ext cx="7019975" cy="6855167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  <p:sp>
        <p:nvSpPr>
          <p:cNvPr id="7" name="Rounded Rectangular Callout 151">
            <a:extLst>
              <a:ext uri="{FF2B5EF4-FFF2-40B4-BE49-F238E27FC236}">
                <a16:creationId xmlns:a16="http://schemas.microsoft.com/office/drawing/2014/main" id="{505FC901-74FC-4A9F-AE10-427CB07CBDCE}"/>
              </a:ext>
            </a:extLst>
          </p:cNvPr>
          <p:cNvSpPr/>
          <p:nvPr userDrawn="1"/>
        </p:nvSpPr>
        <p:spPr>
          <a:xfrm flipH="1">
            <a:off x="1931864" y="2294756"/>
            <a:ext cx="5581424" cy="1740360"/>
          </a:xfrm>
          <a:prstGeom prst="wedgeRoundRectCallout">
            <a:avLst>
              <a:gd name="adj1" fmla="val -64283"/>
              <a:gd name="adj2" fmla="val 4034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4148E2DE-AEFB-41E1-B36D-5BEE64BAC034}"/>
              </a:ext>
            </a:extLst>
          </p:cNvPr>
          <p:cNvGrpSpPr/>
          <p:nvPr userDrawn="1"/>
        </p:nvGrpSpPr>
        <p:grpSpPr>
          <a:xfrm rot="5400000">
            <a:off x="6838230" y="2467517"/>
            <a:ext cx="4077883" cy="5596623"/>
            <a:chOff x="3471863" y="4257675"/>
            <a:chExt cx="528637" cy="722313"/>
          </a:xfrm>
        </p:grpSpPr>
        <p:sp>
          <p:nvSpPr>
            <p:cNvPr id="9" name="Freeform 316">
              <a:extLst>
                <a:ext uri="{FF2B5EF4-FFF2-40B4-BE49-F238E27FC236}">
                  <a16:creationId xmlns:a16="http://schemas.microsoft.com/office/drawing/2014/main" id="{018DD262-AF02-4483-AA2D-77AFEE74A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805363"/>
              <a:ext cx="130175" cy="95250"/>
            </a:xfrm>
            <a:custGeom>
              <a:avLst/>
              <a:gdLst>
                <a:gd name="T0" fmla="*/ 0 w 363"/>
                <a:gd name="T1" fmla="*/ 0 h 263"/>
                <a:gd name="T2" fmla="*/ 362 w 363"/>
                <a:gd name="T3" fmla="*/ 0 h 263"/>
                <a:gd name="T4" fmla="*/ 362 w 363"/>
                <a:gd name="T5" fmla="*/ 262 h 263"/>
                <a:gd name="T6" fmla="*/ 0 w 363"/>
                <a:gd name="T7" fmla="*/ 262 h 263"/>
                <a:gd name="T8" fmla="*/ 0 w 363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63">
                  <a:moveTo>
                    <a:pt x="0" y="0"/>
                  </a:moveTo>
                  <a:lnTo>
                    <a:pt x="362" y="0"/>
                  </a:lnTo>
                  <a:lnTo>
                    <a:pt x="362" y="262"/>
                  </a:lnTo>
                  <a:lnTo>
                    <a:pt x="0" y="262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:a16="http://schemas.microsoft.com/office/drawing/2014/main" id="{94A4C75F-E6C8-42FD-98ED-15C632F63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388" y="4338638"/>
              <a:ext cx="130175" cy="98425"/>
            </a:xfrm>
            <a:custGeom>
              <a:avLst/>
              <a:gdLst>
                <a:gd name="T0" fmla="*/ 0 w 363"/>
                <a:gd name="T1" fmla="*/ 0 h 275"/>
                <a:gd name="T2" fmla="*/ 362 w 363"/>
                <a:gd name="T3" fmla="*/ 0 h 275"/>
                <a:gd name="T4" fmla="*/ 362 w 363"/>
                <a:gd name="T5" fmla="*/ 274 h 275"/>
                <a:gd name="T6" fmla="*/ 0 w 363"/>
                <a:gd name="T7" fmla="*/ 274 h 275"/>
                <a:gd name="T8" fmla="*/ 0 w 363"/>
                <a:gd name="T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0" y="0"/>
                  </a:moveTo>
                  <a:lnTo>
                    <a:pt x="362" y="0"/>
                  </a:lnTo>
                  <a:lnTo>
                    <a:pt x="362" y="274"/>
                  </a:lnTo>
                  <a:lnTo>
                    <a:pt x="0" y="274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1" name="Freeform 319">
              <a:extLst>
                <a:ext uri="{FF2B5EF4-FFF2-40B4-BE49-F238E27FC236}">
                  <a16:creationId xmlns:a16="http://schemas.microsoft.com/office/drawing/2014/main" id="{EE42F1CC-1FB4-4B60-B560-93702AA0A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4557713"/>
              <a:ext cx="125412" cy="122237"/>
            </a:xfrm>
            <a:custGeom>
              <a:avLst/>
              <a:gdLst>
                <a:gd name="T0" fmla="*/ 0 w 350"/>
                <a:gd name="T1" fmla="*/ 0 h 338"/>
                <a:gd name="T2" fmla="*/ 349 w 350"/>
                <a:gd name="T3" fmla="*/ 0 h 338"/>
                <a:gd name="T4" fmla="*/ 349 w 350"/>
                <a:gd name="T5" fmla="*/ 337 h 338"/>
                <a:gd name="T6" fmla="*/ 0 w 350"/>
                <a:gd name="T7" fmla="*/ 337 h 338"/>
                <a:gd name="T8" fmla="*/ 0 w 350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38">
                  <a:moveTo>
                    <a:pt x="0" y="0"/>
                  </a:moveTo>
                  <a:lnTo>
                    <a:pt x="349" y="0"/>
                  </a:lnTo>
                  <a:lnTo>
                    <a:pt x="349" y="337"/>
                  </a:lnTo>
                  <a:lnTo>
                    <a:pt x="0" y="337"/>
                  </a:lnTo>
                  <a:lnTo>
                    <a:pt x="0" y="0"/>
                  </a:lnTo>
                </a:path>
              </a:pathLst>
            </a:custGeom>
            <a:solidFill>
              <a:srgbClr val="00416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2" name="Freeform 320">
              <a:extLst>
                <a:ext uri="{FF2B5EF4-FFF2-40B4-BE49-F238E27FC236}">
                  <a16:creationId xmlns:a16="http://schemas.microsoft.com/office/drawing/2014/main" id="{5381B95A-D9AE-4463-B8B8-23BBA8A700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025" y="4410075"/>
              <a:ext cx="350838" cy="417513"/>
            </a:xfrm>
            <a:custGeom>
              <a:avLst/>
              <a:gdLst>
                <a:gd name="T0" fmla="*/ 972 w 973"/>
                <a:gd name="T1" fmla="*/ 0 h 1161"/>
                <a:gd name="T2" fmla="*/ 972 w 973"/>
                <a:gd name="T3" fmla="*/ 0 h 1161"/>
                <a:gd name="T4" fmla="*/ 972 w 973"/>
                <a:gd name="T5" fmla="*/ 1123 h 1161"/>
                <a:gd name="T6" fmla="*/ 922 w 973"/>
                <a:gd name="T7" fmla="*/ 1160 h 1161"/>
                <a:gd name="T8" fmla="*/ 37 w 973"/>
                <a:gd name="T9" fmla="*/ 1160 h 1161"/>
                <a:gd name="T10" fmla="*/ 0 w 973"/>
                <a:gd name="T11" fmla="*/ 1123 h 1161"/>
                <a:gd name="T12" fmla="*/ 0 w 973"/>
                <a:gd name="T13" fmla="*/ 38 h 1161"/>
                <a:gd name="T14" fmla="*/ 37 w 973"/>
                <a:gd name="T15" fmla="*/ 0 h 1161"/>
                <a:gd name="T16" fmla="*/ 972 w 973"/>
                <a:gd name="T17" fmla="*/ 0 h 1161"/>
                <a:gd name="T18" fmla="*/ 972 w 973"/>
                <a:gd name="T19" fmla="*/ 0 h 1161"/>
                <a:gd name="T20" fmla="*/ 972 w 973"/>
                <a:gd name="T21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3" h="1161">
                  <a:moveTo>
                    <a:pt x="972" y="0"/>
                  </a:moveTo>
                  <a:lnTo>
                    <a:pt x="972" y="0"/>
                  </a:lnTo>
                  <a:cubicBezTo>
                    <a:pt x="972" y="1123"/>
                    <a:pt x="972" y="1123"/>
                    <a:pt x="972" y="1123"/>
                  </a:cubicBezTo>
                  <a:cubicBezTo>
                    <a:pt x="972" y="1147"/>
                    <a:pt x="946" y="1160"/>
                    <a:pt x="922" y="1160"/>
                  </a:cubicBezTo>
                  <a:cubicBezTo>
                    <a:pt x="37" y="1160"/>
                    <a:pt x="37" y="1160"/>
                    <a:pt x="37" y="1160"/>
                  </a:cubicBezTo>
                  <a:cubicBezTo>
                    <a:pt x="13" y="1160"/>
                    <a:pt x="0" y="1147"/>
                    <a:pt x="0" y="112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2"/>
                    <a:pt x="13" y="0"/>
                    <a:pt x="37" y="0"/>
                  </a:cubicBezTo>
                  <a:lnTo>
                    <a:pt x="972" y="0"/>
                  </a:lnTo>
                  <a:close/>
                  <a:moveTo>
                    <a:pt x="972" y="0"/>
                  </a:moveTo>
                  <a:lnTo>
                    <a:pt x="972" y="0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3" name="Freeform 321">
              <a:extLst>
                <a:ext uri="{FF2B5EF4-FFF2-40B4-BE49-F238E27FC236}">
                  <a16:creationId xmlns:a16="http://schemas.microsoft.com/office/drawing/2014/main" id="{61ED6D30-1CF3-4F09-BDC6-BC231684D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775" y="4410075"/>
              <a:ext cx="63500" cy="417513"/>
            </a:xfrm>
            <a:custGeom>
              <a:avLst/>
              <a:gdLst>
                <a:gd name="T0" fmla="*/ 175 w 176"/>
                <a:gd name="T1" fmla="*/ 0 h 1161"/>
                <a:gd name="T2" fmla="*/ 175 w 176"/>
                <a:gd name="T3" fmla="*/ 0 h 1161"/>
                <a:gd name="T4" fmla="*/ 175 w 176"/>
                <a:gd name="T5" fmla="*/ 1123 h 1161"/>
                <a:gd name="T6" fmla="*/ 125 w 176"/>
                <a:gd name="T7" fmla="*/ 1160 h 1161"/>
                <a:gd name="T8" fmla="*/ 0 w 176"/>
                <a:gd name="T9" fmla="*/ 1160 h 1161"/>
                <a:gd name="T10" fmla="*/ 37 w 176"/>
                <a:gd name="T11" fmla="*/ 1097 h 1161"/>
                <a:gd name="T12" fmla="*/ 37 w 176"/>
                <a:gd name="T13" fmla="*/ 62 h 1161"/>
                <a:gd name="T14" fmla="*/ 13 w 176"/>
                <a:gd name="T15" fmla="*/ 0 h 1161"/>
                <a:gd name="T16" fmla="*/ 0 w 176"/>
                <a:gd name="T17" fmla="*/ 0 h 1161"/>
                <a:gd name="T18" fmla="*/ 175 w 176"/>
                <a:gd name="T19" fmla="*/ 0 h 1161"/>
                <a:gd name="T20" fmla="*/ 175 w 176"/>
                <a:gd name="T21" fmla="*/ 0 h 1161"/>
                <a:gd name="T22" fmla="*/ 175 w 176"/>
                <a:gd name="T23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161">
                  <a:moveTo>
                    <a:pt x="175" y="0"/>
                  </a:moveTo>
                  <a:lnTo>
                    <a:pt x="175" y="0"/>
                  </a:lnTo>
                  <a:cubicBezTo>
                    <a:pt x="175" y="1123"/>
                    <a:pt x="175" y="1123"/>
                    <a:pt x="175" y="1123"/>
                  </a:cubicBezTo>
                  <a:cubicBezTo>
                    <a:pt x="175" y="1147"/>
                    <a:pt x="149" y="1160"/>
                    <a:pt x="125" y="1160"/>
                  </a:cubicBezTo>
                  <a:cubicBezTo>
                    <a:pt x="0" y="1160"/>
                    <a:pt x="0" y="1160"/>
                    <a:pt x="0" y="1160"/>
                  </a:cubicBezTo>
                  <a:cubicBezTo>
                    <a:pt x="25" y="1147"/>
                    <a:pt x="37" y="1123"/>
                    <a:pt x="37" y="109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38"/>
                    <a:pt x="25" y="1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5" y="0"/>
                  </a:lnTo>
                  <a:close/>
                  <a:moveTo>
                    <a:pt x="175" y="0"/>
                  </a:moveTo>
                  <a:lnTo>
                    <a:pt x="175" y="0"/>
                  </a:lnTo>
                  <a:close/>
                </a:path>
              </a:pathLst>
            </a:custGeom>
            <a:solidFill>
              <a:srgbClr val="75787B">
                <a:alpha val="2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4" name="Freeform 326">
              <a:extLst>
                <a:ext uri="{FF2B5EF4-FFF2-40B4-BE49-F238E27FC236}">
                  <a16:creationId xmlns:a16="http://schemas.microsoft.com/office/drawing/2014/main" id="{38FFEEE4-A334-4B58-B6B0-3790E42C5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4527550"/>
              <a:ext cx="90488" cy="184150"/>
            </a:xfrm>
            <a:custGeom>
              <a:avLst/>
              <a:gdLst>
                <a:gd name="T0" fmla="*/ 250 w 251"/>
                <a:gd name="T1" fmla="*/ 124 h 512"/>
                <a:gd name="T2" fmla="*/ 250 w 251"/>
                <a:gd name="T3" fmla="*/ 124 h 512"/>
                <a:gd name="T4" fmla="*/ 250 w 251"/>
                <a:gd name="T5" fmla="*/ 386 h 512"/>
                <a:gd name="T6" fmla="*/ 125 w 251"/>
                <a:gd name="T7" fmla="*/ 511 h 512"/>
                <a:gd name="T8" fmla="*/ 88 w 251"/>
                <a:gd name="T9" fmla="*/ 511 h 512"/>
                <a:gd name="T10" fmla="*/ 62 w 251"/>
                <a:gd name="T11" fmla="*/ 511 h 512"/>
                <a:gd name="T12" fmla="*/ 0 w 251"/>
                <a:gd name="T13" fmla="*/ 436 h 512"/>
                <a:gd name="T14" fmla="*/ 0 w 251"/>
                <a:gd name="T15" fmla="*/ 74 h 512"/>
                <a:gd name="T16" fmla="*/ 62 w 251"/>
                <a:gd name="T17" fmla="*/ 0 h 512"/>
                <a:gd name="T18" fmla="*/ 88 w 251"/>
                <a:gd name="T19" fmla="*/ 0 h 512"/>
                <a:gd name="T20" fmla="*/ 125 w 251"/>
                <a:gd name="T21" fmla="*/ 0 h 512"/>
                <a:gd name="T22" fmla="*/ 250 w 251"/>
                <a:gd name="T23" fmla="*/ 124 h 512"/>
                <a:gd name="T24" fmla="*/ 250 w 251"/>
                <a:gd name="T25" fmla="*/ 124 h 512"/>
                <a:gd name="T26" fmla="*/ 250 w 251"/>
                <a:gd name="T27" fmla="*/ 1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512">
                  <a:moveTo>
                    <a:pt x="250" y="124"/>
                  </a:moveTo>
                  <a:lnTo>
                    <a:pt x="250" y="124"/>
                  </a:lnTo>
                  <a:cubicBezTo>
                    <a:pt x="250" y="386"/>
                    <a:pt x="250" y="386"/>
                    <a:pt x="250" y="386"/>
                  </a:cubicBezTo>
                  <a:cubicBezTo>
                    <a:pt x="250" y="461"/>
                    <a:pt x="187" y="511"/>
                    <a:pt x="125" y="511"/>
                  </a:cubicBezTo>
                  <a:cubicBezTo>
                    <a:pt x="88" y="511"/>
                    <a:pt x="88" y="511"/>
                    <a:pt x="88" y="511"/>
                  </a:cubicBezTo>
                  <a:cubicBezTo>
                    <a:pt x="75" y="511"/>
                    <a:pt x="62" y="511"/>
                    <a:pt x="62" y="511"/>
                  </a:cubicBezTo>
                  <a:cubicBezTo>
                    <a:pt x="25" y="498"/>
                    <a:pt x="0" y="473"/>
                    <a:pt x="0" y="4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7"/>
                    <a:pt x="25" y="12"/>
                    <a:pt x="62" y="0"/>
                  </a:cubicBezTo>
                  <a:cubicBezTo>
                    <a:pt x="62" y="0"/>
                    <a:pt x="75" y="0"/>
                    <a:pt x="8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87" y="0"/>
                    <a:pt x="250" y="49"/>
                    <a:pt x="250" y="124"/>
                  </a:cubicBezTo>
                  <a:close/>
                  <a:moveTo>
                    <a:pt x="250" y="124"/>
                  </a:moveTo>
                  <a:lnTo>
                    <a:pt x="250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5" name="Freeform 328">
              <a:extLst>
                <a:ext uri="{FF2B5EF4-FFF2-40B4-BE49-F238E27FC236}">
                  <a16:creationId xmlns:a16="http://schemas.microsoft.com/office/drawing/2014/main" id="{59A90E96-F095-4FAA-B389-4EA923D22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1863" y="4579938"/>
              <a:ext cx="85725" cy="76200"/>
            </a:xfrm>
            <a:custGeom>
              <a:avLst/>
              <a:gdLst>
                <a:gd name="T0" fmla="*/ 236 w 237"/>
                <a:gd name="T1" fmla="*/ 99 h 213"/>
                <a:gd name="T2" fmla="*/ 236 w 237"/>
                <a:gd name="T3" fmla="*/ 99 h 213"/>
                <a:gd name="T4" fmla="*/ 236 w 237"/>
                <a:gd name="T5" fmla="*/ 112 h 213"/>
                <a:gd name="T6" fmla="*/ 136 w 237"/>
                <a:gd name="T7" fmla="*/ 212 h 213"/>
                <a:gd name="T8" fmla="*/ 74 w 237"/>
                <a:gd name="T9" fmla="*/ 212 h 213"/>
                <a:gd name="T10" fmla="*/ 62 w 237"/>
                <a:gd name="T11" fmla="*/ 212 h 213"/>
                <a:gd name="T12" fmla="*/ 0 w 237"/>
                <a:gd name="T13" fmla="*/ 137 h 213"/>
                <a:gd name="T14" fmla="*/ 0 w 237"/>
                <a:gd name="T15" fmla="*/ 75 h 213"/>
                <a:gd name="T16" fmla="*/ 62 w 237"/>
                <a:gd name="T17" fmla="*/ 12 h 213"/>
                <a:gd name="T18" fmla="*/ 74 w 237"/>
                <a:gd name="T19" fmla="*/ 0 h 213"/>
                <a:gd name="T20" fmla="*/ 136 w 237"/>
                <a:gd name="T21" fmla="*/ 0 h 213"/>
                <a:gd name="T22" fmla="*/ 236 w 237"/>
                <a:gd name="T23" fmla="*/ 99 h 213"/>
                <a:gd name="T24" fmla="*/ 236 w 237"/>
                <a:gd name="T25" fmla="*/ 99 h 213"/>
                <a:gd name="T26" fmla="*/ 236 w 237"/>
                <a:gd name="T27" fmla="*/ 9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7" h="213">
                  <a:moveTo>
                    <a:pt x="236" y="99"/>
                  </a:moveTo>
                  <a:lnTo>
                    <a:pt x="236" y="99"/>
                  </a:lnTo>
                  <a:cubicBezTo>
                    <a:pt x="236" y="112"/>
                    <a:pt x="236" y="112"/>
                    <a:pt x="236" y="112"/>
                  </a:cubicBezTo>
                  <a:cubicBezTo>
                    <a:pt x="236" y="162"/>
                    <a:pt x="186" y="212"/>
                    <a:pt x="136" y="212"/>
                  </a:cubicBezTo>
                  <a:cubicBezTo>
                    <a:pt x="74" y="212"/>
                    <a:pt x="74" y="212"/>
                    <a:pt x="74" y="212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24" y="200"/>
                    <a:pt x="0" y="174"/>
                    <a:pt x="0" y="13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37"/>
                    <a:pt x="24" y="12"/>
                    <a:pt x="62" y="12"/>
                  </a:cubicBezTo>
                  <a:cubicBezTo>
                    <a:pt x="62" y="0"/>
                    <a:pt x="62" y="0"/>
                    <a:pt x="7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86" y="0"/>
                    <a:pt x="236" y="50"/>
                    <a:pt x="236" y="99"/>
                  </a:cubicBezTo>
                  <a:close/>
                  <a:moveTo>
                    <a:pt x="236" y="99"/>
                  </a:moveTo>
                  <a:lnTo>
                    <a:pt x="236" y="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6" name="Freeform 330">
              <a:extLst>
                <a:ext uri="{FF2B5EF4-FFF2-40B4-BE49-F238E27FC236}">
                  <a16:creationId xmlns:a16="http://schemas.microsoft.com/office/drawing/2014/main" id="{968B7C9C-B8E3-447A-98E8-5CC9ECBFD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867275"/>
              <a:ext cx="184150" cy="85725"/>
            </a:xfrm>
            <a:custGeom>
              <a:avLst/>
              <a:gdLst>
                <a:gd name="T0" fmla="*/ 511 w 512"/>
                <a:gd name="T1" fmla="*/ 125 h 238"/>
                <a:gd name="T2" fmla="*/ 511 w 512"/>
                <a:gd name="T3" fmla="*/ 125 h 238"/>
                <a:gd name="T4" fmla="*/ 511 w 512"/>
                <a:gd name="T5" fmla="*/ 162 h 238"/>
                <a:gd name="T6" fmla="*/ 437 w 512"/>
                <a:gd name="T7" fmla="*/ 237 h 238"/>
                <a:gd name="T8" fmla="*/ 75 w 512"/>
                <a:gd name="T9" fmla="*/ 237 h 238"/>
                <a:gd name="T10" fmla="*/ 0 w 512"/>
                <a:gd name="T11" fmla="*/ 162 h 238"/>
                <a:gd name="T12" fmla="*/ 0 w 512"/>
                <a:gd name="T13" fmla="*/ 125 h 238"/>
                <a:gd name="T14" fmla="*/ 125 w 512"/>
                <a:gd name="T15" fmla="*/ 0 h 238"/>
                <a:gd name="T16" fmla="*/ 387 w 512"/>
                <a:gd name="T17" fmla="*/ 0 h 238"/>
                <a:gd name="T18" fmla="*/ 511 w 512"/>
                <a:gd name="T19" fmla="*/ 125 h 238"/>
                <a:gd name="T20" fmla="*/ 511 w 512"/>
                <a:gd name="T21" fmla="*/ 125 h 238"/>
                <a:gd name="T22" fmla="*/ 511 w 512"/>
                <a:gd name="T23" fmla="*/ 12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2" h="238">
                  <a:moveTo>
                    <a:pt x="511" y="125"/>
                  </a:moveTo>
                  <a:lnTo>
                    <a:pt x="511" y="125"/>
                  </a:lnTo>
                  <a:cubicBezTo>
                    <a:pt x="511" y="162"/>
                    <a:pt x="511" y="162"/>
                    <a:pt x="511" y="162"/>
                  </a:cubicBezTo>
                  <a:cubicBezTo>
                    <a:pt x="511" y="212"/>
                    <a:pt x="474" y="237"/>
                    <a:pt x="437" y="237"/>
                  </a:cubicBezTo>
                  <a:cubicBezTo>
                    <a:pt x="75" y="237"/>
                    <a:pt x="75" y="237"/>
                    <a:pt x="75" y="237"/>
                  </a:cubicBezTo>
                  <a:cubicBezTo>
                    <a:pt x="38" y="237"/>
                    <a:pt x="0" y="212"/>
                    <a:pt x="0" y="16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0"/>
                    <a:pt x="63" y="0"/>
                    <a:pt x="125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62" y="0"/>
                    <a:pt x="511" y="50"/>
                    <a:pt x="511" y="125"/>
                  </a:cubicBezTo>
                  <a:close/>
                  <a:moveTo>
                    <a:pt x="511" y="125"/>
                  </a:moveTo>
                  <a:lnTo>
                    <a:pt x="511" y="1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7" name="Freeform 332">
              <a:extLst>
                <a:ext uri="{FF2B5EF4-FFF2-40B4-BE49-F238E27FC236}">
                  <a16:creationId xmlns:a16="http://schemas.microsoft.com/office/drawing/2014/main" id="{265F8020-554A-4849-B4FF-2BD4C513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899025"/>
              <a:ext cx="73025" cy="80963"/>
            </a:xfrm>
            <a:custGeom>
              <a:avLst/>
              <a:gdLst>
                <a:gd name="T0" fmla="*/ 200 w 201"/>
                <a:gd name="T1" fmla="*/ 100 h 226"/>
                <a:gd name="T2" fmla="*/ 200 w 201"/>
                <a:gd name="T3" fmla="*/ 100 h 226"/>
                <a:gd name="T4" fmla="*/ 200 w 201"/>
                <a:gd name="T5" fmla="*/ 163 h 226"/>
                <a:gd name="T6" fmla="*/ 125 w 201"/>
                <a:gd name="T7" fmla="*/ 225 h 226"/>
                <a:gd name="T8" fmla="*/ 63 w 201"/>
                <a:gd name="T9" fmla="*/ 225 h 226"/>
                <a:gd name="T10" fmla="*/ 50 w 201"/>
                <a:gd name="T11" fmla="*/ 225 h 226"/>
                <a:gd name="T12" fmla="*/ 0 w 201"/>
                <a:gd name="T13" fmla="*/ 163 h 226"/>
                <a:gd name="T14" fmla="*/ 0 w 201"/>
                <a:gd name="T15" fmla="*/ 100 h 226"/>
                <a:gd name="T16" fmla="*/ 50 w 201"/>
                <a:gd name="T17" fmla="*/ 13 h 226"/>
                <a:gd name="T18" fmla="*/ 88 w 201"/>
                <a:gd name="T19" fmla="*/ 0 h 226"/>
                <a:gd name="T20" fmla="*/ 100 w 201"/>
                <a:gd name="T21" fmla="*/ 0 h 226"/>
                <a:gd name="T22" fmla="*/ 200 w 201"/>
                <a:gd name="T23" fmla="*/ 100 h 226"/>
                <a:gd name="T24" fmla="*/ 200 w 201"/>
                <a:gd name="T25" fmla="*/ 100 h 226"/>
                <a:gd name="T26" fmla="*/ 200 w 201"/>
                <a:gd name="T27" fmla="*/ 10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100"/>
                  </a:moveTo>
                  <a:lnTo>
                    <a:pt x="200" y="100"/>
                  </a:lnTo>
                  <a:cubicBezTo>
                    <a:pt x="200" y="163"/>
                    <a:pt x="200" y="163"/>
                    <a:pt x="200" y="163"/>
                  </a:cubicBezTo>
                  <a:cubicBezTo>
                    <a:pt x="200" y="200"/>
                    <a:pt x="162" y="225"/>
                    <a:pt x="125" y="225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3" y="225"/>
                    <a:pt x="63" y="225"/>
                    <a:pt x="50" y="225"/>
                  </a:cubicBezTo>
                  <a:cubicBezTo>
                    <a:pt x="26" y="225"/>
                    <a:pt x="0" y="200"/>
                    <a:pt x="0" y="16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63"/>
                    <a:pt x="26" y="25"/>
                    <a:pt x="50" y="13"/>
                  </a:cubicBezTo>
                  <a:cubicBezTo>
                    <a:pt x="63" y="0"/>
                    <a:pt x="75" y="0"/>
                    <a:pt x="8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0" y="0"/>
                    <a:pt x="200" y="50"/>
                    <a:pt x="200" y="100"/>
                  </a:cubicBezTo>
                  <a:close/>
                  <a:moveTo>
                    <a:pt x="200" y="100"/>
                  </a:moveTo>
                  <a:lnTo>
                    <a:pt x="200" y="100"/>
                  </a:lnTo>
                  <a:close/>
                </a:path>
              </a:pathLst>
            </a:custGeom>
            <a:solidFill>
              <a:srgbClr val="C4D6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8" name="Freeform 334">
              <a:extLst>
                <a:ext uri="{FF2B5EF4-FFF2-40B4-BE49-F238E27FC236}">
                  <a16:creationId xmlns:a16="http://schemas.microsoft.com/office/drawing/2014/main" id="{DB5260A3-3B9B-43AC-AE15-4E9931477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475" y="4468813"/>
              <a:ext cx="93663" cy="117475"/>
            </a:xfrm>
            <a:custGeom>
              <a:avLst/>
              <a:gdLst>
                <a:gd name="T0" fmla="*/ 261 w 262"/>
                <a:gd name="T1" fmla="*/ 13 h 325"/>
                <a:gd name="T2" fmla="*/ 261 w 262"/>
                <a:gd name="T3" fmla="*/ 13 h 325"/>
                <a:gd name="T4" fmla="*/ 261 w 262"/>
                <a:gd name="T5" fmla="*/ 312 h 325"/>
                <a:gd name="T6" fmla="*/ 237 w 262"/>
                <a:gd name="T7" fmla="*/ 324 h 325"/>
                <a:gd name="T8" fmla="*/ 24 w 262"/>
                <a:gd name="T9" fmla="*/ 324 h 325"/>
                <a:gd name="T10" fmla="*/ 0 w 262"/>
                <a:gd name="T11" fmla="*/ 312 h 325"/>
                <a:gd name="T12" fmla="*/ 0 w 262"/>
                <a:gd name="T13" fmla="*/ 13 h 325"/>
                <a:gd name="T14" fmla="*/ 24 w 262"/>
                <a:gd name="T15" fmla="*/ 0 h 325"/>
                <a:gd name="T16" fmla="*/ 237 w 262"/>
                <a:gd name="T17" fmla="*/ 0 h 325"/>
                <a:gd name="T18" fmla="*/ 261 w 262"/>
                <a:gd name="T19" fmla="*/ 13 h 325"/>
                <a:gd name="T20" fmla="*/ 261 w 262"/>
                <a:gd name="T21" fmla="*/ 13 h 325"/>
                <a:gd name="T22" fmla="*/ 261 w 262"/>
                <a:gd name="T23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325">
                  <a:moveTo>
                    <a:pt x="261" y="13"/>
                  </a:moveTo>
                  <a:lnTo>
                    <a:pt x="261" y="13"/>
                  </a:lnTo>
                  <a:cubicBezTo>
                    <a:pt x="261" y="312"/>
                    <a:pt x="261" y="312"/>
                    <a:pt x="261" y="312"/>
                  </a:cubicBezTo>
                  <a:cubicBezTo>
                    <a:pt x="261" y="324"/>
                    <a:pt x="249" y="324"/>
                    <a:pt x="237" y="324"/>
                  </a:cubicBezTo>
                  <a:cubicBezTo>
                    <a:pt x="24" y="324"/>
                    <a:pt x="24" y="324"/>
                    <a:pt x="24" y="324"/>
                  </a:cubicBezTo>
                  <a:cubicBezTo>
                    <a:pt x="12" y="324"/>
                    <a:pt x="0" y="324"/>
                    <a:pt x="0" y="3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12" y="0"/>
                    <a:pt x="24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9" y="0"/>
                    <a:pt x="261" y="0"/>
                    <a:pt x="261" y="13"/>
                  </a:cubicBezTo>
                  <a:close/>
                  <a:moveTo>
                    <a:pt x="261" y="13"/>
                  </a:moveTo>
                  <a:lnTo>
                    <a:pt x="261" y="1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19" name="Freeform 335">
              <a:extLst>
                <a:ext uri="{FF2B5EF4-FFF2-40B4-BE49-F238E27FC236}">
                  <a16:creationId xmlns:a16="http://schemas.microsoft.com/office/drawing/2014/main" id="{331C7D23-830E-4472-8CAF-0DB30DCC9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0" y="4468813"/>
              <a:ext cx="41275" cy="117475"/>
            </a:xfrm>
            <a:custGeom>
              <a:avLst/>
              <a:gdLst>
                <a:gd name="T0" fmla="*/ 112 w 113"/>
                <a:gd name="T1" fmla="*/ 13 h 325"/>
                <a:gd name="T2" fmla="*/ 112 w 113"/>
                <a:gd name="T3" fmla="*/ 13 h 325"/>
                <a:gd name="T4" fmla="*/ 112 w 113"/>
                <a:gd name="T5" fmla="*/ 312 h 325"/>
                <a:gd name="T6" fmla="*/ 88 w 113"/>
                <a:gd name="T7" fmla="*/ 324 h 325"/>
                <a:gd name="T8" fmla="*/ 0 w 113"/>
                <a:gd name="T9" fmla="*/ 324 h 325"/>
                <a:gd name="T10" fmla="*/ 25 w 113"/>
                <a:gd name="T11" fmla="*/ 299 h 325"/>
                <a:gd name="T12" fmla="*/ 25 w 113"/>
                <a:gd name="T13" fmla="*/ 0 h 325"/>
                <a:gd name="T14" fmla="*/ 88 w 113"/>
                <a:gd name="T15" fmla="*/ 0 h 325"/>
                <a:gd name="T16" fmla="*/ 112 w 113"/>
                <a:gd name="T17" fmla="*/ 13 h 325"/>
                <a:gd name="T18" fmla="*/ 112 w 113"/>
                <a:gd name="T19" fmla="*/ 13 h 325"/>
                <a:gd name="T20" fmla="*/ 112 w 113"/>
                <a:gd name="T21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325">
                  <a:moveTo>
                    <a:pt x="112" y="13"/>
                  </a:moveTo>
                  <a:lnTo>
                    <a:pt x="112" y="13"/>
                  </a:lnTo>
                  <a:cubicBezTo>
                    <a:pt x="112" y="312"/>
                    <a:pt x="112" y="312"/>
                    <a:pt x="112" y="312"/>
                  </a:cubicBezTo>
                  <a:cubicBezTo>
                    <a:pt x="112" y="324"/>
                    <a:pt x="100" y="324"/>
                    <a:pt x="88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3" y="324"/>
                    <a:pt x="25" y="312"/>
                    <a:pt x="25" y="299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0" y="0"/>
                    <a:pt x="112" y="0"/>
                    <a:pt x="112" y="13"/>
                  </a:cubicBezTo>
                  <a:close/>
                  <a:moveTo>
                    <a:pt x="112" y="13"/>
                  </a:moveTo>
                  <a:lnTo>
                    <a:pt x="112" y="1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0" name="Freeform 336">
              <a:extLst>
                <a:ext uri="{FF2B5EF4-FFF2-40B4-BE49-F238E27FC236}">
                  <a16:creationId xmlns:a16="http://schemas.microsoft.com/office/drawing/2014/main" id="{B41B3E9E-C93F-4020-8B48-3340E43E3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438" y="4630738"/>
              <a:ext cx="95250" cy="122237"/>
            </a:xfrm>
            <a:custGeom>
              <a:avLst/>
              <a:gdLst>
                <a:gd name="T0" fmla="*/ 262 w 263"/>
                <a:gd name="T1" fmla="*/ 0 h 338"/>
                <a:gd name="T2" fmla="*/ 262 w 263"/>
                <a:gd name="T3" fmla="*/ 0 h 338"/>
                <a:gd name="T4" fmla="*/ 262 w 263"/>
                <a:gd name="T5" fmla="*/ 324 h 338"/>
                <a:gd name="T6" fmla="*/ 237 w 263"/>
                <a:gd name="T7" fmla="*/ 337 h 338"/>
                <a:gd name="T8" fmla="*/ 25 w 263"/>
                <a:gd name="T9" fmla="*/ 337 h 338"/>
                <a:gd name="T10" fmla="*/ 0 w 263"/>
                <a:gd name="T11" fmla="*/ 324 h 338"/>
                <a:gd name="T12" fmla="*/ 0 w 263"/>
                <a:gd name="T13" fmla="*/ 25 h 338"/>
                <a:gd name="T14" fmla="*/ 25 w 263"/>
                <a:gd name="T15" fmla="*/ 0 h 338"/>
                <a:gd name="T16" fmla="*/ 262 w 263"/>
                <a:gd name="T17" fmla="*/ 0 h 338"/>
                <a:gd name="T18" fmla="*/ 262 w 263"/>
                <a:gd name="T19" fmla="*/ 0 h 338"/>
                <a:gd name="T20" fmla="*/ 262 w 263"/>
                <a:gd name="T2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38">
                  <a:moveTo>
                    <a:pt x="262" y="0"/>
                  </a:moveTo>
                  <a:lnTo>
                    <a:pt x="262" y="0"/>
                  </a:lnTo>
                  <a:cubicBezTo>
                    <a:pt x="262" y="324"/>
                    <a:pt x="262" y="324"/>
                    <a:pt x="262" y="324"/>
                  </a:cubicBezTo>
                  <a:cubicBezTo>
                    <a:pt x="262" y="337"/>
                    <a:pt x="249" y="337"/>
                    <a:pt x="237" y="337"/>
                  </a:cubicBezTo>
                  <a:cubicBezTo>
                    <a:pt x="25" y="337"/>
                    <a:pt x="25" y="337"/>
                    <a:pt x="25" y="337"/>
                  </a:cubicBezTo>
                  <a:cubicBezTo>
                    <a:pt x="13" y="337"/>
                    <a:pt x="0" y="337"/>
                    <a:pt x="0" y="3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3"/>
                    <a:pt x="13" y="0"/>
                    <a:pt x="25" y="0"/>
                  </a:cubicBez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2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1" name="Freeform 337">
              <a:extLst>
                <a:ext uri="{FF2B5EF4-FFF2-40B4-BE49-F238E27FC236}">
                  <a16:creationId xmlns:a16="http://schemas.microsoft.com/office/drawing/2014/main" id="{DFC3E9BE-C9EA-44EC-8E78-1CF6B0BE2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175" y="4630738"/>
              <a:ext cx="36513" cy="122237"/>
            </a:xfrm>
            <a:custGeom>
              <a:avLst/>
              <a:gdLst>
                <a:gd name="T0" fmla="*/ 100 w 101"/>
                <a:gd name="T1" fmla="*/ 0 h 338"/>
                <a:gd name="T2" fmla="*/ 100 w 101"/>
                <a:gd name="T3" fmla="*/ 0 h 338"/>
                <a:gd name="T4" fmla="*/ 100 w 101"/>
                <a:gd name="T5" fmla="*/ 324 h 338"/>
                <a:gd name="T6" fmla="*/ 75 w 101"/>
                <a:gd name="T7" fmla="*/ 337 h 338"/>
                <a:gd name="T8" fmla="*/ 0 w 101"/>
                <a:gd name="T9" fmla="*/ 337 h 338"/>
                <a:gd name="T10" fmla="*/ 13 w 101"/>
                <a:gd name="T11" fmla="*/ 324 h 338"/>
                <a:gd name="T12" fmla="*/ 13 w 101"/>
                <a:gd name="T13" fmla="*/ 0 h 338"/>
                <a:gd name="T14" fmla="*/ 100 w 101"/>
                <a:gd name="T15" fmla="*/ 0 h 338"/>
                <a:gd name="T16" fmla="*/ 100 w 101"/>
                <a:gd name="T17" fmla="*/ 0 h 338"/>
                <a:gd name="T18" fmla="*/ 100 w 101"/>
                <a:gd name="T1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38">
                  <a:moveTo>
                    <a:pt x="100" y="0"/>
                  </a:moveTo>
                  <a:lnTo>
                    <a:pt x="100" y="0"/>
                  </a:lnTo>
                  <a:cubicBezTo>
                    <a:pt x="100" y="324"/>
                    <a:pt x="100" y="324"/>
                    <a:pt x="100" y="324"/>
                  </a:cubicBezTo>
                  <a:cubicBezTo>
                    <a:pt x="100" y="337"/>
                    <a:pt x="87" y="337"/>
                    <a:pt x="75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24"/>
                    <a:pt x="13" y="324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0" y="0"/>
                  </a:lnTo>
                  <a:close/>
                  <a:moveTo>
                    <a:pt x="100" y="0"/>
                  </a:moveTo>
                  <a:lnTo>
                    <a:pt x="100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2" name="Freeform 338">
              <a:extLst>
                <a:ext uri="{FF2B5EF4-FFF2-40B4-BE49-F238E27FC236}">
                  <a16:creationId xmlns:a16="http://schemas.microsoft.com/office/drawing/2014/main" id="{53FE4CC0-8F98-497A-A988-3744C2434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530725"/>
              <a:ext cx="93662" cy="122238"/>
            </a:xfrm>
            <a:custGeom>
              <a:avLst/>
              <a:gdLst>
                <a:gd name="T0" fmla="*/ 261 w 262"/>
                <a:gd name="T1" fmla="*/ 25 h 338"/>
                <a:gd name="T2" fmla="*/ 261 w 262"/>
                <a:gd name="T3" fmla="*/ 25 h 338"/>
                <a:gd name="T4" fmla="*/ 261 w 262"/>
                <a:gd name="T5" fmla="*/ 324 h 338"/>
                <a:gd name="T6" fmla="*/ 236 w 262"/>
                <a:gd name="T7" fmla="*/ 337 h 338"/>
                <a:gd name="T8" fmla="*/ 0 w 262"/>
                <a:gd name="T9" fmla="*/ 337 h 338"/>
                <a:gd name="T10" fmla="*/ 0 w 262"/>
                <a:gd name="T11" fmla="*/ 25 h 338"/>
                <a:gd name="T12" fmla="*/ 25 w 262"/>
                <a:gd name="T13" fmla="*/ 0 h 338"/>
                <a:gd name="T14" fmla="*/ 236 w 262"/>
                <a:gd name="T15" fmla="*/ 0 h 338"/>
                <a:gd name="T16" fmla="*/ 261 w 262"/>
                <a:gd name="T17" fmla="*/ 25 h 338"/>
                <a:gd name="T18" fmla="*/ 261 w 262"/>
                <a:gd name="T19" fmla="*/ 25 h 338"/>
                <a:gd name="T20" fmla="*/ 261 w 262"/>
                <a:gd name="T21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338">
                  <a:moveTo>
                    <a:pt x="261" y="25"/>
                  </a:moveTo>
                  <a:lnTo>
                    <a:pt x="261" y="25"/>
                  </a:lnTo>
                  <a:cubicBezTo>
                    <a:pt x="261" y="324"/>
                    <a:pt x="261" y="324"/>
                    <a:pt x="261" y="324"/>
                  </a:cubicBezTo>
                  <a:cubicBezTo>
                    <a:pt x="261" y="337"/>
                    <a:pt x="248" y="337"/>
                    <a:pt x="236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2" y="0"/>
                    <a:pt x="25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8" y="0"/>
                    <a:pt x="261" y="12"/>
                    <a:pt x="261" y="25"/>
                  </a:cubicBezTo>
                  <a:close/>
                  <a:moveTo>
                    <a:pt x="261" y="25"/>
                  </a:moveTo>
                  <a:lnTo>
                    <a:pt x="261" y="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3" name="Freeform 339">
              <a:extLst>
                <a:ext uri="{FF2B5EF4-FFF2-40B4-BE49-F238E27FC236}">
                  <a16:creationId xmlns:a16="http://schemas.microsoft.com/office/drawing/2014/main" id="{6A60FC3C-09F6-4C0B-8330-1E5CA4E64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388" y="4530725"/>
              <a:ext cx="41275" cy="122238"/>
            </a:xfrm>
            <a:custGeom>
              <a:avLst/>
              <a:gdLst>
                <a:gd name="T0" fmla="*/ 112 w 113"/>
                <a:gd name="T1" fmla="*/ 25 h 338"/>
                <a:gd name="T2" fmla="*/ 112 w 113"/>
                <a:gd name="T3" fmla="*/ 25 h 338"/>
                <a:gd name="T4" fmla="*/ 112 w 113"/>
                <a:gd name="T5" fmla="*/ 324 h 338"/>
                <a:gd name="T6" fmla="*/ 87 w 113"/>
                <a:gd name="T7" fmla="*/ 337 h 338"/>
                <a:gd name="T8" fmla="*/ 0 w 113"/>
                <a:gd name="T9" fmla="*/ 337 h 338"/>
                <a:gd name="T10" fmla="*/ 13 w 113"/>
                <a:gd name="T11" fmla="*/ 337 h 338"/>
                <a:gd name="T12" fmla="*/ 13 w 113"/>
                <a:gd name="T13" fmla="*/ 311 h 338"/>
                <a:gd name="T14" fmla="*/ 13 w 113"/>
                <a:gd name="T15" fmla="*/ 37 h 338"/>
                <a:gd name="T16" fmla="*/ 0 w 113"/>
                <a:gd name="T17" fmla="*/ 0 h 338"/>
                <a:gd name="T18" fmla="*/ 87 w 113"/>
                <a:gd name="T19" fmla="*/ 0 h 338"/>
                <a:gd name="T20" fmla="*/ 112 w 113"/>
                <a:gd name="T21" fmla="*/ 25 h 338"/>
                <a:gd name="T22" fmla="*/ 112 w 113"/>
                <a:gd name="T23" fmla="*/ 25 h 338"/>
                <a:gd name="T24" fmla="*/ 112 w 113"/>
                <a:gd name="T25" fmla="*/ 2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38">
                  <a:moveTo>
                    <a:pt x="112" y="25"/>
                  </a:moveTo>
                  <a:lnTo>
                    <a:pt x="112" y="25"/>
                  </a:lnTo>
                  <a:cubicBezTo>
                    <a:pt x="112" y="324"/>
                    <a:pt x="112" y="324"/>
                    <a:pt x="112" y="324"/>
                  </a:cubicBezTo>
                  <a:cubicBezTo>
                    <a:pt x="112" y="337"/>
                    <a:pt x="99" y="337"/>
                    <a:pt x="87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13" y="337"/>
                    <a:pt x="13" y="337"/>
                    <a:pt x="13" y="337"/>
                  </a:cubicBezTo>
                  <a:cubicBezTo>
                    <a:pt x="13" y="337"/>
                    <a:pt x="13" y="324"/>
                    <a:pt x="13" y="31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25"/>
                    <a:pt x="13" y="12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9" y="0"/>
                    <a:pt x="112" y="12"/>
                    <a:pt x="112" y="25"/>
                  </a:cubicBezTo>
                  <a:close/>
                  <a:moveTo>
                    <a:pt x="112" y="25"/>
                  </a:moveTo>
                  <a:lnTo>
                    <a:pt x="112" y="25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4" name="Freeform 340">
              <a:extLst>
                <a:ext uri="{FF2B5EF4-FFF2-40B4-BE49-F238E27FC236}">
                  <a16:creationId xmlns:a16="http://schemas.microsoft.com/office/drawing/2014/main" id="{092458D7-36D6-4DFE-BE69-C9017EF46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284663"/>
              <a:ext cx="265113" cy="166687"/>
            </a:xfrm>
            <a:custGeom>
              <a:avLst/>
              <a:gdLst>
                <a:gd name="T0" fmla="*/ 735 w 736"/>
                <a:gd name="T1" fmla="*/ 287 h 462"/>
                <a:gd name="T2" fmla="*/ 735 w 736"/>
                <a:gd name="T3" fmla="*/ 287 h 462"/>
                <a:gd name="T4" fmla="*/ 698 w 736"/>
                <a:gd name="T5" fmla="*/ 324 h 462"/>
                <a:gd name="T6" fmla="*/ 673 w 736"/>
                <a:gd name="T7" fmla="*/ 374 h 462"/>
                <a:gd name="T8" fmla="*/ 449 w 736"/>
                <a:gd name="T9" fmla="*/ 225 h 462"/>
                <a:gd name="T10" fmla="*/ 387 w 736"/>
                <a:gd name="T11" fmla="*/ 237 h 462"/>
                <a:gd name="T12" fmla="*/ 125 w 736"/>
                <a:gd name="T13" fmla="*/ 237 h 462"/>
                <a:gd name="T14" fmla="*/ 113 w 736"/>
                <a:gd name="T15" fmla="*/ 461 h 462"/>
                <a:gd name="T16" fmla="*/ 0 w 736"/>
                <a:gd name="T17" fmla="*/ 461 h 462"/>
                <a:gd name="T18" fmla="*/ 0 w 736"/>
                <a:gd name="T19" fmla="*/ 75 h 462"/>
                <a:gd name="T20" fmla="*/ 75 w 736"/>
                <a:gd name="T21" fmla="*/ 0 h 462"/>
                <a:gd name="T22" fmla="*/ 437 w 736"/>
                <a:gd name="T23" fmla="*/ 0 h 462"/>
                <a:gd name="T24" fmla="*/ 511 w 736"/>
                <a:gd name="T25" fmla="*/ 50 h 462"/>
                <a:gd name="T26" fmla="*/ 511 w 736"/>
                <a:gd name="T27" fmla="*/ 50 h 462"/>
                <a:gd name="T28" fmla="*/ 735 w 736"/>
                <a:gd name="T29" fmla="*/ 287 h 462"/>
                <a:gd name="T30" fmla="*/ 735 w 736"/>
                <a:gd name="T31" fmla="*/ 287 h 462"/>
                <a:gd name="T32" fmla="*/ 735 w 736"/>
                <a:gd name="T33" fmla="*/ 287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6" h="462">
                  <a:moveTo>
                    <a:pt x="735" y="287"/>
                  </a:moveTo>
                  <a:lnTo>
                    <a:pt x="735" y="287"/>
                  </a:lnTo>
                  <a:cubicBezTo>
                    <a:pt x="698" y="324"/>
                    <a:pt x="698" y="324"/>
                    <a:pt x="698" y="324"/>
                  </a:cubicBezTo>
                  <a:cubicBezTo>
                    <a:pt x="673" y="374"/>
                    <a:pt x="673" y="374"/>
                    <a:pt x="673" y="374"/>
                  </a:cubicBezTo>
                  <a:cubicBezTo>
                    <a:pt x="449" y="225"/>
                    <a:pt x="449" y="225"/>
                    <a:pt x="449" y="225"/>
                  </a:cubicBezTo>
                  <a:cubicBezTo>
                    <a:pt x="437" y="237"/>
                    <a:pt x="412" y="237"/>
                    <a:pt x="387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13" y="461"/>
                    <a:pt x="113" y="461"/>
                    <a:pt x="113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25"/>
                    <a:pt x="38" y="0"/>
                    <a:pt x="75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74" y="0"/>
                    <a:pt x="498" y="25"/>
                    <a:pt x="511" y="50"/>
                  </a:cubicBezTo>
                  <a:lnTo>
                    <a:pt x="511" y="50"/>
                  </a:lnTo>
                  <a:lnTo>
                    <a:pt x="735" y="287"/>
                  </a:lnTo>
                  <a:close/>
                  <a:moveTo>
                    <a:pt x="735" y="287"/>
                  </a:moveTo>
                  <a:lnTo>
                    <a:pt x="735" y="2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5" name="Freeform 343">
              <a:extLst>
                <a:ext uri="{FF2B5EF4-FFF2-40B4-BE49-F238E27FC236}">
                  <a16:creationId xmlns:a16="http://schemas.microsoft.com/office/drawing/2014/main" id="{4E798978-FA0D-4D1F-B4D2-0CBA0499B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138" y="4257675"/>
              <a:ext cx="73025" cy="80963"/>
            </a:xfrm>
            <a:custGeom>
              <a:avLst/>
              <a:gdLst>
                <a:gd name="T0" fmla="*/ 200 w 201"/>
                <a:gd name="T1" fmla="*/ 63 h 226"/>
                <a:gd name="T2" fmla="*/ 200 w 201"/>
                <a:gd name="T3" fmla="*/ 63 h 226"/>
                <a:gd name="T4" fmla="*/ 200 w 201"/>
                <a:gd name="T5" fmla="*/ 125 h 226"/>
                <a:gd name="T6" fmla="*/ 100 w 201"/>
                <a:gd name="T7" fmla="*/ 225 h 226"/>
                <a:gd name="T8" fmla="*/ 88 w 201"/>
                <a:gd name="T9" fmla="*/ 225 h 226"/>
                <a:gd name="T10" fmla="*/ 50 w 201"/>
                <a:gd name="T11" fmla="*/ 212 h 226"/>
                <a:gd name="T12" fmla="*/ 0 w 201"/>
                <a:gd name="T13" fmla="*/ 125 h 226"/>
                <a:gd name="T14" fmla="*/ 0 w 201"/>
                <a:gd name="T15" fmla="*/ 63 h 226"/>
                <a:gd name="T16" fmla="*/ 50 w 201"/>
                <a:gd name="T17" fmla="*/ 0 h 226"/>
                <a:gd name="T18" fmla="*/ 63 w 201"/>
                <a:gd name="T19" fmla="*/ 0 h 226"/>
                <a:gd name="T20" fmla="*/ 125 w 201"/>
                <a:gd name="T21" fmla="*/ 0 h 226"/>
                <a:gd name="T22" fmla="*/ 200 w 201"/>
                <a:gd name="T23" fmla="*/ 63 h 226"/>
                <a:gd name="T24" fmla="*/ 200 w 201"/>
                <a:gd name="T25" fmla="*/ 63 h 226"/>
                <a:gd name="T26" fmla="*/ 200 w 201"/>
                <a:gd name="T27" fmla="*/ 6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1" h="226">
                  <a:moveTo>
                    <a:pt x="200" y="63"/>
                  </a:moveTo>
                  <a:lnTo>
                    <a:pt x="200" y="63"/>
                  </a:lnTo>
                  <a:cubicBezTo>
                    <a:pt x="200" y="125"/>
                    <a:pt x="200" y="125"/>
                    <a:pt x="200" y="125"/>
                  </a:cubicBezTo>
                  <a:cubicBezTo>
                    <a:pt x="200" y="175"/>
                    <a:pt x="150" y="225"/>
                    <a:pt x="100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75" y="225"/>
                    <a:pt x="63" y="225"/>
                    <a:pt x="50" y="212"/>
                  </a:cubicBezTo>
                  <a:cubicBezTo>
                    <a:pt x="26" y="200"/>
                    <a:pt x="0" y="162"/>
                    <a:pt x="0" y="12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6" y="0"/>
                    <a:pt x="5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62" y="0"/>
                    <a:pt x="200" y="25"/>
                    <a:pt x="200" y="63"/>
                  </a:cubicBezTo>
                  <a:close/>
                  <a:moveTo>
                    <a:pt x="200" y="63"/>
                  </a:moveTo>
                  <a:lnTo>
                    <a:pt x="200" y="6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6" name="Freeform 345">
              <a:extLst>
                <a:ext uri="{FF2B5EF4-FFF2-40B4-BE49-F238E27FC236}">
                  <a16:creationId xmlns:a16="http://schemas.microsoft.com/office/drawing/2014/main" id="{F5B42E5D-E9AB-4F4B-97DD-4D04D9D1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400" y="4449763"/>
              <a:ext cx="41275" cy="41275"/>
            </a:xfrm>
            <a:custGeom>
              <a:avLst/>
              <a:gdLst>
                <a:gd name="T0" fmla="*/ 113 w 114"/>
                <a:gd name="T1" fmla="*/ 0 h 114"/>
                <a:gd name="T2" fmla="*/ 113 w 114"/>
                <a:gd name="T3" fmla="*/ 0 h 114"/>
                <a:gd name="T4" fmla="*/ 100 w 114"/>
                <a:gd name="T5" fmla="*/ 63 h 114"/>
                <a:gd name="T6" fmla="*/ 50 w 114"/>
                <a:gd name="T7" fmla="*/ 113 h 114"/>
                <a:gd name="T8" fmla="*/ 13 w 114"/>
                <a:gd name="T9" fmla="*/ 100 h 114"/>
                <a:gd name="T10" fmla="*/ 0 w 114"/>
                <a:gd name="T11" fmla="*/ 63 h 114"/>
                <a:gd name="T12" fmla="*/ 0 w 114"/>
                <a:gd name="T13" fmla="*/ 0 h 114"/>
                <a:gd name="T14" fmla="*/ 113 w 114"/>
                <a:gd name="T15" fmla="*/ 0 h 114"/>
                <a:gd name="T16" fmla="*/ 113 w 114"/>
                <a:gd name="T17" fmla="*/ 0 h 114"/>
                <a:gd name="T18" fmla="*/ 113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113" y="0"/>
                  </a:moveTo>
                  <a:lnTo>
                    <a:pt x="113" y="0"/>
                  </a:lnTo>
                  <a:cubicBezTo>
                    <a:pt x="100" y="63"/>
                    <a:pt x="100" y="63"/>
                    <a:pt x="100" y="63"/>
                  </a:cubicBezTo>
                  <a:cubicBezTo>
                    <a:pt x="100" y="100"/>
                    <a:pt x="75" y="113"/>
                    <a:pt x="50" y="113"/>
                  </a:cubicBezTo>
                  <a:cubicBezTo>
                    <a:pt x="38" y="113"/>
                    <a:pt x="25" y="113"/>
                    <a:pt x="13" y="100"/>
                  </a:cubicBezTo>
                  <a:cubicBezTo>
                    <a:pt x="13" y="88"/>
                    <a:pt x="0" y="75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13" y="0"/>
                  </a:lnTo>
                  <a:close/>
                  <a:moveTo>
                    <a:pt x="113" y="0"/>
                  </a:moveTo>
                  <a:lnTo>
                    <a:pt x="113" y="0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  <p:sp>
          <p:nvSpPr>
            <p:cNvPr id="27" name="Freeform 346">
              <a:extLst>
                <a:ext uri="{FF2B5EF4-FFF2-40B4-BE49-F238E27FC236}">
                  <a16:creationId xmlns:a16="http://schemas.microsoft.com/office/drawing/2014/main" id="{8F93BFBB-203A-40A6-A160-52D6AF40D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1288" y="4387850"/>
              <a:ext cx="49212" cy="44450"/>
            </a:xfrm>
            <a:custGeom>
              <a:avLst/>
              <a:gdLst>
                <a:gd name="T0" fmla="*/ 99 w 138"/>
                <a:gd name="T1" fmla="*/ 124 h 125"/>
                <a:gd name="T2" fmla="*/ 99 w 138"/>
                <a:gd name="T3" fmla="*/ 124 h 125"/>
                <a:gd name="T4" fmla="*/ 75 w 138"/>
                <a:gd name="T5" fmla="*/ 124 h 125"/>
                <a:gd name="T6" fmla="*/ 49 w 138"/>
                <a:gd name="T7" fmla="*/ 124 h 125"/>
                <a:gd name="T8" fmla="*/ 0 w 138"/>
                <a:gd name="T9" fmla="*/ 87 h 125"/>
                <a:gd name="T10" fmla="*/ 62 w 138"/>
                <a:gd name="T11" fmla="*/ 0 h 125"/>
                <a:gd name="T12" fmla="*/ 112 w 138"/>
                <a:gd name="T13" fmla="*/ 50 h 125"/>
                <a:gd name="T14" fmla="*/ 99 w 138"/>
                <a:gd name="T15" fmla="*/ 124 h 125"/>
                <a:gd name="T16" fmla="*/ 99 w 138"/>
                <a:gd name="T17" fmla="*/ 124 h 125"/>
                <a:gd name="T18" fmla="*/ 99 w 138"/>
                <a:gd name="T19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25">
                  <a:moveTo>
                    <a:pt x="99" y="124"/>
                  </a:moveTo>
                  <a:lnTo>
                    <a:pt x="99" y="124"/>
                  </a:lnTo>
                  <a:cubicBezTo>
                    <a:pt x="87" y="124"/>
                    <a:pt x="87" y="124"/>
                    <a:pt x="75" y="124"/>
                  </a:cubicBezTo>
                  <a:cubicBezTo>
                    <a:pt x="62" y="124"/>
                    <a:pt x="62" y="124"/>
                    <a:pt x="49" y="124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37" y="74"/>
                    <a:pt x="124" y="112"/>
                    <a:pt x="99" y="124"/>
                  </a:cubicBezTo>
                  <a:close/>
                  <a:moveTo>
                    <a:pt x="99" y="124"/>
                  </a:moveTo>
                  <a:lnTo>
                    <a:pt x="99" y="124"/>
                  </a:lnTo>
                  <a:close/>
                </a:path>
              </a:pathLst>
            </a:custGeom>
            <a:solidFill>
              <a:srgbClr val="FFCE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343808"/>
              <a:endParaRPr lang="en-SV" sz="2646">
                <a:solidFill>
                  <a:srgbClr val="999999"/>
                </a:solidFill>
                <a:latin typeface="Trebuchet"/>
              </a:endParaRPr>
            </a:p>
          </p:txBody>
        </p:sp>
      </p:grpSp>
      <p:sp>
        <p:nvSpPr>
          <p:cNvPr id="28" name="Rounded Rectangular Callout 151">
            <a:extLst>
              <a:ext uri="{FF2B5EF4-FFF2-40B4-BE49-F238E27FC236}">
                <a16:creationId xmlns:a16="http://schemas.microsoft.com/office/drawing/2014/main" id="{8959E838-EBD1-472E-A49E-A5E21C4E365C}"/>
              </a:ext>
            </a:extLst>
          </p:cNvPr>
          <p:cNvSpPr/>
          <p:nvPr userDrawn="1"/>
        </p:nvSpPr>
        <p:spPr>
          <a:xfrm>
            <a:off x="9867340" y="2208694"/>
            <a:ext cx="5581424" cy="1764372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sp>
        <p:nvSpPr>
          <p:cNvPr id="29" name="Rounded Rectangular Callout 156">
            <a:extLst>
              <a:ext uri="{FF2B5EF4-FFF2-40B4-BE49-F238E27FC236}">
                <a16:creationId xmlns:a16="http://schemas.microsoft.com/office/drawing/2014/main" id="{E53F31DF-B4F8-414B-8F1A-98ECAD73204A}"/>
              </a:ext>
            </a:extLst>
          </p:cNvPr>
          <p:cNvSpPr/>
          <p:nvPr userDrawn="1"/>
        </p:nvSpPr>
        <p:spPr>
          <a:xfrm rot="10800000">
            <a:off x="2193740" y="7414974"/>
            <a:ext cx="5660058" cy="1953673"/>
          </a:xfrm>
          <a:prstGeom prst="wedgeRoundRectCallout">
            <a:avLst>
              <a:gd name="adj1" fmla="val -33376"/>
              <a:gd name="adj2" fmla="val 115624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808"/>
            <a:endParaRPr lang="en-SV" sz="2646">
              <a:solidFill>
                <a:srgbClr val="FFFFFF"/>
              </a:solidFill>
              <a:latin typeface="Trebuchet"/>
            </a:endParaRPr>
          </a:p>
        </p:txBody>
      </p:sp>
      <p:grpSp>
        <p:nvGrpSpPr>
          <p:cNvPr id="30" name="Group 157">
            <a:extLst>
              <a:ext uri="{FF2B5EF4-FFF2-40B4-BE49-F238E27FC236}">
                <a16:creationId xmlns:a16="http://schemas.microsoft.com/office/drawing/2014/main" id="{8AA0FC53-A2C3-42A9-911D-15175E5F3C47}"/>
              </a:ext>
            </a:extLst>
          </p:cNvPr>
          <p:cNvGrpSpPr/>
          <p:nvPr userDrawn="1"/>
        </p:nvGrpSpPr>
        <p:grpSpPr>
          <a:xfrm>
            <a:off x="10322454" y="2288009"/>
            <a:ext cx="4805369" cy="1506214"/>
            <a:chOff x="8171269" y="10491269"/>
            <a:chExt cx="9384504" cy="2049398"/>
          </a:xfrm>
        </p:grpSpPr>
        <p:sp>
          <p:nvSpPr>
            <p:cNvPr id="31" name="TextBox 158">
              <a:extLst>
                <a:ext uri="{FF2B5EF4-FFF2-40B4-BE49-F238E27FC236}">
                  <a16:creationId xmlns:a16="http://schemas.microsoft.com/office/drawing/2014/main" id="{31E16170-6CA1-456C-8DFE-73E9F7C741D4}"/>
                </a:ext>
              </a:extLst>
            </p:cNvPr>
            <p:cNvSpPr txBox="1"/>
            <p:nvPr/>
          </p:nvSpPr>
          <p:spPr>
            <a:xfrm>
              <a:off x="8171269" y="11306867"/>
              <a:ext cx="9384504" cy="1233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valiaçã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iscos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Maior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a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órgão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de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overnança</a:t>
              </a:r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2" name="Rectangle 159">
              <a:extLst>
                <a:ext uri="{FF2B5EF4-FFF2-40B4-BE49-F238E27FC236}">
                  <a16:creationId xmlns:a16="http://schemas.microsoft.com/office/drawing/2014/main" id="{A1EC6323-BD12-42E2-8E58-0FC1C7CEC95B}"/>
                </a:ext>
              </a:extLst>
            </p:cNvPr>
            <p:cNvSpPr/>
            <p:nvPr/>
          </p:nvSpPr>
          <p:spPr>
            <a:xfrm>
              <a:off x="8171269" y="10491269"/>
              <a:ext cx="9384500" cy="556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43808"/>
              <a:r>
                <a:rPr lang="en-US" sz="2058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3ª LINHA</a:t>
              </a:r>
            </a:p>
          </p:txBody>
        </p:sp>
      </p:grpSp>
      <p:grpSp>
        <p:nvGrpSpPr>
          <p:cNvPr id="33" name="Group 160">
            <a:extLst>
              <a:ext uri="{FF2B5EF4-FFF2-40B4-BE49-F238E27FC236}">
                <a16:creationId xmlns:a16="http://schemas.microsoft.com/office/drawing/2014/main" id="{08465304-E26C-4D92-9A4B-E3460F8EF172}"/>
              </a:ext>
            </a:extLst>
          </p:cNvPr>
          <p:cNvGrpSpPr/>
          <p:nvPr userDrawn="1"/>
        </p:nvGrpSpPr>
        <p:grpSpPr>
          <a:xfrm>
            <a:off x="2614658" y="7450911"/>
            <a:ext cx="4805369" cy="2196670"/>
            <a:chOff x="8171269" y="10313469"/>
            <a:chExt cx="9384504" cy="2988852"/>
          </a:xfrm>
        </p:grpSpPr>
        <p:sp>
          <p:nvSpPr>
            <p:cNvPr id="34" name="TextBox 161">
              <a:extLst>
                <a:ext uri="{FF2B5EF4-FFF2-40B4-BE49-F238E27FC236}">
                  <a16:creationId xmlns:a16="http://schemas.microsoft.com/office/drawing/2014/main" id="{DFF8D03F-6E8B-4324-BC16-26DF6B92A341}"/>
                </a:ext>
              </a:extLst>
            </p:cNvPr>
            <p:cNvSpPr txBox="1"/>
            <p:nvPr/>
          </p:nvSpPr>
          <p:spPr>
            <a:xfrm>
              <a:off x="8171269" y="11699132"/>
              <a:ext cx="9384504" cy="1603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Independênci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Limitad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</a:t>
              </a:r>
            </a:p>
            <a:p>
              <a:pPr marL="252014" indent="-252014" defTabSz="1343808">
                <a:buFont typeface="Arial" panose="020B0604020202020204" pitchFamily="34" charset="0"/>
                <a:buChar char="•"/>
              </a:pP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Report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primariamente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 à </a:t>
              </a:r>
              <a:r>
                <a:rPr lang="en-US" sz="1764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gerência</a:t>
              </a:r>
              <a:r>
                <a:rPr lang="en-US" sz="1764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"/>
                  <a:ea typeface="Lato Light" panose="020F0502020204030203" pitchFamily="34" charset="0"/>
                  <a:cs typeface="Lato Light" panose="020F0502020204030203" pitchFamily="34" charset="0"/>
                </a:rPr>
                <a:t>. </a:t>
              </a:r>
            </a:p>
            <a:p>
              <a:pPr defTabSz="1343808"/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 defTabSz="1343808"/>
              <a:endPara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  <p:sp>
          <p:nvSpPr>
            <p:cNvPr id="35" name="Rectangle 162">
              <a:extLst>
                <a:ext uri="{FF2B5EF4-FFF2-40B4-BE49-F238E27FC236}">
                  <a16:creationId xmlns:a16="http://schemas.microsoft.com/office/drawing/2014/main" id="{A28857FF-94BC-4073-BD0D-8D0EFE165BDB}"/>
                </a:ext>
              </a:extLst>
            </p:cNvPr>
            <p:cNvSpPr/>
            <p:nvPr/>
          </p:nvSpPr>
          <p:spPr>
            <a:xfrm>
              <a:off x="8281125" y="10313469"/>
              <a:ext cx="8927241" cy="556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343808"/>
              <a:r>
                <a:rPr lang="en-US" sz="2058">
                  <a:solidFill>
                    <a:srgbClr val="494949"/>
                  </a:solidFill>
                  <a:latin typeface="Trebuchet"/>
                  <a:ea typeface="Roboto Medium" panose="02000000000000000000" pitchFamily="2" charset="0"/>
                  <a:cs typeface="Poppins" pitchFamily="2" charset="77"/>
                </a:rPr>
                <a:t>2ª LINHA</a:t>
              </a:r>
              <a:endParaRPr lang="en-US" sz="294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sp>
        <p:nvSpPr>
          <p:cNvPr id="36" name="TextBox 163">
            <a:extLst>
              <a:ext uri="{FF2B5EF4-FFF2-40B4-BE49-F238E27FC236}">
                <a16:creationId xmlns:a16="http://schemas.microsoft.com/office/drawing/2014/main" id="{BB82A0A6-E268-42BE-9730-71D44CFA86AE}"/>
              </a:ext>
            </a:extLst>
          </p:cNvPr>
          <p:cNvSpPr txBox="1"/>
          <p:nvPr userDrawn="1"/>
        </p:nvSpPr>
        <p:spPr>
          <a:xfrm>
            <a:off x="2401899" y="2980428"/>
            <a:ext cx="4539369" cy="90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São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proprietári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store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Risco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a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erência</a:t>
            </a:r>
            <a:endParaRPr lang="en-US" sz="1764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252014" indent="-252014" defTabSz="1343808">
              <a:buFont typeface="Arial" panose="020B0604020202020204" pitchFamily="34" charset="0"/>
              <a:buChar char="•"/>
            </a:pP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Medidas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de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controle</a:t>
            </a:r>
            <a:r>
              <a:rPr lang="en-US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764" err="1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Interno</a:t>
            </a:r>
            <a:endParaRPr lang="en-US" sz="1764">
              <a:solidFill>
                <a:schemeClr val="tx1">
                  <a:lumMod val="75000"/>
                  <a:lumOff val="25000"/>
                </a:schemeClr>
              </a:solidFill>
              <a:latin typeface="Trebuche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7" name="TextBox 164">
            <a:extLst>
              <a:ext uri="{FF2B5EF4-FFF2-40B4-BE49-F238E27FC236}">
                <a16:creationId xmlns:a16="http://schemas.microsoft.com/office/drawing/2014/main" id="{46A46D57-17C2-4AD1-954C-122B26875916}"/>
              </a:ext>
            </a:extLst>
          </p:cNvPr>
          <p:cNvSpPr txBox="1"/>
          <p:nvPr userDrawn="1"/>
        </p:nvSpPr>
        <p:spPr>
          <a:xfrm>
            <a:off x="12380367" y="6880344"/>
            <a:ext cx="3234972" cy="2651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43808">
              <a:spcBef>
                <a:spcPts val="882"/>
              </a:spcBef>
            </a:pP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ção e Consultoria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forma independente e objetiva para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trazer benefícios à unidade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e melhorar </a:t>
            </a:r>
            <a:r>
              <a:rPr lang="pt-BR" sz="1764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s operações auxiliando-a a alcançar seus objetivos</a:t>
            </a:r>
            <a:r>
              <a:rPr lang="pt-BR" sz="1764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</a:t>
            </a:r>
          </a:p>
          <a:p>
            <a:pPr algn="r" defTabSz="1343808">
              <a:spcBef>
                <a:spcPts val="882"/>
              </a:spcBef>
            </a:pP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valiar e melhorar </a:t>
            </a:r>
            <a:r>
              <a:rPr lang="pt-BR" sz="1764" kern="120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a eficácia do gerenciamento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de riscos, controle</a:t>
            </a:r>
            <a:r>
              <a:rPr lang="pt-BR" sz="1764" b="0">
                <a:solidFill>
                  <a:schemeClr val="tx1">
                    <a:lumMod val="75000"/>
                    <a:lumOff val="25000"/>
                  </a:schemeClr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 e </a:t>
            </a:r>
            <a:r>
              <a:rPr lang="pt-BR" sz="1764" b="1">
                <a:solidFill>
                  <a:srgbClr val="006298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governança</a:t>
            </a:r>
            <a:r>
              <a:rPr lang="pt-BR" sz="1764">
                <a:solidFill>
                  <a:srgbClr val="999999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</a:p>
        </p:txBody>
      </p:sp>
      <p:sp>
        <p:nvSpPr>
          <p:cNvPr id="38" name="Gráfico 216">
            <a:extLst>
              <a:ext uri="{FF2B5EF4-FFF2-40B4-BE49-F238E27FC236}">
                <a16:creationId xmlns:a16="http://schemas.microsoft.com/office/drawing/2014/main" id="{1716FBB9-C4BA-4FED-9EE6-3DD2E017D2AE}"/>
              </a:ext>
            </a:extLst>
          </p:cNvPr>
          <p:cNvSpPr/>
          <p:nvPr userDrawn="1"/>
        </p:nvSpPr>
        <p:spPr>
          <a:xfrm>
            <a:off x="14632425" y="5786280"/>
            <a:ext cx="746283" cy="742985"/>
          </a:xfrm>
          <a:custGeom>
            <a:avLst/>
            <a:gdLst>
              <a:gd name="connsiteX0" fmla="*/ 285416 w 570831"/>
              <a:gd name="connsiteY0" fmla="*/ 0 h 570831"/>
              <a:gd name="connsiteX1" fmla="*/ 0 w 570831"/>
              <a:gd name="connsiteY1" fmla="*/ 285416 h 570831"/>
              <a:gd name="connsiteX2" fmla="*/ 285416 w 570831"/>
              <a:gd name="connsiteY2" fmla="*/ 570831 h 570831"/>
              <a:gd name="connsiteX3" fmla="*/ 570831 w 570831"/>
              <a:gd name="connsiteY3" fmla="*/ 285416 h 570831"/>
              <a:gd name="connsiteX4" fmla="*/ 285416 w 570831"/>
              <a:gd name="connsiteY4" fmla="*/ 0 h 570831"/>
              <a:gd name="connsiteX5" fmla="*/ 285416 w 570831"/>
              <a:gd name="connsiteY5" fmla="*/ 83247 h 570831"/>
              <a:gd name="connsiteX6" fmla="*/ 422177 w 570831"/>
              <a:gd name="connsiteY6" fmla="*/ 220009 h 570831"/>
              <a:gd name="connsiteX7" fmla="*/ 285416 w 570831"/>
              <a:gd name="connsiteY7" fmla="*/ 356769 h 570831"/>
              <a:gd name="connsiteX8" fmla="*/ 148654 w 570831"/>
              <a:gd name="connsiteY8" fmla="*/ 220007 h 570831"/>
              <a:gd name="connsiteX9" fmla="*/ 285416 w 570831"/>
              <a:gd name="connsiteY9" fmla="*/ 83247 h 570831"/>
              <a:gd name="connsiteX10" fmla="*/ 285416 w 570831"/>
              <a:gd name="connsiteY10" fmla="*/ 523261 h 570831"/>
              <a:gd name="connsiteX11" fmla="*/ 95354 w 570831"/>
              <a:gd name="connsiteY11" fmla="*/ 427809 h 570831"/>
              <a:gd name="connsiteX12" fmla="*/ 285416 w 570831"/>
              <a:gd name="connsiteY12" fmla="*/ 380554 h 570831"/>
              <a:gd name="connsiteX13" fmla="*/ 475478 w 570831"/>
              <a:gd name="connsiteY13" fmla="*/ 427807 h 570831"/>
              <a:gd name="connsiteX14" fmla="*/ 285416 w 570831"/>
              <a:gd name="connsiteY14" fmla="*/ 523261 h 57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0831" h="570831">
                <a:moveTo>
                  <a:pt x="285416" y="0"/>
                </a:moveTo>
                <a:cubicBezTo>
                  <a:pt x="128040" y="0"/>
                  <a:pt x="0" y="128040"/>
                  <a:pt x="0" y="285416"/>
                </a:cubicBezTo>
                <a:cubicBezTo>
                  <a:pt x="0" y="442791"/>
                  <a:pt x="128040" y="570831"/>
                  <a:pt x="285416" y="570831"/>
                </a:cubicBezTo>
                <a:cubicBezTo>
                  <a:pt x="442791" y="570831"/>
                  <a:pt x="570831" y="442791"/>
                  <a:pt x="570831" y="285416"/>
                </a:cubicBezTo>
                <a:cubicBezTo>
                  <a:pt x="570831" y="128040"/>
                  <a:pt x="442791" y="0"/>
                  <a:pt x="285416" y="0"/>
                </a:cubicBezTo>
                <a:close/>
                <a:moveTo>
                  <a:pt x="285416" y="83247"/>
                </a:moveTo>
                <a:cubicBezTo>
                  <a:pt x="360822" y="83247"/>
                  <a:pt x="422177" y="144601"/>
                  <a:pt x="422177" y="220009"/>
                </a:cubicBezTo>
                <a:cubicBezTo>
                  <a:pt x="422177" y="295416"/>
                  <a:pt x="360822" y="356769"/>
                  <a:pt x="285416" y="356769"/>
                </a:cubicBezTo>
                <a:cubicBezTo>
                  <a:pt x="210009" y="356769"/>
                  <a:pt x="148654" y="295415"/>
                  <a:pt x="148654" y="220007"/>
                </a:cubicBezTo>
                <a:cubicBezTo>
                  <a:pt x="148654" y="144600"/>
                  <a:pt x="210009" y="83247"/>
                  <a:pt x="285416" y="83247"/>
                </a:cubicBezTo>
                <a:close/>
                <a:moveTo>
                  <a:pt x="285416" y="523261"/>
                </a:moveTo>
                <a:cubicBezTo>
                  <a:pt x="207699" y="523261"/>
                  <a:pt x="138783" y="485628"/>
                  <a:pt x="95354" y="427809"/>
                </a:cubicBezTo>
                <a:cubicBezTo>
                  <a:pt x="142934" y="404915"/>
                  <a:pt x="210882" y="380554"/>
                  <a:pt x="285416" y="380554"/>
                </a:cubicBezTo>
                <a:cubicBezTo>
                  <a:pt x="359955" y="380554"/>
                  <a:pt x="427908" y="404919"/>
                  <a:pt x="475478" y="427807"/>
                </a:cubicBezTo>
                <a:cubicBezTo>
                  <a:pt x="432049" y="485627"/>
                  <a:pt x="363133" y="523261"/>
                  <a:pt x="285416" y="523261"/>
                </a:cubicBezTo>
                <a:close/>
              </a:path>
            </a:pathLst>
          </a:custGeom>
          <a:solidFill>
            <a:srgbClr val="004165"/>
          </a:solidFill>
          <a:ln w="1098" cap="flat">
            <a:noFill/>
            <a:prstDash val="solid"/>
            <a:miter/>
          </a:ln>
        </p:spPr>
        <p:txBody>
          <a:bodyPr rtlCol="0" anchor="ctr"/>
          <a:lstStyle/>
          <a:p>
            <a:pPr defTabSz="1343808"/>
            <a:endParaRPr lang="es-MX" sz="2646">
              <a:solidFill>
                <a:srgbClr val="999999"/>
              </a:solidFill>
              <a:latin typeface="Trebuchet"/>
            </a:endParaRPr>
          </a:p>
        </p:txBody>
      </p:sp>
      <p:sp>
        <p:nvSpPr>
          <p:cNvPr id="39" name="Rectangle 162">
            <a:extLst>
              <a:ext uri="{FF2B5EF4-FFF2-40B4-BE49-F238E27FC236}">
                <a16:creationId xmlns:a16="http://schemas.microsoft.com/office/drawing/2014/main" id="{31A87DFC-D532-49C0-AEBD-3A7B23367726}"/>
              </a:ext>
            </a:extLst>
          </p:cNvPr>
          <p:cNvSpPr/>
          <p:nvPr userDrawn="1"/>
        </p:nvSpPr>
        <p:spPr>
          <a:xfrm>
            <a:off x="2401899" y="2319838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1ª LINHA </a:t>
            </a:r>
          </a:p>
        </p:txBody>
      </p:sp>
      <p:sp>
        <p:nvSpPr>
          <p:cNvPr id="40" name="Rectangle 162">
            <a:extLst>
              <a:ext uri="{FF2B5EF4-FFF2-40B4-BE49-F238E27FC236}">
                <a16:creationId xmlns:a16="http://schemas.microsoft.com/office/drawing/2014/main" id="{D30B2F69-91E9-45D3-AC96-13F14AB1F77D}"/>
              </a:ext>
            </a:extLst>
          </p:cNvPr>
          <p:cNvSpPr/>
          <p:nvPr userDrawn="1"/>
        </p:nvSpPr>
        <p:spPr>
          <a:xfrm>
            <a:off x="2401899" y="2581068"/>
            <a:ext cx="3234972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Gestore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e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Equipes</a:t>
            </a:r>
            <a:endParaRPr lang="en-US" sz="2058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1" name="Rectangle 162">
            <a:extLst>
              <a:ext uri="{FF2B5EF4-FFF2-40B4-BE49-F238E27FC236}">
                <a16:creationId xmlns:a16="http://schemas.microsoft.com/office/drawing/2014/main" id="{F40BB129-6BB8-4200-9F33-4D2B13198FA8}"/>
              </a:ext>
            </a:extLst>
          </p:cNvPr>
          <p:cNvSpPr/>
          <p:nvPr userDrawn="1"/>
        </p:nvSpPr>
        <p:spPr>
          <a:xfrm>
            <a:off x="2608329" y="7736026"/>
            <a:ext cx="5060704" cy="725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Risco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formidade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ntrole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Interno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Ouvidoria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, SI e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demai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funções</a:t>
            </a:r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b="1" i="1" err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Corporativas</a:t>
            </a:r>
            <a:endParaRPr lang="en-US" sz="2058" b="1" i="1">
              <a:solidFill>
                <a:srgbClr val="006298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42" name="Rectangle 162">
            <a:extLst>
              <a:ext uri="{FF2B5EF4-FFF2-40B4-BE49-F238E27FC236}">
                <a16:creationId xmlns:a16="http://schemas.microsoft.com/office/drawing/2014/main" id="{86F5A0C9-AACA-483D-A123-2854B916C8FF}"/>
              </a:ext>
            </a:extLst>
          </p:cNvPr>
          <p:cNvSpPr/>
          <p:nvPr userDrawn="1"/>
        </p:nvSpPr>
        <p:spPr>
          <a:xfrm>
            <a:off x="10285550" y="2542026"/>
            <a:ext cx="4707315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b="1" i="1">
                <a:solidFill>
                  <a:srgbClr val="006298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Auditoria Interna</a:t>
            </a:r>
          </a:p>
        </p:txBody>
      </p:sp>
      <p:sp>
        <p:nvSpPr>
          <p:cNvPr id="43" name="Rectangle 162">
            <a:extLst>
              <a:ext uri="{FF2B5EF4-FFF2-40B4-BE49-F238E27FC236}">
                <a16:creationId xmlns:a16="http://schemas.microsoft.com/office/drawing/2014/main" id="{11E498B7-EA2B-46F3-A34C-5767B92574F4}"/>
              </a:ext>
            </a:extLst>
          </p:cNvPr>
          <p:cNvSpPr/>
          <p:nvPr userDrawn="1"/>
        </p:nvSpPr>
        <p:spPr>
          <a:xfrm>
            <a:off x="13997854" y="6458762"/>
            <a:ext cx="1617486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43808"/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Nosso</a:t>
            </a:r>
            <a:r>
              <a:rPr lang="en-US" sz="2058" i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 </a:t>
            </a:r>
            <a:r>
              <a:rPr lang="en-US" sz="2058" i="1" err="1">
                <a:solidFill>
                  <a:schemeClr val="tx1"/>
                </a:solidFill>
                <a:latin typeface="Trebuchet"/>
                <a:ea typeface="Roboto Medium" panose="02000000000000000000" pitchFamily="2" charset="0"/>
                <a:cs typeface="Poppins" pitchFamily="2" charset="77"/>
              </a:rPr>
              <a:t>Papel</a:t>
            </a:r>
            <a:endParaRPr lang="en-US" sz="2058" i="1">
              <a:solidFill>
                <a:schemeClr val="tx1"/>
              </a:solidFill>
              <a:latin typeface="Trebuchet"/>
              <a:ea typeface="Roboto Medium" panose="02000000000000000000" pitchFamily="2" charset="0"/>
              <a:cs typeface="Poppins" pitchFamily="2" charset="77"/>
            </a:endParaRP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29D24922-E087-44E3-AF98-6A7C7504C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599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B6105FF7-EA5F-4A69-9C5A-D2AA690E2764}"/>
              </a:ext>
            </a:extLst>
          </p:cNvPr>
          <p:cNvSpPr txBox="1">
            <a:spLocks/>
          </p:cNvSpPr>
          <p:nvPr userDrawn="1"/>
        </p:nvSpPr>
        <p:spPr>
          <a:xfrm>
            <a:off x="693776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Como podemos ajudar?</a:t>
            </a:r>
          </a:p>
        </p:txBody>
      </p:sp>
      <p:sp>
        <p:nvSpPr>
          <p:cNvPr id="46" name="Título 3">
            <a:extLst>
              <a:ext uri="{FF2B5EF4-FFF2-40B4-BE49-F238E27FC236}">
                <a16:creationId xmlns:a16="http://schemas.microsoft.com/office/drawing/2014/main" id="{BA5866AF-84B6-41E3-A175-15F30D5C106B}"/>
              </a:ext>
            </a:extLst>
          </p:cNvPr>
          <p:cNvSpPr txBox="1">
            <a:spLocks/>
          </p:cNvSpPr>
          <p:nvPr userDrawn="1"/>
        </p:nvSpPr>
        <p:spPr>
          <a:xfrm>
            <a:off x="693775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22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Interna</a:t>
            </a:r>
          </a:p>
        </p:txBody>
      </p:sp>
      <p:cxnSp>
        <p:nvCxnSpPr>
          <p:cNvPr id="47" name="Straight Connector 16">
            <a:extLst>
              <a:ext uri="{FF2B5EF4-FFF2-40B4-BE49-F238E27FC236}">
                <a16:creationId xmlns:a16="http://schemas.microsoft.com/office/drawing/2014/main" id="{D43F4610-E35C-41FD-9E78-A553103604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Triângulo isósceles 47">
            <a:extLst>
              <a:ext uri="{FF2B5EF4-FFF2-40B4-BE49-F238E27FC236}">
                <a16:creationId xmlns:a16="http://schemas.microsoft.com/office/drawing/2014/main" id="{31EC1649-4CF2-459C-9FA5-AA6795C32379}"/>
              </a:ext>
            </a:extLst>
          </p:cNvPr>
          <p:cNvSpPr/>
          <p:nvPr userDrawn="1"/>
        </p:nvSpPr>
        <p:spPr>
          <a:xfrm rot="5400000">
            <a:off x="7552230" y="2850596"/>
            <a:ext cx="942931" cy="1266922"/>
          </a:xfrm>
          <a:prstGeom prst="triangle">
            <a:avLst>
              <a:gd name="adj" fmla="val 10000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</p:spTree>
    <p:extLst>
      <p:ext uri="{BB962C8B-B14F-4D97-AF65-F5344CB8AC3E}">
        <p14:creationId xmlns:p14="http://schemas.microsoft.com/office/powerpoint/2010/main" val="261350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icos_e_Tabelas">
    <p:bg>
      <p:bgPr>
        <a:gradFill flip="none" rotWithShape="1">
          <a:gsLst>
            <a:gs pos="100000">
              <a:schemeClr val="bg1">
                <a:lumMod val="95000"/>
              </a:schemeClr>
            </a:gs>
            <a:gs pos="0">
              <a:schemeClr val="bg1"/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23F641C-58BC-429A-A071-874697C84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8AF3BFC-3768-44CC-B7B2-EEE6A6C0E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C15CFA29-C9BA-4755-8460-955BA1317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1C36F9B-B857-4440-926A-D712DF47F46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19EBF5AF-873A-4B08-AE1E-C8FBB7A5E9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2058" y="2097798"/>
            <a:ext cx="16081060" cy="65454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352" b="0">
                <a:solidFill>
                  <a:schemeClr val="tx1"/>
                </a:solidFill>
              </a:defRPr>
            </a:lvl1pPr>
            <a:lvl2pPr>
              <a:defRPr sz="2058" b="0">
                <a:solidFill>
                  <a:schemeClr val="tx1"/>
                </a:solidFill>
              </a:defRPr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3CF3819-6E5A-4E77-9AE5-1025EBF6C0EF}"/>
              </a:ext>
            </a:extLst>
          </p:cNvPr>
          <p:cNvGrpSpPr/>
          <p:nvPr userDrawn="1"/>
        </p:nvGrpSpPr>
        <p:grpSpPr>
          <a:xfrm rot="5400000" flipV="1">
            <a:off x="14830426" y="3381376"/>
            <a:ext cx="7467600" cy="704847"/>
            <a:chOff x="31376" y="-1105651"/>
            <a:chExt cx="11627224" cy="838200"/>
          </a:xfrm>
        </p:grpSpPr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39795F8-C78C-4447-9EEC-BD91A4C3C137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0DA9F354-1A03-4ACD-AB08-70CB58B40948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BEAFCA33-9743-4B26-9051-B71F4118DDC0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9C05B808-789D-4114-80E3-7181EB7AC74B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A4830349-FF5A-4957-BF1D-4B2D8075BC18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378127C7-C640-4729-84A6-28B5BD01B55F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199F2338-8DF8-481E-89F2-6B7F4101513B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D721DD00-61D1-47EC-AEF4-ACE7D5D558FF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7300F436-FFD3-4213-8AB8-D5A5BACE6A67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4BBB9BF0-4123-48FF-8945-C69B7DC90463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20" name="Retângulo 19">
                <a:extLst>
                  <a:ext uri="{FF2B5EF4-FFF2-40B4-BE49-F238E27FC236}">
                    <a16:creationId xmlns:a16="http://schemas.microsoft.com/office/drawing/2014/main" id="{F2D6A7D4-6F54-47FD-872A-A5B9707E8690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</p:grp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18B5D0C2-B372-40D0-9D54-43F660613E16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64"/>
            </a:p>
          </p:txBody>
        </p:sp>
      </p:grpSp>
      <p:sp>
        <p:nvSpPr>
          <p:cNvPr id="21" name="Retângulo 20">
            <a:extLst>
              <a:ext uri="{FF2B5EF4-FFF2-40B4-BE49-F238E27FC236}">
                <a16:creationId xmlns:a16="http://schemas.microsoft.com/office/drawing/2014/main" id="{AA2C16A8-D154-4310-8CC4-9D6C64D34EE4}"/>
              </a:ext>
            </a:extLst>
          </p:cNvPr>
          <p:cNvSpPr/>
          <p:nvPr userDrawn="1"/>
        </p:nvSpPr>
        <p:spPr>
          <a:xfrm>
            <a:off x="0" y="-659542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72755FD7-AA69-45E5-89B2-E82B9A3E9246}"/>
              </a:ext>
            </a:extLst>
          </p:cNvPr>
          <p:cNvSpPr/>
          <p:nvPr userDrawn="1"/>
        </p:nvSpPr>
        <p:spPr>
          <a:xfrm>
            <a:off x="905206" y="-659542"/>
            <a:ext cx="819150" cy="536699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826BDE5-5D88-467C-84E5-ADC73EC85A5B}"/>
              </a:ext>
            </a:extLst>
          </p:cNvPr>
          <p:cNvSpPr/>
          <p:nvPr userDrawn="1"/>
        </p:nvSpPr>
        <p:spPr>
          <a:xfrm>
            <a:off x="1808913" y="-659542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36192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Ág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81973FD2-BC81-4DD1-BA8B-6654E1F16CC6}"/>
              </a:ext>
            </a:extLst>
          </p:cNvPr>
          <p:cNvGrpSpPr/>
          <p:nvPr userDrawn="1"/>
        </p:nvGrpSpPr>
        <p:grpSpPr>
          <a:xfrm>
            <a:off x="898961" y="2080940"/>
            <a:ext cx="16158496" cy="7237164"/>
            <a:chOff x="636583" y="1415694"/>
            <a:chExt cx="10944285" cy="4923551"/>
          </a:xfrm>
        </p:grpSpPr>
        <p:sp>
          <p:nvSpPr>
            <p:cNvPr id="8" name="Arrow: Pentagon 41">
              <a:extLst>
                <a:ext uri="{FF2B5EF4-FFF2-40B4-BE49-F238E27FC236}">
                  <a16:creationId xmlns:a16="http://schemas.microsoft.com/office/drawing/2014/main" id="{E1B57547-62A5-48B9-AE4B-DD9ABEE3CF2D}"/>
                </a:ext>
              </a:extLst>
            </p:cNvPr>
            <p:cNvSpPr/>
            <p:nvPr/>
          </p:nvSpPr>
          <p:spPr>
            <a:xfrm>
              <a:off x="636583" y="1415694"/>
              <a:ext cx="7252173" cy="4923550"/>
            </a:xfrm>
            <a:prstGeom prst="homePlate">
              <a:avLst>
                <a:gd name="adj" fmla="val 33357"/>
              </a:avLst>
            </a:prstGeom>
            <a:gradFill>
              <a:gsLst>
                <a:gs pos="100000">
                  <a:schemeClr val="bg1">
                    <a:lumMod val="85000"/>
                    <a:alpha val="0"/>
                  </a:schemeClr>
                </a:gs>
                <a:gs pos="50000">
                  <a:schemeClr val="bg1">
                    <a:lumMod val="85000"/>
                    <a:alpha val="50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lin ang="10800000" scaled="0"/>
            </a:gradFill>
            <a:ln w="19050">
              <a:noFill/>
              <a:prstDash val="dot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9" name="Arrow: Pentagon 42">
              <a:extLst>
                <a:ext uri="{FF2B5EF4-FFF2-40B4-BE49-F238E27FC236}">
                  <a16:creationId xmlns:a16="http://schemas.microsoft.com/office/drawing/2014/main" id="{21C7AEED-BA51-4C67-B63B-FC4651969188}"/>
                </a:ext>
              </a:extLst>
            </p:cNvPr>
            <p:cNvSpPr/>
            <p:nvPr/>
          </p:nvSpPr>
          <p:spPr>
            <a:xfrm>
              <a:off x="636588" y="2415485"/>
              <a:ext cx="7252172" cy="2923969"/>
            </a:xfrm>
            <a:prstGeom prst="homePlate">
              <a:avLst>
                <a:gd name="adj" fmla="val 55929"/>
              </a:avLst>
            </a:prstGeom>
            <a:gradFill>
              <a:gsLst>
                <a:gs pos="100000">
                  <a:schemeClr val="bg1">
                    <a:lumMod val="65000"/>
                    <a:alpha val="0"/>
                  </a:schemeClr>
                </a:gs>
                <a:gs pos="50000">
                  <a:schemeClr val="bg1">
                    <a:lumMod val="65000"/>
                    <a:alpha val="5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10800000" scaled="0"/>
            </a:gradFill>
            <a:ln w="762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10" name="Arrow: Pentagon 43">
              <a:extLst>
                <a:ext uri="{FF2B5EF4-FFF2-40B4-BE49-F238E27FC236}">
                  <a16:creationId xmlns:a16="http://schemas.microsoft.com/office/drawing/2014/main" id="{5F916D27-85A1-4179-BE03-007629CE41FB}"/>
                </a:ext>
              </a:extLst>
            </p:cNvPr>
            <p:cNvSpPr/>
            <p:nvPr/>
          </p:nvSpPr>
          <p:spPr>
            <a:xfrm>
              <a:off x="636589" y="3385065"/>
              <a:ext cx="6674810" cy="984809"/>
            </a:xfrm>
            <a:prstGeom prst="homePlate">
              <a:avLst>
                <a:gd name="adj" fmla="val 107567"/>
              </a:avLst>
            </a:prstGeom>
            <a:gradFill>
              <a:gsLst>
                <a:gs pos="10000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  <a:alpha val="30000"/>
                  </a:schemeClr>
                </a:gs>
                <a:gs pos="0">
                  <a:schemeClr val="bg1">
                    <a:lumMod val="50000"/>
                    <a:alpha val="75000"/>
                  </a:schemeClr>
                </a:gs>
              </a:gsLst>
              <a:lin ang="10800000" scaled="0"/>
            </a:gradFill>
            <a:ln w="76200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646">
                <a:latin typeface="Trebuchet"/>
              </a:endParaRPr>
            </a:p>
          </p:txBody>
        </p:sp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3093B7C9-666A-44C0-AC21-A8BBDED28908}"/>
                </a:ext>
              </a:extLst>
            </p:cNvPr>
            <p:cNvSpPr/>
            <p:nvPr/>
          </p:nvSpPr>
          <p:spPr>
            <a:xfrm rot="5400000">
              <a:off x="4603754" y="3054243"/>
              <a:ext cx="4923551" cy="1646453"/>
            </a:xfrm>
            <a:prstGeom prst="trapezoid">
              <a:avLst>
                <a:gd name="adj" fmla="val 149404"/>
              </a:avLst>
            </a:prstGeom>
            <a:solidFill>
              <a:schemeClr val="tx1">
                <a:alpha val="38000"/>
              </a:schemeClr>
            </a:solidFill>
            <a:ln w="19050">
              <a:noFill/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2646">
                <a:latin typeface="Trebuchet"/>
              </a:endParaRPr>
            </a:p>
          </p:txBody>
        </p:sp>
        <p:sp>
          <p:nvSpPr>
            <p:cNvPr id="12" name="Rounded Rectangle 66">
              <a:extLst>
                <a:ext uri="{FF2B5EF4-FFF2-40B4-BE49-F238E27FC236}">
                  <a16:creationId xmlns:a16="http://schemas.microsoft.com/office/drawing/2014/main" id="{AF01824D-60ED-49F9-BEC8-22035A8E9E65}"/>
                </a:ext>
              </a:extLst>
            </p:cNvPr>
            <p:cNvSpPr/>
            <p:nvPr/>
          </p:nvSpPr>
          <p:spPr>
            <a:xfrm>
              <a:off x="6910409" y="2157672"/>
              <a:ext cx="4670459" cy="3439594"/>
            </a:xfrm>
            <a:prstGeom prst="roundRect">
              <a:avLst>
                <a:gd name="adj" fmla="val 9146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  <a:prstDash val="solid"/>
              <a:headEnd type="none" w="med" len="med"/>
              <a:tailEnd type="oval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bliqueTopRight"/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algn="ctr"/>
              <a:endParaRPr lang="pt-BR" sz="1764">
                <a:latin typeface="Trebuchet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ABF09F3E-74E4-46CD-9D54-F3E3CDFF5873}"/>
                </a:ext>
              </a:extLst>
            </p:cNvPr>
            <p:cNvSpPr txBox="1"/>
            <p:nvPr/>
          </p:nvSpPr>
          <p:spPr>
            <a:xfrm>
              <a:off x="2415233" y="1467755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RISCOS E PROCESSOS 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Foco no que é relevante para a Companhia.</a:t>
              </a:r>
            </a:p>
          </p:txBody>
        </p:sp>
        <p:sp>
          <p:nvSpPr>
            <p:cNvPr id="14" name="TextBox 30">
              <a:extLst>
                <a:ext uri="{FF2B5EF4-FFF2-40B4-BE49-F238E27FC236}">
                  <a16:creationId xmlns:a16="http://schemas.microsoft.com/office/drawing/2014/main" id="{A030B06D-7C0C-45A7-B44B-CD23F5629A13}"/>
                </a:ext>
              </a:extLst>
            </p:cNvPr>
            <p:cNvSpPr txBox="1"/>
            <p:nvPr/>
          </p:nvSpPr>
          <p:spPr>
            <a:xfrm>
              <a:off x="2397907" y="2445398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TEMPESTIVIDADE E QUALIDADE NAS ENTREGAS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presentação Intermediária 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ntecipação da definição dos planos de ação</a:t>
              </a: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Contribuição na identificação da causa raiz   </a:t>
              </a:r>
            </a:p>
          </p:txBody>
        </p:sp>
        <p:sp>
          <p:nvSpPr>
            <p:cNvPr id="15" name="TextBox 31">
              <a:extLst>
                <a:ext uri="{FF2B5EF4-FFF2-40B4-BE49-F238E27FC236}">
                  <a16:creationId xmlns:a16="http://schemas.microsoft.com/office/drawing/2014/main" id="{082DD9F7-4820-4ECC-9C6A-0EE7CCB48C67}"/>
                </a:ext>
              </a:extLst>
            </p:cNvPr>
            <p:cNvSpPr txBox="1"/>
            <p:nvPr/>
          </p:nvSpPr>
          <p:spPr>
            <a:xfrm>
              <a:off x="2397907" y="5424242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INTENSIFICAÇÃO NA COMUNICAÇÃO E FEEDBACK</a:t>
              </a:r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420024" indent="-420024" defTabSz="1343808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Comunicação </a:t>
              </a:r>
              <a:r>
                <a:rPr lang="pt-BR" sz="1764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Teams</a:t>
              </a:r>
              <a:r>
                <a:rPr lang="pt-BR" sz="1764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/</a:t>
              </a:r>
              <a:r>
                <a:rPr lang="pt-BR" sz="1764" err="1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Planner</a:t>
              </a:r>
              <a:endParaRPr lang="pt-BR" sz="1764">
                <a:solidFill>
                  <a:schemeClr val="tx2"/>
                </a:solidFill>
                <a:latin typeface="Trebuchet"/>
                <a:ea typeface="Lato Light" panose="020F0502020204030203" pitchFamily="34" charset="0"/>
                <a:cs typeface="Poppins Light" pitchFamily="2" charset="77"/>
              </a:endParaRPr>
            </a:p>
            <a:p>
              <a:pPr marL="420024" indent="-420024" defTabSz="1343808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/>
                  </a:solidFill>
                  <a:latin typeface="Trebuchet"/>
                  <a:ea typeface="Lato Light" panose="020F0502020204030203" pitchFamily="34" charset="0"/>
                  <a:cs typeface="Poppins Light" pitchFamily="2" charset="77"/>
                </a:rPr>
                <a:t> Reunião Semanal/Checkpoint  (30 minutos) </a:t>
              </a:r>
            </a:p>
            <a:p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5DB7DF6C-45A8-4D94-9D0C-3D2DB9880338}"/>
                </a:ext>
              </a:extLst>
            </p:cNvPr>
            <p:cNvSpPr txBox="1"/>
            <p:nvPr/>
          </p:nvSpPr>
          <p:spPr>
            <a:xfrm>
              <a:off x="2397907" y="3438346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AGREGAR VALOR PARA O PROCESSO </a:t>
              </a:r>
            </a:p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E PARA COMPANHIA</a:t>
              </a: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44B41F86-0AB1-42E3-B4B1-2CA00C7F2FEE}"/>
                </a:ext>
              </a:extLst>
            </p:cNvPr>
            <p:cNvSpPr txBox="1"/>
            <p:nvPr/>
          </p:nvSpPr>
          <p:spPr>
            <a:xfrm>
              <a:off x="2397907" y="4431294"/>
              <a:ext cx="3827066" cy="88249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pt-BR" sz="1764" b="1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REUNIÕES PERIÓDICAS (diárias e semanais</a:t>
              </a: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)</a:t>
              </a:r>
              <a:endParaRPr lang="pt-BR" sz="1764" b="1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  <a:p>
              <a:pPr marL="252014" indent="-252014">
                <a:buFont typeface="Arial" panose="020B0604020202020204" pitchFamily="34" charset="0"/>
                <a:buChar char="•"/>
              </a:pPr>
              <a:r>
                <a:rPr lang="pt-BR" sz="1764">
                  <a:solidFill>
                    <a:schemeClr val="tx2">
                      <a:lumMod val="75000"/>
                    </a:schemeClr>
                  </a:solidFill>
                  <a:latin typeface="Trebuchet"/>
                </a:rPr>
                <a:t>Priorização de tarefas</a:t>
              </a:r>
            </a:p>
            <a:p>
              <a:endParaRPr lang="pt-BR" sz="1764">
                <a:solidFill>
                  <a:schemeClr val="tx2">
                    <a:lumMod val="75000"/>
                  </a:schemeClr>
                </a:solidFill>
                <a:latin typeface="Trebuchet"/>
              </a:endParaRP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id="{490D7596-5A18-4A2E-A4CC-903495E9D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87" y="383128"/>
            <a:ext cx="2198950" cy="6343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3115981E-FC72-4E66-A9A2-388E3DBF66C5}"/>
              </a:ext>
            </a:extLst>
          </p:cNvPr>
          <p:cNvSpPr txBox="1">
            <a:spLocks/>
          </p:cNvSpPr>
          <p:nvPr userDrawn="1"/>
        </p:nvSpPr>
        <p:spPr>
          <a:xfrm>
            <a:off x="652864" y="1206676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Uma nova perspectiva de atuação</a:t>
            </a:r>
          </a:p>
        </p:txBody>
      </p:sp>
      <p:sp>
        <p:nvSpPr>
          <p:cNvPr id="20" name="Título 3">
            <a:extLst>
              <a:ext uri="{FF2B5EF4-FFF2-40B4-BE49-F238E27FC236}">
                <a16:creationId xmlns:a16="http://schemas.microsoft.com/office/drawing/2014/main" id="{F5CE2234-7701-4110-8F21-B836D63F1EE7}"/>
              </a:ext>
            </a:extLst>
          </p:cNvPr>
          <p:cNvSpPr txBox="1">
            <a:spLocks/>
          </p:cNvSpPr>
          <p:nvPr userDrawn="1"/>
        </p:nvSpPr>
        <p:spPr>
          <a:xfrm>
            <a:off x="652863" y="562467"/>
            <a:ext cx="16607509" cy="4827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1" kern="1200">
                <a:solidFill>
                  <a:srgbClr val="008542"/>
                </a:solidFill>
                <a:latin typeface="Petrobras Sans" panose="020B060602020403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22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Auditoria </a:t>
            </a:r>
            <a:r>
              <a:rPr lang="pt-BR" sz="3822"/>
              <a:t>Á</a:t>
            </a:r>
            <a:r>
              <a:rPr kumimoji="0" lang="pt-BR" sz="3822" b="1" i="1" u="none" strike="noStrike" kern="1200" cap="none" spc="0" normalizeH="0" baseline="0" noProof="0" err="1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  <a:ea typeface="+mj-ea"/>
                <a:cs typeface="+mj-cs"/>
              </a:rPr>
              <a:t>gil</a:t>
            </a:r>
            <a:endParaRPr kumimoji="0" lang="pt-BR" sz="3822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/>
              <a:ea typeface="+mj-ea"/>
              <a:cs typeface="+mj-cs"/>
            </a:endParaRPr>
          </a:p>
        </p:txBody>
      </p:sp>
      <p:cxnSp>
        <p:nvCxnSpPr>
          <p:cNvPr id="21" name="Straight Connector 16">
            <a:extLst>
              <a:ext uri="{FF2B5EF4-FFF2-40B4-BE49-F238E27FC236}">
                <a16:creationId xmlns:a16="http://schemas.microsoft.com/office/drawing/2014/main" id="{1EA05F43-6B26-4C8D-9D1F-BA82FBF339DE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261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00FCAC0D-88BC-456F-A60A-B17A4D5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270" y="8091278"/>
            <a:ext cx="1965362" cy="782671"/>
          </a:xfrm>
          <a:prstGeom prst="rect">
            <a:avLst/>
          </a:prstGeom>
        </p:spPr>
      </p:pic>
      <p:pic>
        <p:nvPicPr>
          <p:cNvPr id="23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C90A394-A971-4D39-86BE-9701AC1A30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t="20444" r="18519" b="19588"/>
          <a:stretch/>
        </p:blipFill>
        <p:spPr>
          <a:xfrm>
            <a:off x="12552314" y="3416213"/>
            <a:ext cx="2430876" cy="574015"/>
          </a:xfrm>
          <a:prstGeom prst="rect">
            <a:avLst/>
          </a:prstGeom>
        </p:spPr>
      </p:pic>
      <p:sp>
        <p:nvSpPr>
          <p:cNvPr id="27" name="TextBox 31">
            <a:extLst>
              <a:ext uri="{FF2B5EF4-FFF2-40B4-BE49-F238E27FC236}">
                <a16:creationId xmlns:a16="http://schemas.microsoft.com/office/drawing/2014/main" id="{15109616-6170-430F-852D-FEA70A09E75A}"/>
              </a:ext>
            </a:extLst>
          </p:cNvPr>
          <p:cNvSpPr txBox="1"/>
          <p:nvPr userDrawn="1"/>
        </p:nvSpPr>
        <p:spPr>
          <a:xfrm>
            <a:off x="10942550" y="3719104"/>
            <a:ext cx="5650404" cy="129718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Sistema para acompanhamento de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relatório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,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pontos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 e </a:t>
            </a:r>
            <a:r>
              <a:rPr lang="pt-BR" sz="1764" b="1">
                <a:solidFill>
                  <a:srgbClr val="007F3A"/>
                </a:solidFill>
                <a:latin typeface="Trebuchet"/>
              </a:rPr>
              <a:t>ações</a:t>
            </a:r>
            <a:r>
              <a:rPr lang="pt-BR" sz="1764">
                <a:solidFill>
                  <a:schemeClr val="tx2">
                    <a:lumMod val="75000"/>
                  </a:schemeClr>
                </a:solidFill>
                <a:latin typeface="Trebuchet"/>
              </a:rPr>
              <a:t>. </a:t>
            </a:r>
          </a:p>
          <a:p>
            <a:endParaRPr lang="pt-BR" sz="1764">
              <a:solidFill>
                <a:schemeClr val="tx2">
                  <a:lumMod val="75000"/>
                </a:schemeClr>
              </a:solidFill>
              <a:latin typeface="Trebuchet"/>
            </a:endParaRPr>
          </a:p>
        </p:txBody>
      </p:sp>
      <p:grpSp>
        <p:nvGrpSpPr>
          <p:cNvPr id="29" name="Group 3">
            <a:extLst>
              <a:ext uri="{FF2B5EF4-FFF2-40B4-BE49-F238E27FC236}">
                <a16:creationId xmlns:a16="http://schemas.microsoft.com/office/drawing/2014/main" id="{F3CE2638-F42A-46C4-95D9-AF71782ABAED}"/>
              </a:ext>
            </a:extLst>
          </p:cNvPr>
          <p:cNvGrpSpPr/>
          <p:nvPr userDrawn="1"/>
        </p:nvGrpSpPr>
        <p:grpSpPr>
          <a:xfrm>
            <a:off x="1782465" y="6666085"/>
            <a:ext cx="880856" cy="960296"/>
            <a:chOff x="360363" y="4503738"/>
            <a:chExt cx="419100" cy="390525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3E03CE19-1C46-4DDD-B7D5-92DE7ECA9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73B2C088-5C24-4B20-B30C-FBE0ED272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E36A5BFB-00A2-4ABA-89AD-2E54FFE2F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CC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CA6AB745-5F83-423F-B627-727D1251D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D712DF90-BEE2-4E33-91A4-0495D3DD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BFEB6696-25B2-4ED3-9430-7AB32F4DC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" y="48260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13B8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BB08FB06-69D5-4968-A3E6-EA914168B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25" y="4689475"/>
              <a:ext cx="98425" cy="98425"/>
            </a:xfrm>
            <a:custGeom>
              <a:avLst/>
              <a:gdLst>
                <a:gd name="T0" fmla="*/ 271 w 272"/>
                <a:gd name="T1" fmla="*/ 136 h 272"/>
                <a:gd name="T2" fmla="*/ 271 w 272"/>
                <a:gd name="T3" fmla="*/ 136 h 272"/>
                <a:gd name="T4" fmla="*/ 136 w 272"/>
                <a:gd name="T5" fmla="*/ 271 h 272"/>
                <a:gd name="T6" fmla="*/ 0 w 272"/>
                <a:gd name="T7" fmla="*/ 136 h 272"/>
                <a:gd name="T8" fmla="*/ 136 w 272"/>
                <a:gd name="T9" fmla="*/ 0 h 272"/>
                <a:gd name="T10" fmla="*/ 271 w 272"/>
                <a:gd name="T11" fmla="*/ 136 h 272"/>
                <a:gd name="T12" fmla="*/ 271 w 272"/>
                <a:gd name="T13" fmla="*/ 136 h 272"/>
                <a:gd name="T14" fmla="*/ 271 w 272"/>
                <a:gd name="T15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272">
                  <a:moveTo>
                    <a:pt x="271" y="136"/>
                  </a:moveTo>
                  <a:lnTo>
                    <a:pt x="271" y="136"/>
                  </a:lnTo>
                  <a:cubicBezTo>
                    <a:pt x="271" y="217"/>
                    <a:pt x="208" y="271"/>
                    <a:pt x="136" y="271"/>
                  </a:cubicBezTo>
                  <a:cubicBezTo>
                    <a:pt x="63" y="271"/>
                    <a:pt x="0" y="217"/>
                    <a:pt x="0" y="136"/>
                  </a:cubicBezTo>
                  <a:cubicBezTo>
                    <a:pt x="0" y="63"/>
                    <a:pt x="63" y="0"/>
                    <a:pt x="136" y="0"/>
                  </a:cubicBezTo>
                  <a:cubicBezTo>
                    <a:pt x="208" y="0"/>
                    <a:pt x="271" y="63"/>
                    <a:pt x="271" y="136"/>
                  </a:cubicBezTo>
                  <a:close/>
                  <a:moveTo>
                    <a:pt x="271" y="136"/>
                  </a:moveTo>
                  <a:lnTo>
                    <a:pt x="271" y="136"/>
                  </a:lnTo>
                  <a:close/>
                </a:path>
              </a:pathLst>
            </a:custGeom>
            <a:solidFill>
              <a:srgbClr val="FF8E58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E67A4EEE-E328-4BE3-84BD-A6B44BC3F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8F04E1AA-A8F9-465D-8FF0-8215B9D04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738688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C286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96154FF1-4B78-4A02-9344-D1791493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786313"/>
              <a:ext cx="169862" cy="107950"/>
            </a:xfrm>
            <a:custGeom>
              <a:avLst/>
              <a:gdLst>
                <a:gd name="T0" fmla="*/ 444 w 472"/>
                <a:gd name="T1" fmla="*/ 37 h 300"/>
                <a:gd name="T2" fmla="*/ 444 w 472"/>
                <a:gd name="T3" fmla="*/ 37 h 300"/>
                <a:gd name="T4" fmla="*/ 371 w 472"/>
                <a:gd name="T5" fmla="*/ 0 h 300"/>
                <a:gd name="T6" fmla="*/ 100 w 472"/>
                <a:gd name="T7" fmla="*/ 0 h 300"/>
                <a:gd name="T8" fmla="*/ 0 w 472"/>
                <a:gd name="T9" fmla="*/ 109 h 300"/>
                <a:gd name="T10" fmla="*/ 0 w 472"/>
                <a:gd name="T11" fmla="*/ 272 h 300"/>
                <a:gd name="T12" fmla="*/ 9 w 472"/>
                <a:gd name="T13" fmla="*/ 290 h 300"/>
                <a:gd name="T14" fmla="*/ 36 w 472"/>
                <a:gd name="T15" fmla="*/ 299 h 300"/>
                <a:gd name="T16" fmla="*/ 435 w 472"/>
                <a:gd name="T17" fmla="*/ 299 h 300"/>
                <a:gd name="T18" fmla="*/ 471 w 472"/>
                <a:gd name="T19" fmla="*/ 272 h 300"/>
                <a:gd name="T20" fmla="*/ 471 w 472"/>
                <a:gd name="T21" fmla="*/ 109 h 300"/>
                <a:gd name="T22" fmla="*/ 471 w 472"/>
                <a:gd name="T23" fmla="*/ 109 h 300"/>
                <a:gd name="T24" fmla="*/ 444 w 472"/>
                <a:gd name="T25" fmla="*/ 37 h 300"/>
                <a:gd name="T26" fmla="*/ 444 w 472"/>
                <a:gd name="T27" fmla="*/ 37 h 300"/>
                <a:gd name="T28" fmla="*/ 444 w 472"/>
                <a:gd name="T29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2" h="300">
                  <a:moveTo>
                    <a:pt x="444" y="37"/>
                  </a:moveTo>
                  <a:lnTo>
                    <a:pt x="444" y="37"/>
                  </a:lnTo>
                  <a:cubicBezTo>
                    <a:pt x="417" y="19"/>
                    <a:pt x="398" y="0"/>
                    <a:pt x="37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55"/>
                    <a:pt x="0" y="10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1"/>
                    <a:pt x="0" y="290"/>
                    <a:pt x="9" y="290"/>
                  </a:cubicBezTo>
                  <a:cubicBezTo>
                    <a:pt x="18" y="299"/>
                    <a:pt x="27" y="299"/>
                    <a:pt x="36" y="299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53" y="299"/>
                    <a:pt x="471" y="290"/>
                    <a:pt x="471" y="272"/>
                  </a:cubicBezTo>
                  <a:cubicBezTo>
                    <a:pt x="471" y="109"/>
                    <a:pt x="471" y="109"/>
                    <a:pt x="471" y="109"/>
                  </a:cubicBezTo>
                  <a:lnTo>
                    <a:pt x="471" y="109"/>
                  </a:lnTo>
                  <a:cubicBezTo>
                    <a:pt x="471" y="82"/>
                    <a:pt x="462" y="55"/>
                    <a:pt x="444" y="37"/>
                  </a:cubicBezTo>
                  <a:close/>
                  <a:moveTo>
                    <a:pt x="444" y="37"/>
                  </a:moveTo>
                  <a:lnTo>
                    <a:pt x="444" y="37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0850F457-6DB6-4578-A82B-B90CAD757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4503738"/>
              <a:ext cx="195262" cy="173037"/>
            </a:xfrm>
            <a:custGeom>
              <a:avLst/>
              <a:gdLst>
                <a:gd name="T0" fmla="*/ 290 w 544"/>
                <a:gd name="T1" fmla="*/ 462 h 481"/>
                <a:gd name="T2" fmla="*/ 290 w 544"/>
                <a:gd name="T3" fmla="*/ 462 h 481"/>
                <a:gd name="T4" fmla="*/ 290 w 544"/>
                <a:gd name="T5" fmla="*/ 353 h 481"/>
                <a:gd name="T6" fmla="*/ 172 w 544"/>
                <a:gd name="T7" fmla="*/ 353 h 481"/>
                <a:gd name="T8" fmla="*/ 0 w 544"/>
                <a:gd name="T9" fmla="*/ 181 h 481"/>
                <a:gd name="T10" fmla="*/ 172 w 544"/>
                <a:gd name="T11" fmla="*/ 0 h 481"/>
                <a:gd name="T12" fmla="*/ 371 w 544"/>
                <a:gd name="T13" fmla="*/ 0 h 481"/>
                <a:gd name="T14" fmla="*/ 543 w 544"/>
                <a:gd name="T15" fmla="*/ 181 h 481"/>
                <a:gd name="T16" fmla="*/ 480 w 544"/>
                <a:gd name="T17" fmla="*/ 308 h 481"/>
                <a:gd name="T18" fmla="*/ 317 w 544"/>
                <a:gd name="T19" fmla="*/ 471 h 481"/>
                <a:gd name="T20" fmla="*/ 290 w 544"/>
                <a:gd name="T21" fmla="*/ 462 h 481"/>
                <a:gd name="T22" fmla="*/ 290 w 544"/>
                <a:gd name="T23" fmla="*/ 462 h 481"/>
                <a:gd name="T24" fmla="*/ 290 w 544"/>
                <a:gd name="T25" fmla="*/ 462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90" y="462"/>
                  </a:moveTo>
                  <a:lnTo>
                    <a:pt x="290" y="462"/>
                  </a:lnTo>
                  <a:cubicBezTo>
                    <a:pt x="290" y="353"/>
                    <a:pt x="290" y="353"/>
                    <a:pt x="290" y="353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82" y="353"/>
                    <a:pt x="0" y="272"/>
                    <a:pt x="0" y="181"/>
                  </a:cubicBezTo>
                  <a:cubicBezTo>
                    <a:pt x="0" y="82"/>
                    <a:pt x="82" y="0"/>
                    <a:pt x="172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462" y="0"/>
                    <a:pt x="543" y="82"/>
                    <a:pt x="543" y="181"/>
                  </a:cubicBezTo>
                  <a:cubicBezTo>
                    <a:pt x="543" y="226"/>
                    <a:pt x="525" y="281"/>
                    <a:pt x="480" y="308"/>
                  </a:cubicBezTo>
                  <a:cubicBezTo>
                    <a:pt x="480" y="308"/>
                    <a:pt x="489" y="308"/>
                    <a:pt x="317" y="471"/>
                  </a:cubicBezTo>
                  <a:cubicBezTo>
                    <a:pt x="308" y="480"/>
                    <a:pt x="290" y="471"/>
                    <a:pt x="290" y="462"/>
                  </a:cubicBezTo>
                  <a:close/>
                  <a:moveTo>
                    <a:pt x="290" y="462"/>
                  </a:moveTo>
                  <a:lnTo>
                    <a:pt x="290" y="4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4C28AE45-3635-4A7D-ACDE-123CE9079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630FDA0F-50D4-482D-A6AA-ECF907B30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7A22223A-281F-4B5D-BB52-68F1DCC5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4556125"/>
              <a:ext cx="26988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6DF77001-B072-4F50-9C48-036E62F34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3" y="4556125"/>
              <a:ext cx="26987" cy="26988"/>
            </a:xfrm>
            <a:custGeom>
              <a:avLst/>
              <a:gdLst>
                <a:gd name="T0" fmla="*/ 73 w 74"/>
                <a:gd name="T1" fmla="*/ 36 h 73"/>
                <a:gd name="T2" fmla="*/ 73 w 74"/>
                <a:gd name="T3" fmla="*/ 36 h 73"/>
                <a:gd name="T4" fmla="*/ 37 w 74"/>
                <a:gd name="T5" fmla="*/ 72 h 73"/>
                <a:gd name="T6" fmla="*/ 0 w 74"/>
                <a:gd name="T7" fmla="*/ 36 h 73"/>
                <a:gd name="T8" fmla="*/ 37 w 74"/>
                <a:gd name="T9" fmla="*/ 0 h 73"/>
                <a:gd name="T10" fmla="*/ 73 w 74"/>
                <a:gd name="T11" fmla="*/ 36 h 73"/>
                <a:gd name="T12" fmla="*/ 73 w 74"/>
                <a:gd name="T13" fmla="*/ 36 h 73"/>
                <a:gd name="T14" fmla="*/ 73 w 7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3" y="36"/>
                  </a:moveTo>
                  <a:lnTo>
                    <a:pt x="73" y="36"/>
                  </a:lnTo>
                  <a:cubicBezTo>
                    <a:pt x="73" y="54"/>
                    <a:pt x="55" y="72"/>
                    <a:pt x="37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7" y="0"/>
                  </a:cubicBezTo>
                  <a:cubicBezTo>
                    <a:pt x="55" y="0"/>
                    <a:pt x="73" y="18"/>
                    <a:pt x="73" y="36"/>
                  </a:cubicBezTo>
                  <a:close/>
                  <a:moveTo>
                    <a:pt x="73" y="36"/>
                  </a:moveTo>
                  <a:lnTo>
                    <a:pt x="7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66EFA6BB-22E4-443E-A3E5-77DF3970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8" y="4556125"/>
              <a:ext cx="26987" cy="26988"/>
            </a:xfrm>
            <a:custGeom>
              <a:avLst/>
              <a:gdLst>
                <a:gd name="T0" fmla="*/ 72 w 73"/>
                <a:gd name="T1" fmla="*/ 36 h 73"/>
                <a:gd name="T2" fmla="*/ 72 w 73"/>
                <a:gd name="T3" fmla="*/ 36 h 73"/>
                <a:gd name="T4" fmla="*/ 36 w 73"/>
                <a:gd name="T5" fmla="*/ 72 h 73"/>
                <a:gd name="T6" fmla="*/ 0 w 73"/>
                <a:gd name="T7" fmla="*/ 36 h 73"/>
                <a:gd name="T8" fmla="*/ 36 w 73"/>
                <a:gd name="T9" fmla="*/ 0 h 73"/>
                <a:gd name="T10" fmla="*/ 72 w 73"/>
                <a:gd name="T11" fmla="*/ 36 h 73"/>
                <a:gd name="T12" fmla="*/ 72 w 73"/>
                <a:gd name="T13" fmla="*/ 36 h 73"/>
                <a:gd name="T14" fmla="*/ 72 w 73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3">
                  <a:moveTo>
                    <a:pt x="72" y="36"/>
                  </a:moveTo>
                  <a:lnTo>
                    <a:pt x="72" y="36"/>
                  </a:lnTo>
                  <a:cubicBezTo>
                    <a:pt x="72" y="54"/>
                    <a:pt x="54" y="72"/>
                    <a:pt x="36" y="72"/>
                  </a:cubicBezTo>
                  <a:cubicBezTo>
                    <a:pt x="17" y="72"/>
                    <a:pt x="0" y="54"/>
                    <a:pt x="0" y="36"/>
                  </a:cubicBezTo>
                  <a:cubicBezTo>
                    <a:pt x="0" y="18"/>
                    <a:pt x="17" y="0"/>
                    <a:pt x="36" y="0"/>
                  </a:cubicBezTo>
                  <a:cubicBezTo>
                    <a:pt x="54" y="0"/>
                    <a:pt x="72" y="18"/>
                    <a:pt x="72" y="36"/>
                  </a:cubicBezTo>
                  <a:close/>
                  <a:moveTo>
                    <a:pt x="72" y="36"/>
                  </a:moveTo>
                  <a:lnTo>
                    <a:pt x="72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88">
              <a:extLst>
                <a:ext uri="{FF2B5EF4-FFF2-40B4-BE49-F238E27FC236}">
                  <a16:creationId xmlns:a16="http://schemas.microsoft.com/office/drawing/2014/main" id="{55F45537-A052-4B11-9C7F-7B91ECEDD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3" y="4503738"/>
              <a:ext cx="195262" cy="173037"/>
            </a:xfrm>
            <a:custGeom>
              <a:avLst/>
              <a:gdLst>
                <a:gd name="T0" fmla="*/ 226 w 544"/>
                <a:gd name="T1" fmla="*/ 471 h 481"/>
                <a:gd name="T2" fmla="*/ 226 w 544"/>
                <a:gd name="T3" fmla="*/ 471 h 481"/>
                <a:gd name="T4" fmla="*/ 54 w 544"/>
                <a:gd name="T5" fmla="*/ 308 h 481"/>
                <a:gd name="T6" fmla="*/ 0 w 544"/>
                <a:gd name="T7" fmla="*/ 181 h 481"/>
                <a:gd name="T8" fmla="*/ 172 w 544"/>
                <a:gd name="T9" fmla="*/ 0 h 481"/>
                <a:gd name="T10" fmla="*/ 362 w 544"/>
                <a:gd name="T11" fmla="*/ 0 h 481"/>
                <a:gd name="T12" fmla="*/ 543 w 544"/>
                <a:gd name="T13" fmla="*/ 181 h 481"/>
                <a:gd name="T14" fmla="*/ 362 w 544"/>
                <a:gd name="T15" fmla="*/ 353 h 481"/>
                <a:gd name="T16" fmla="*/ 253 w 544"/>
                <a:gd name="T17" fmla="*/ 353 h 481"/>
                <a:gd name="T18" fmla="*/ 253 w 544"/>
                <a:gd name="T19" fmla="*/ 462 h 481"/>
                <a:gd name="T20" fmla="*/ 226 w 544"/>
                <a:gd name="T21" fmla="*/ 471 h 481"/>
                <a:gd name="T22" fmla="*/ 226 w 544"/>
                <a:gd name="T23" fmla="*/ 471 h 481"/>
                <a:gd name="T24" fmla="*/ 226 w 544"/>
                <a:gd name="T25" fmla="*/ 47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4" h="481">
                  <a:moveTo>
                    <a:pt x="226" y="471"/>
                  </a:moveTo>
                  <a:lnTo>
                    <a:pt x="226" y="471"/>
                  </a:lnTo>
                  <a:cubicBezTo>
                    <a:pt x="54" y="308"/>
                    <a:pt x="54" y="308"/>
                    <a:pt x="54" y="308"/>
                  </a:cubicBezTo>
                  <a:cubicBezTo>
                    <a:pt x="18" y="281"/>
                    <a:pt x="0" y="226"/>
                    <a:pt x="0" y="181"/>
                  </a:cubicBezTo>
                  <a:cubicBezTo>
                    <a:pt x="0" y="82"/>
                    <a:pt x="72" y="0"/>
                    <a:pt x="17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61" y="0"/>
                    <a:pt x="543" y="82"/>
                    <a:pt x="543" y="181"/>
                  </a:cubicBezTo>
                  <a:cubicBezTo>
                    <a:pt x="543" y="272"/>
                    <a:pt x="461" y="353"/>
                    <a:pt x="362" y="353"/>
                  </a:cubicBezTo>
                  <a:cubicBezTo>
                    <a:pt x="253" y="353"/>
                    <a:pt x="253" y="353"/>
                    <a:pt x="253" y="353"/>
                  </a:cubicBezTo>
                  <a:cubicBezTo>
                    <a:pt x="253" y="462"/>
                    <a:pt x="253" y="462"/>
                    <a:pt x="253" y="462"/>
                  </a:cubicBezTo>
                  <a:cubicBezTo>
                    <a:pt x="253" y="471"/>
                    <a:pt x="235" y="480"/>
                    <a:pt x="226" y="471"/>
                  </a:cubicBezTo>
                  <a:close/>
                  <a:moveTo>
                    <a:pt x="226" y="471"/>
                  </a:moveTo>
                  <a:lnTo>
                    <a:pt x="226" y="4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89">
              <a:extLst>
                <a:ext uri="{FF2B5EF4-FFF2-40B4-BE49-F238E27FC236}">
                  <a16:creationId xmlns:a16="http://schemas.microsoft.com/office/drawing/2014/main" id="{1028FC4A-A18A-4F9A-8E4D-243638D59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90">
              <a:extLst>
                <a:ext uri="{FF2B5EF4-FFF2-40B4-BE49-F238E27FC236}">
                  <a16:creationId xmlns:a16="http://schemas.microsoft.com/office/drawing/2014/main" id="{25F309F9-BB50-4D79-8853-7F7CD5063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75" y="4568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8E1D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91">
              <a:extLst>
                <a:ext uri="{FF2B5EF4-FFF2-40B4-BE49-F238E27FC236}">
                  <a16:creationId xmlns:a16="http://schemas.microsoft.com/office/drawing/2014/main" id="{A5C0F4A6-B611-4C9C-9750-EFFA321D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4556125"/>
              <a:ext cx="23812" cy="26988"/>
            </a:xfrm>
            <a:custGeom>
              <a:avLst/>
              <a:gdLst>
                <a:gd name="T0" fmla="*/ 63 w 64"/>
                <a:gd name="T1" fmla="*/ 36 h 73"/>
                <a:gd name="T2" fmla="*/ 63 w 64"/>
                <a:gd name="T3" fmla="*/ 36 h 73"/>
                <a:gd name="T4" fmla="*/ 36 w 64"/>
                <a:gd name="T5" fmla="*/ 72 h 73"/>
                <a:gd name="T6" fmla="*/ 0 w 64"/>
                <a:gd name="T7" fmla="*/ 36 h 73"/>
                <a:gd name="T8" fmla="*/ 36 w 64"/>
                <a:gd name="T9" fmla="*/ 0 h 73"/>
                <a:gd name="T10" fmla="*/ 63 w 64"/>
                <a:gd name="T11" fmla="*/ 36 h 73"/>
                <a:gd name="T12" fmla="*/ 63 w 64"/>
                <a:gd name="T13" fmla="*/ 36 h 73"/>
                <a:gd name="T14" fmla="*/ 63 w 64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3">
                  <a:moveTo>
                    <a:pt x="63" y="36"/>
                  </a:moveTo>
                  <a:lnTo>
                    <a:pt x="63" y="36"/>
                  </a:lnTo>
                  <a:cubicBezTo>
                    <a:pt x="63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3" y="18"/>
                    <a:pt x="63" y="36"/>
                  </a:cubicBezTo>
                  <a:close/>
                  <a:moveTo>
                    <a:pt x="63" y="36"/>
                  </a:moveTo>
                  <a:lnTo>
                    <a:pt x="63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2">
              <a:extLst>
                <a:ext uri="{FF2B5EF4-FFF2-40B4-BE49-F238E27FC236}">
                  <a16:creationId xmlns:a16="http://schemas.microsoft.com/office/drawing/2014/main" id="{B724946C-CFED-4296-AF8B-9BDB176E0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750" y="4556125"/>
              <a:ext cx="23813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4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4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94">
              <a:extLst>
                <a:ext uri="{FF2B5EF4-FFF2-40B4-BE49-F238E27FC236}">
                  <a16:creationId xmlns:a16="http://schemas.microsoft.com/office/drawing/2014/main" id="{DC8E2F1B-240F-4BF2-9B67-DF627B0CA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4556125"/>
              <a:ext cx="23812" cy="26988"/>
            </a:xfrm>
            <a:custGeom>
              <a:avLst/>
              <a:gdLst>
                <a:gd name="T0" fmla="*/ 64 w 65"/>
                <a:gd name="T1" fmla="*/ 36 h 73"/>
                <a:gd name="T2" fmla="*/ 64 w 65"/>
                <a:gd name="T3" fmla="*/ 36 h 73"/>
                <a:gd name="T4" fmla="*/ 36 w 65"/>
                <a:gd name="T5" fmla="*/ 72 h 73"/>
                <a:gd name="T6" fmla="*/ 0 w 65"/>
                <a:gd name="T7" fmla="*/ 36 h 73"/>
                <a:gd name="T8" fmla="*/ 36 w 65"/>
                <a:gd name="T9" fmla="*/ 0 h 73"/>
                <a:gd name="T10" fmla="*/ 64 w 65"/>
                <a:gd name="T11" fmla="*/ 36 h 73"/>
                <a:gd name="T12" fmla="*/ 64 w 65"/>
                <a:gd name="T13" fmla="*/ 36 h 73"/>
                <a:gd name="T14" fmla="*/ 64 w 65"/>
                <a:gd name="T1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3">
                  <a:moveTo>
                    <a:pt x="64" y="36"/>
                  </a:moveTo>
                  <a:lnTo>
                    <a:pt x="64" y="36"/>
                  </a:lnTo>
                  <a:cubicBezTo>
                    <a:pt x="64" y="54"/>
                    <a:pt x="55" y="72"/>
                    <a:pt x="36" y="72"/>
                  </a:cubicBezTo>
                  <a:cubicBezTo>
                    <a:pt x="18" y="72"/>
                    <a:pt x="0" y="54"/>
                    <a:pt x="0" y="36"/>
                  </a:cubicBezTo>
                  <a:cubicBezTo>
                    <a:pt x="0" y="18"/>
                    <a:pt x="18" y="0"/>
                    <a:pt x="36" y="0"/>
                  </a:cubicBezTo>
                  <a:cubicBezTo>
                    <a:pt x="55" y="0"/>
                    <a:pt x="64" y="18"/>
                    <a:pt x="64" y="36"/>
                  </a:cubicBezTo>
                  <a:close/>
                  <a:moveTo>
                    <a:pt x="64" y="36"/>
                  </a:moveTo>
                  <a:lnTo>
                    <a:pt x="64" y="3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A2BC0FD7-41A9-4A34-B5C8-94C2760074C4}"/>
              </a:ext>
            </a:extLst>
          </p:cNvPr>
          <p:cNvGrpSpPr/>
          <p:nvPr userDrawn="1"/>
        </p:nvGrpSpPr>
        <p:grpSpPr>
          <a:xfrm>
            <a:off x="1471897" y="5173949"/>
            <a:ext cx="1683787" cy="1196046"/>
            <a:chOff x="-1427448" y="7035810"/>
            <a:chExt cx="10312032" cy="8937753"/>
          </a:xfrm>
        </p:grpSpPr>
        <p:grpSp>
          <p:nvGrpSpPr>
            <p:cNvPr id="53" name="Group 2">
              <a:extLst>
                <a:ext uri="{FF2B5EF4-FFF2-40B4-BE49-F238E27FC236}">
                  <a16:creationId xmlns:a16="http://schemas.microsoft.com/office/drawing/2014/main" id="{A17EAF3A-3B87-464D-AC59-AE2D143E9AB3}"/>
                </a:ext>
              </a:extLst>
            </p:cNvPr>
            <p:cNvGrpSpPr/>
            <p:nvPr/>
          </p:nvGrpSpPr>
          <p:grpSpPr>
            <a:xfrm>
              <a:off x="-1427448" y="7035810"/>
              <a:ext cx="10312032" cy="8937753"/>
              <a:chOff x="8600437" y="5621868"/>
              <a:chExt cx="6883439" cy="5966087"/>
            </a:xfrm>
          </p:grpSpPr>
          <p:sp>
            <p:nvSpPr>
              <p:cNvPr id="66" name="Freeform 4">
                <a:extLst>
                  <a:ext uri="{FF2B5EF4-FFF2-40B4-BE49-F238E27FC236}">
                    <a16:creationId xmlns:a16="http://schemas.microsoft.com/office/drawing/2014/main" id="{F0CD5088-A6A0-4C58-ADB6-FF812C1B7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5621868"/>
                <a:ext cx="2857650" cy="2801552"/>
              </a:xfrm>
              <a:custGeom>
                <a:avLst/>
                <a:gdLst>
                  <a:gd name="T0" fmla="*/ 3807 w 3820"/>
                  <a:gd name="T1" fmla="*/ 2086 h 3745"/>
                  <a:gd name="T2" fmla="*/ 3807 w 3820"/>
                  <a:gd name="T3" fmla="*/ 2086 h 3745"/>
                  <a:gd name="T4" fmla="*/ 3819 w 3820"/>
                  <a:gd name="T5" fmla="*/ 1872 h 3745"/>
                  <a:gd name="T6" fmla="*/ 3815 w 3820"/>
                  <a:gd name="T7" fmla="*/ 1759 h 3745"/>
                  <a:gd name="T8" fmla="*/ 3462 w 3820"/>
                  <a:gd name="T9" fmla="*/ 1645 h 3745"/>
                  <a:gd name="T10" fmla="*/ 3336 w 3820"/>
                  <a:gd name="T11" fmla="*/ 1222 h 3745"/>
                  <a:gd name="T12" fmla="*/ 3571 w 3820"/>
                  <a:gd name="T13" fmla="*/ 932 h 3745"/>
                  <a:gd name="T14" fmla="*/ 3387 w 3820"/>
                  <a:gd name="T15" fmla="*/ 659 h 3745"/>
                  <a:gd name="T16" fmla="*/ 3030 w 3820"/>
                  <a:gd name="T17" fmla="*/ 777 h 3745"/>
                  <a:gd name="T18" fmla="*/ 2682 w 3820"/>
                  <a:gd name="T19" fmla="*/ 508 h 3745"/>
                  <a:gd name="T20" fmla="*/ 2698 w 3820"/>
                  <a:gd name="T21" fmla="*/ 134 h 3745"/>
                  <a:gd name="T22" fmla="*/ 2392 w 3820"/>
                  <a:gd name="T23" fmla="*/ 25 h 3745"/>
                  <a:gd name="T24" fmla="*/ 2174 w 3820"/>
                  <a:gd name="T25" fmla="*/ 327 h 3745"/>
                  <a:gd name="T26" fmla="*/ 1909 w 3820"/>
                  <a:gd name="T27" fmla="*/ 307 h 3745"/>
                  <a:gd name="T28" fmla="*/ 1730 w 3820"/>
                  <a:gd name="T29" fmla="*/ 315 h 3745"/>
                  <a:gd name="T30" fmla="*/ 1528 w 3820"/>
                  <a:gd name="T31" fmla="*/ 0 h 3745"/>
                  <a:gd name="T32" fmla="*/ 1213 w 3820"/>
                  <a:gd name="T33" fmla="*/ 97 h 3745"/>
                  <a:gd name="T34" fmla="*/ 1213 w 3820"/>
                  <a:gd name="T35" fmla="*/ 466 h 3745"/>
                  <a:gd name="T36" fmla="*/ 848 w 3820"/>
                  <a:gd name="T37" fmla="*/ 718 h 3745"/>
                  <a:gd name="T38" fmla="*/ 504 w 3820"/>
                  <a:gd name="T39" fmla="*/ 584 h 3745"/>
                  <a:gd name="T40" fmla="*/ 303 w 3820"/>
                  <a:gd name="T41" fmla="*/ 844 h 3745"/>
                  <a:gd name="T42" fmla="*/ 521 w 3820"/>
                  <a:gd name="T43" fmla="*/ 1146 h 3745"/>
                  <a:gd name="T44" fmla="*/ 374 w 3820"/>
                  <a:gd name="T45" fmla="*/ 1562 h 3745"/>
                  <a:gd name="T46" fmla="*/ 13 w 3820"/>
                  <a:gd name="T47" fmla="*/ 1658 h 3745"/>
                  <a:gd name="T48" fmla="*/ 0 w 3820"/>
                  <a:gd name="T49" fmla="*/ 1872 h 3745"/>
                  <a:gd name="T50" fmla="*/ 5 w 3820"/>
                  <a:gd name="T51" fmla="*/ 1985 h 3745"/>
                  <a:gd name="T52" fmla="*/ 361 w 3820"/>
                  <a:gd name="T53" fmla="*/ 2099 h 3745"/>
                  <a:gd name="T54" fmla="*/ 487 w 3820"/>
                  <a:gd name="T55" fmla="*/ 2527 h 3745"/>
                  <a:gd name="T56" fmla="*/ 252 w 3820"/>
                  <a:gd name="T57" fmla="*/ 2812 h 3745"/>
                  <a:gd name="T58" fmla="*/ 437 w 3820"/>
                  <a:gd name="T59" fmla="*/ 3085 h 3745"/>
                  <a:gd name="T60" fmla="*/ 789 w 3820"/>
                  <a:gd name="T61" fmla="*/ 2968 h 3745"/>
                  <a:gd name="T62" fmla="*/ 1142 w 3820"/>
                  <a:gd name="T63" fmla="*/ 3236 h 3745"/>
                  <a:gd name="T64" fmla="*/ 1121 w 3820"/>
                  <a:gd name="T65" fmla="*/ 3610 h 3745"/>
                  <a:gd name="T66" fmla="*/ 1432 w 3820"/>
                  <a:gd name="T67" fmla="*/ 3719 h 3745"/>
                  <a:gd name="T68" fmla="*/ 1650 w 3820"/>
                  <a:gd name="T69" fmla="*/ 3417 h 3745"/>
                  <a:gd name="T70" fmla="*/ 1909 w 3820"/>
                  <a:gd name="T71" fmla="*/ 3442 h 3745"/>
                  <a:gd name="T72" fmla="*/ 2090 w 3820"/>
                  <a:gd name="T73" fmla="*/ 3429 h 3745"/>
                  <a:gd name="T74" fmla="*/ 2291 w 3820"/>
                  <a:gd name="T75" fmla="*/ 3744 h 3745"/>
                  <a:gd name="T76" fmla="*/ 2606 w 3820"/>
                  <a:gd name="T77" fmla="*/ 3652 h 3745"/>
                  <a:gd name="T78" fmla="*/ 2606 w 3820"/>
                  <a:gd name="T79" fmla="*/ 3278 h 3745"/>
                  <a:gd name="T80" fmla="*/ 2971 w 3820"/>
                  <a:gd name="T81" fmla="*/ 3026 h 3745"/>
                  <a:gd name="T82" fmla="*/ 3320 w 3820"/>
                  <a:gd name="T83" fmla="*/ 3161 h 3745"/>
                  <a:gd name="T84" fmla="*/ 3517 w 3820"/>
                  <a:gd name="T85" fmla="*/ 2900 h 3745"/>
                  <a:gd name="T86" fmla="*/ 3299 w 3820"/>
                  <a:gd name="T87" fmla="*/ 2598 h 3745"/>
                  <a:gd name="T88" fmla="*/ 3445 w 3820"/>
                  <a:gd name="T89" fmla="*/ 2183 h 3745"/>
                  <a:gd name="T90" fmla="*/ 3807 w 3820"/>
                  <a:gd name="T91" fmla="*/ 2086 h 3745"/>
                  <a:gd name="T92" fmla="*/ 1909 w 3820"/>
                  <a:gd name="T93" fmla="*/ 2619 h 3745"/>
                  <a:gd name="T94" fmla="*/ 1909 w 3820"/>
                  <a:gd name="T95" fmla="*/ 2619 h 3745"/>
                  <a:gd name="T96" fmla="*/ 1163 w 3820"/>
                  <a:gd name="T97" fmla="*/ 1872 h 3745"/>
                  <a:gd name="T98" fmla="*/ 1909 w 3820"/>
                  <a:gd name="T99" fmla="*/ 1125 h 3745"/>
                  <a:gd name="T100" fmla="*/ 2661 w 3820"/>
                  <a:gd name="T101" fmla="*/ 1872 h 3745"/>
                  <a:gd name="T102" fmla="*/ 1909 w 3820"/>
                  <a:gd name="T103" fmla="*/ 2619 h 3745"/>
                  <a:gd name="T104" fmla="*/ 3807 w 3820"/>
                  <a:gd name="T105" fmla="*/ 2086 h 3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20" h="3745">
                    <a:moveTo>
                      <a:pt x="3807" y="2086"/>
                    </a:moveTo>
                    <a:lnTo>
                      <a:pt x="3807" y="2086"/>
                    </a:lnTo>
                    <a:cubicBezTo>
                      <a:pt x="3815" y="2015"/>
                      <a:pt x="3819" y="1944"/>
                      <a:pt x="3819" y="1872"/>
                    </a:cubicBezTo>
                    <a:cubicBezTo>
                      <a:pt x="3819" y="1834"/>
                      <a:pt x="3819" y="1797"/>
                      <a:pt x="3815" y="1759"/>
                    </a:cubicBezTo>
                    <a:cubicBezTo>
                      <a:pt x="3462" y="1645"/>
                      <a:pt x="3462" y="1645"/>
                      <a:pt x="3462" y="1645"/>
                    </a:cubicBezTo>
                    <a:cubicBezTo>
                      <a:pt x="3441" y="1494"/>
                      <a:pt x="3395" y="1352"/>
                      <a:pt x="3336" y="1222"/>
                    </a:cubicBezTo>
                    <a:cubicBezTo>
                      <a:pt x="3571" y="932"/>
                      <a:pt x="3571" y="932"/>
                      <a:pt x="3571" y="932"/>
                    </a:cubicBezTo>
                    <a:cubicBezTo>
                      <a:pt x="3517" y="835"/>
                      <a:pt x="3454" y="743"/>
                      <a:pt x="3387" y="659"/>
                    </a:cubicBezTo>
                    <a:cubicBezTo>
                      <a:pt x="3030" y="777"/>
                      <a:pt x="3030" y="777"/>
                      <a:pt x="3030" y="777"/>
                    </a:cubicBezTo>
                    <a:cubicBezTo>
                      <a:pt x="2929" y="672"/>
                      <a:pt x="2807" y="579"/>
                      <a:pt x="2682" y="508"/>
                    </a:cubicBezTo>
                    <a:cubicBezTo>
                      <a:pt x="2698" y="134"/>
                      <a:pt x="2698" y="134"/>
                      <a:pt x="2698" y="134"/>
                    </a:cubicBezTo>
                    <a:cubicBezTo>
                      <a:pt x="2602" y="88"/>
                      <a:pt x="2497" y="51"/>
                      <a:pt x="2392" y="25"/>
                    </a:cubicBezTo>
                    <a:cubicBezTo>
                      <a:pt x="2174" y="327"/>
                      <a:pt x="2174" y="327"/>
                      <a:pt x="2174" y="327"/>
                    </a:cubicBezTo>
                    <a:cubicBezTo>
                      <a:pt x="2085" y="311"/>
                      <a:pt x="2002" y="307"/>
                      <a:pt x="1909" y="307"/>
                    </a:cubicBezTo>
                    <a:cubicBezTo>
                      <a:pt x="1851" y="307"/>
                      <a:pt x="1789" y="307"/>
                      <a:pt x="1730" y="315"/>
                    </a:cubicBezTo>
                    <a:cubicBezTo>
                      <a:pt x="1528" y="0"/>
                      <a:pt x="1528" y="0"/>
                      <a:pt x="1528" y="0"/>
                    </a:cubicBezTo>
                    <a:cubicBezTo>
                      <a:pt x="1419" y="25"/>
                      <a:pt x="1314" y="55"/>
                      <a:pt x="1213" y="97"/>
                    </a:cubicBezTo>
                    <a:cubicBezTo>
                      <a:pt x="1213" y="466"/>
                      <a:pt x="1213" y="466"/>
                      <a:pt x="1213" y="466"/>
                    </a:cubicBezTo>
                    <a:cubicBezTo>
                      <a:pt x="1079" y="533"/>
                      <a:pt x="957" y="617"/>
                      <a:pt x="848" y="718"/>
                    </a:cubicBezTo>
                    <a:cubicBezTo>
                      <a:pt x="504" y="584"/>
                      <a:pt x="504" y="584"/>
                      <a:pt x="504" y="584"/>
                    </a:cubicBezTo>
                    <a:cubicBezTo>
                      <a:pt x="429" y="663"/>
                      <a:pt x="361" y="751"/>
                      <a:pt x="303" y="844"/>
                    </a:cubicBezTo>
                    <a:cubicBezTo>
                      <a:pt x="521" y="1146"/>
                      <a:pt x="521" y="1146"/>
                      <a:pt x="521" y="1146"/>
                    </a:cubicBezTo>
                    <a:cubicBezTo>
                      <a:pt x="454" y="1276"/>
                      <a:pt x="403" y="1415"/>
                      <a:pt x="374" y="1562"/>
                    </a:cubicBezTo>
                    <a:cubicBezTo>
                      <a:pt x="13" y="1658"/>
                      <a:pt x="13" y="1658"/>
                      <a:pt x="13" y="1658"/>
                    </a:cubicBezTo>
                    <a:cubicBezTo>
                      <a:pt x="5" y="1729"/>
                      <a:pt x="0" y="1801"/>
                      <a:pt x="0" y="1872"/>
                    </a:cubicBezTo>
                    <a:cubicBezTo>
                      <a:pt x="0" y="1910"/>
                      <a:pt x="5" y="1948"/>
                      <a:pt x="5" y="1985"/>
                    </a:cubicBezTo>
                    <a:cubicBezTo>
                      <a:pt x="361" y="2099"/>
                      <a:pt x="361" y="2099"/>
                      <a:pt x="361" y="2099"/>
                    </a:cubicBezTo>
                    <a:cubicBezTo>
                      <a:pt x="382" y="2250"/>
                      <a:pt x="424" y="2393"/>
                      <a:pt x="487" y="2527"/>
                    </a:cubicBezTo>
                    <a:cubicBezTo>
                      <a:pt x="252" y="2812"/>
                      <a:pt x="252" y="2812"/>
                      <a:pt x="252" y="2812"/>
                    </a:cubicBezTo>
                    <a:cubicBezTo>
                      <a:pt x="307" y="2909"/>
                      <a:pt x="366" y="3001"/>
                      <a:pt x="437" y="3085"/>
                    </a:cubicBezTo>
                    <a:cubicBezTo>
                      <a:pt x="789" y="2968"/>
                      <a:pt x="789" y="2968"/>
                      <a:pt x="789" y="2968"/>
                    </a:cubicBezTo>
                    <a:cubicBezTo>
                      <a:pt x="894" y="3073"/>
                      <a:pt x="1012" y="3165"/>
                      <a:pt x="1142" y="3236"/>
                    </a:cubicBezTo>
                    <a:cubicBezTo>
                      <a:pt x="1121" y="3610"/>
                      <a:pt x="1121" y="3610"/>
                      <a:pt x="1121" y="3610"/>
                    </a:cubicBezTo>
                    <a:cubicBezTo>
                      <a:pt x="1222" y="3656"/>
                      <a:pt x="1323" y="3694"/>
                      <a:pt x="1432" y="3719"/>
                    </a:cubicBezTo>
                    <a:cubicBezTo>
                      <a:pt x="1650" y="3417"/>
                      <a:pt x="1650" y="3417"/>
                      <a:pt x="1650" y="3417"/>
                    </a:cubicBezTo>
                    <a:cubicBezTo>
                      <a:pt x="1734" y="3433"/>
                      <a:pt x="1822" y="3442"/>
                      <a:pt x="1909" y="3442"/>
                    </a:cubicBezTo>
                    <a:cubicBezTo>
                      <a:pt x="1972" y="3442"/>
                      <a:pt x="2031" y="3438"/>
                      <a:pt x="2090" y="3429"/>
                    </a:cubicBezTo>
                    <a:cubicBezTo>
                      <a:pt x="2291" y="3744"/>
                      <a:pt x="2291" y="3744"/>
                      <a:pt x="2291" y="3744"/>
                    </a:cubicBezTo>
                    <a:cubicBezTo>
                      <a:pt x="2400" y="3719"/>
                      <a:pt x="2505" y="3689"/>
                      <a:pt x="2606" y="3652"/>
                    </a:cubicBezTo>
                    <a:cubicBezTo>
                      <a:pt x="2606" y="3278"/>
                      <a:pt x="2606" y="3278"/>
                      <a:pt x="2606" y="3278"/>
                    </a:cubicBezTo>
                    <a:cubicBezTo>
                      <a:pt x="2740" y="3211"/>
                      <a:pt x="2862" y="3127"/>
                      <a:pt x="2971" y="3026"/>
                    </a:cubicBezTo>
                    <a:cubicBezTo>
                      <a:pt x="3320" y="3161"/>
                      <a:pt x="3320" y="3161"/>
                      <a:pt x="3320" y="3161"/>
                    </a:cubicBezTo>
                    <a:cubicBezTo>
                      <a:pt x="3391" y="3081"/>
                      <a:pt x="3458" y="2993"/>
                      <a:pt x="3517" y="2900"/>
                    </a:cubicBezTo>
                    <a:cubicBezTo>
                      <a:pt x="3299" y="2598"/>
                      <a:pt x="3299" y="2598"/>
                      <a:pt x="3299" y="2598"/>
                    </a:cubicBezTo>
                    <a:cubicBezTo>
                      <a:pt x="3366" y="2468"/>
                      <a:pt x="3416" y="2330"/>
                      <a:pt x="3445" y="2183"/>
                    </a:cubicBezTo>
                    <a:cubicBezTo>
                      <a:pt x="3807" y="2086"/>
                      <a:pt x="3807" y="2086"/>
                      <a:pt x="3807" y="2086"/>
                    </a:cubicBezTo>
                    <a:lnTo>
                      <a:pt x="1909" y="2619"/>
                    </a:lnTo>
                    <a:lnTo>
                      <a:pt x="1909" y="2619"/>
                    </a:lnTo>
                    <a:cubicBezTo>
                      <a:pt x="1499" y="2619"/>
                      <a:pt x="1163" y="2288"/>
                      <a:pt x="1163" y="1872"/>
                    </a:cubicBezTo>
                    <a:cubicBezTo>
                      <a:pt x="1163" y="1461"/>
                      <a:pt x="1499" y="1125"/>
                      <a:pt x="1909" y="1125"/>
                    </a:cubicBezTo>
                    <a:cubicBezTo>
                      <a:pt x="2325" y="1125"/>
                      <a:pt x="2661" y="1461"/>
                      <a:pt x="2661" y="1872"/>
                    </a:cubicBezTo>
                    <a:cubicBezTo>
                      <a:pt x="2661" y="2288"/>
                      <a:pt x="2325" y="2619"/>
                      <a:pt x="1909" y="2619"/>
                    </a:cubicBezTo>
                    <a:lnTo>
                      <a:pt x="3807" y="208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CE88B717-FDE2-4A0B-B8FE-1BB5431B8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97512" y="6684412"/>
                <a:ext cx="267287" cy="976749"/>
              </a:xfrm>
              <a:custGeom>
                <a:avLst/>
                <a:gdLst>
                  <a:gd name="T0" fmla="*/ 29 w 358"/>
                  <a:gd name="T1" fmla="*/ 1305 h 1306"/>
                  <a:gd name="T2" fmla="*/ 29 w 358"/>
                  <a:gd name="T3" fmla="*/ 1305 h 1306"/>
                  <a:gd name="T4" fmla="*/ 12 w 358"/>
                  <a:gd name="T5" fmla="*/ 1301 h 1306"/>
                  <a:gd name="T6" fmla="*/ 8 w 358"/>
                  <a:gd name="T7" fmla="*/ 1263 h 1306"/>
                  <a:gd name="T8" fmla="*/ 302 w 358"/>
                  <a:gd name="T9" fmla="*/ 453 h 1306"/>
                  <a:gd name="T10" fmla="*/ 235 w 358"/>
                  <a:gd name="T11" fmla="*/ 42 h 1306"/>
                  <a:gd name="T12" fmla="*/ 252 w 358"/>
                  <a:gd name="T13" fmla="*/ 4 h 1306"/>
                  <a:gd name="T14" fmla="*/ 285 w 358"/>
                  <a:gd name="T15" fmla="*/ 25 h 1306"/>
                  <a:gd name="T16" fmla="*/ 357 w 358"/>
                  <a:gd name="T17" fmla="*/ 453 h 1306"/>
                  <a:gd name="T18" fmla="*/ 54 w 358"/>
                  <a:gd name="T19" fmla="*/ 1297 h 1306"/>
                  <a:gd name="T20" fmla="*/ 29 w 358"/>
                  <a:gd name="T21" fmla="*/ 130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8" h="1306">
                    <a:moveTo>
                      <a:pt x="29" y="1305"/>
                    </a:moveTo>
                    <a:lnTo>
                      <a:pt x="29" y="1305"/>
                    </a:lnTo>
                    <a:cubicBezTo>
                      <a:pt x="25" y="1305"/>
                      <a:pt x="17" y="1305"/>
                      <a:pt x="12" y="1301"/>
                    </a:cubicBezTo>
                    <a:cubicBezTo>
                      <a:pt x="0" y="1293"/>
                      <a:pt x="0" y="1272"/>
                      <a:pt x="8" y="1263"/>
                    </a:cubicBezTo>
                    <a:cubicBezTo>
                      <a:pt x="197" y="1037"/>
                      <a:pt x="302" y="747"/>
                      <a:pt x="302" y="453"/>
                    </a:cubicBezTo>
                    <a:cubicBezTo>
                      <a:pt x="302" y="310"/>
                      <a:pt x="277" y="172"/>
                      <a:pt x="235" y="42"/>
                    </a:cubicBezTo>
                    <a:cubicBezTo>
                      <a:pt x="226" y="25"/>
                      <a:pt x="235" y="12"/>
                      <a:pt x="252" y="4"/>
                    </a:cubicBezTo>
                    <a:cubicBezTo>
                      <a:pt x="264" y="0"/>
                      <a:pt x="281" y="8"/>
                      <a:pt x="285" y="25"/>
                    </a:cubicBezTo>
                    <a:cubicBezTo>
                      <a:pt x="331" y="159"/>
                      <a:pt x="357" y="306"/>
                      <a:pt x="357" y="453"/>
                    </a:cubicBezTo>
                    <a:cubicBezTo>
                      <a:pt x="357" y="760"/>
                      <a:pt x="248" y="1062"/>
                      <a:pt x="54" y="1297"/>
                    </a:cubicBezTo>
                    <a:cubicBezTo>
                      <a:pt x="46" y="1305"/>
                      <a:pt x="38" y="1305"/>
                      <a:pt x="29" y="13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5CFCC64E-D223-4994-9720-6ACC8C697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1734" y="6090443"/>
                <a:ext cx="379481" cy="247486"/>
              </a:xfrm>
              <a:custGeom>
                <a:avLst/>
                <a:gdLst>
                  <a:gd name="T0" fmla="*/ 478 w 509"/>
                  <a:gd name="T1" fmla="*/ 331 h 332"/>
                  <a:gd name="T2" fmla="*/ 478 w 509"/>
                  <a:gd name="T3" fmla="*/ 331 h 332"/>
                  <a:gd name="T4" fmla="*/ 457 w 509"/>
                  <a:gd name="T5" fmla="*/ 327 h 332"/>
                  <a:gd name="T6" fmla="*/ 21 w 509"/>
                  <a:gd name="T7" fmla="*/ 58 h 332"/>
                  <a:gd name="T8" fmla="*/ 4 w 509"/>
                  <a:gd name="T9" fmla="*/ 20 h 332"/>
                  <a:gd name="T10" fmla="*/ 42 w 509"/>
                  <a:gd name="T11" fmla="*/ 4 h 332"/>
                  <a:gd name="T12" fmla="*/ 495 w 509"/>
                  <a:gd name="T13" fmla="*/ 285 h 332"/>
                  <a:gd name="T14" fmla="*/ 499 w 509"/>
                  <a:gd name="T15" fmla="*/ 323 h 332"/>
                  <a:gd name="T16" fmla="*/ 478 w 509"/>
                  <a:gd name="T17" fmla="*/ 33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9" h="332">
                    <a:moveTo>
                      <a:pt x="478" y="331"/>
                    </a:moveTo>
                    <a:lnTo>
                      <a:pt x="478" y="331"/>
                    </a:lnTo>
                    <a:cubicBezTo>
                      <a:pt x="470" y="331"/>
                      <a:pt x="461" y="331"/>
                      <a:pt x="457" y="327"/>
                    </a:cubicBezTo>
                    <a:cubicBezTo>
                      <a:pt x="331" y="205"/>
                      <a:pt x="184" y="117"/>
                      <a:pt x="21" y="58"/>
                    </a:cubicBezTo>
                    <a:cubicBezTo>
                      <a:pt x="8" y="54"/>
                      <a:pt x="0" y="37"/>
                      <a:pt x="4" y="20"/>
                    </a:cubicBezTo>
                    <a:cubicBezTo>
                      <a:pt x="12" y="8"/>
                      <a:pt x="25" y="0"/>
                      <a:pt x="42" y="4"/>
                    </a:cubicBezTo>
                    <a:cubicBezTo>
                      <a:pt x="210" y="67"/>
                      <a:pt x="365" y="159"/>
                      <a:pt x="495" y="285"/>
                    </a:cubicBezTo>
                    <a:cubicBezTo>
                      <a:pt x="508" y="293"/>
                      <a:pt x="508" y="314"/>
                      <a:pt x="499" y="323"/>
                    </a:cubicBezTo>
                    <a:cubicBezTo>
                      <a:pt x="491" y="331"/>
                      <a:pt x="483" y="331"/>
                      <a:pt x="478" y="3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7">
                <a:extLst>
                  <a:ext uri="{FF2B5EF4-FFF2-40B4-BE49-F238E27FC236}">
                    <a16:creationId xmlns:a16="http://schemas.microsoft.com/office/drawing/2014/main" id="{ECF06D31-5875-495F-AC0E-7FEF2F25DB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7465" y="6034345"/>
                <a:ext cx="280484" cy="72596"/>
              </a:xfrm>
              <a:custGeom>
                <a:avLst/>
                <a:gdLst>
                  <a:gd name="T0" fmla="*/ 30 w 374"/>
                  <a:gd name="T1" fmla="*/ 96 h 97"/>
                  <a:gd name="T2" fmla="*/ 30 w 374"/>
                  <a:gd name="T3" fmla="*/ 96 h 97"/>
                  <a:gd name="T4" fmla="*/ 4 w 374"/>
                  <a:gd name="T5" fmla="*/ 76 h 97"/>
                  <a:gd name="T6" fmla="*/ 21 w 374"/>
                  <a:gd name="T7" fmla="*/ 42 h 97"/>
                  <a:gd name="T8" fmla="*/ 348 w 374"/>
                  <a:gd name="T9" fmla="*/ 0 h 97"/>
                  <a:gd name="T10" fmla="*/ 373 w 374"/>
                  <a:gd name="T11" fmla="*/ 29 h 97"/>
                  <a:gd name="T12" fmla="*/ 348 w 374"/>
                  <a:gd name="T13" fmla="*/ 59 h 97"/>
                  <a:gd name="T14" fmla="*/ 38 w 374"/>
                  <a:gd name="T15" fmla="*/ 96 h 97"/>
                  <a:gd name="T16" fmla="*/ 30 w 374"/>
                  <a:gd name="T17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4" h="97">
                    <a:moveTo>
                      <a:pt x="30" y="96"/>
                    </a:moveTo>
                    <a:lnTo>
                      <a:pt x="30" y="96"/>
                    </a:lnTo>
                    <a:cubicBezTo>
                      <a:pt x="17" y="96"/>
                      <a:pt x="4" y="88"/>
                      <a:pt x="4" y="76"/>
                    </a:cubicBezTo>
                    <a:cubicBezTo>
                      <a:pt x="0" y="63"/>
                      <a:pt x="9" y="46"/>
                      <a:pt x="21" y="42"/>
                    </a:cubicBezTo>
                    <a:cubicBezTo>
                      <a:pt x="130" y="17"/>
                      <a:pt x="239" y="0"/>
                      <a:pt x="348" y="0"/>
                    </a:cubicBezTo>
                    <a:cubicBezTo>
                      <a:pt x="360" y="0"/>
                      <a:pt x="373" y="13"/>
                      <a:pt x="373" y="29"/>
                    </a:cubicBezTo>
                    <a:cubicBezTo>
                      <a:pt x="373" y="46"/>
                      <a:pt x="360" y="59"/>
                      <a:pt x="348" y="59"/>
                    </a:cubicBezTo>
                    <a:cubicBezTo>
                      <a:pt x="244" y="59"/>
                      <a:pt x="139" y="71"/>
                      <a:pt x="38" y="96"/>
                    </a:cubicBezTo>
                    <a:cubicBezTo>
                      <a:pt x="34" y="96"/>
                      <a:pt x="34" y="96"/>
                      <a:pt x="3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8">
                <a:extLst>
                  <a:ext uri="{FF2B5EF4-FFF2-40B4-BE49-F238E27FC236}">
                    <a16:creationId xmlns:a16="http://schemas.microsoft.com/office/drawing/2014/main" id="{22AF3BD7-E808-478D-844D-9200EE31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03016" y="9647657"/>
                <a:ext cx="1979896" cy="1940298"/>
              </a:xfrm>
              <a:custGeom>
                <a:avLst/>
                <a:gdLst>
                  <a:gd name="T0" fmla="*/ 2637 w 2646"/>
                  <a:gd name="T1" fmla="*/ 1444 h 2595"/>
                  <a:gd name="T2" fmla="*/ 2637 w 2646"/>
                  <a:gd name="T3" fmla="*/ 1444 h 2595"/>
                  <a:gd name="T4" fmla="*/ 2645 w 2646"/>
                  <a:gd name="T5" fmla="*/ 1297 h 2595"/>
                  <a:gd name="T6" fmla="*/ 2641 w 2646"/>
                  <a:gd name="T7" fmla="*/ 1217 h 2595"/>
                  <a:gd name="T8" fmla="*/ 2393 w 2646"/>
                  <a:gd name="T9" fmla="*/ 1137 h 2595"/>
                  <a:gd name="T10" fmla="*/ 2309 w 2646"/>
                  <a:gd name="T11" fmla="*/ 844 h 2595"/>
                  <a:gd name="T12" fmla="*/ 2473 w 2646"/>
                  <a:gd name="T13" fmla="*/ 646 h 2595"/>
                  <a:gd name="T14" fmla="*/ 2343 w 2646"/>
                  <a:gd name="T15" fmla="*/ 458 h 2595"/>
                  <a:gd name="T16" fmla="*/ 2095 w 2646"/>
                  <a:gd name="T17" fmla="*/ 537 h 2595"/>
                  <a:gd name="T18" fmla="*/ 1856 w 2646"/>
                  <a:gd name="T19" fmla="*/ 353 h 2595"/>
                  <a:gd name="T20" fmla="*/ 1868 w 2646"/>
                  <a:gd name="T21" fmla="*/ 92 h 2595"/>
                  <a:gd name="T22" fmla="*/ 1654 w 2646"/>
                  <a:gd name="T23" fmla="*/ 17 h 2595"/>
                  <a:gd name="T24" fmla="*/ 1503 w 2646"/>
                  <a:gd name="T25" fmla="*/ 227 h 2595"/>
                  <a:gd name="T26" fmla="*/ 1323 w 2646"/>
                  <a:gd name="T27" fmla="*/ 210 h 2595"/>
                  <a:gd name="T28" fmla="*/ 1197 w 2646"/>
                  <a:gd name="T29" fmla="*/ 218 h 2595"/>
                  <a:gd name="T30" fmla="*/ 1054 w 2646"/>
                  <a:gd name="T31" fmla="*/ 0 h 2595"/>
                  <a:gd name="T32" fmla="*/ 836 w 2646"/>
                  <a:gd name="T33" fmla="*/ 67 h 2595"/>
                  <a:gd name="T34" fmla="*/ 840 w 2646"/>
                  <a:gd name="T35" fmla="*/ 323 h 2595"/>
                  <a:gd name="T36" fmla="*/ 584 w 2646"/>
                  <a:gd name="T37" fmla="*/ 499 h 2595"/>
                  <a:gd name="T38" fmla="*/ 345 w 2646"/>
                  <a:gd name="T39" fmla="*/ 407 h 2595"/>
                  <a:gd name="T40" fmla="*/ 206 w 2646"/>
                  <a:gd name="T41" fmla="*/ 583 h 2595"/>
                  <a:gd name="T42" fmla="*/ 357 w 2646"/>
                  <a:gd name="T43" fmla="*/ 793 h 2595"/>
                  <a:gd name="T44" fmla="*/ 256 w 2646"/>
                  <a:gd name="T45" fmla="*/ 1083 h 2595"/>
                  <a:gd name="T46" fmla="*/ 9 w 2646"/>
                  <a:gd name="T47" fmla="*/ 1150 h 2595"/>
                  <a:gd name="T48" fmla="*/ 0 w 2646"/>
                  <a:gd name="T49" fmla="*/ 1297 h 2595"/>
                  <a:gd name="T50" fmla="*/ 0 w 2646"/>
                  <a:gd name="T51" fmla="*/ 1377 h 2595"/>
                  <a:gd name="T52" fmla="*/ 248 w 2646"/>
                  <a:gd name="T53" fmla="*/ 1456 h 2595"/>
                  <a:gd name="T54" fmla="*/ 332 w 2646"/>
                  <a:gd name="T55" fmla="*/ 1750 h 2595"/>
                  <a:gd name="T56" fmla="*/ 168 w 2646"/>
                  <a:gd name="T57" fmla="*/ 1952 h 2595"/>
                  <a:gd name="T58" fmla="*/ 298 w 2646"/>
                  <a:gd name="T59" fmla="*/ 2136 h 2595"/>
                  <a:gd name="T60" fmla="*/ 546 w 2646"/>
                  <a:gd name="T61" fmla="*/ 2057 h 2595"/>
                  <a:gd name="T62" fmla="*/ 785 w 2646"/>
                  <a:gd name="T63" fmla="*/ 2246 h 2595"/>
                  <a:gd name="T64" fmla="*/ 773 w 2646"/>
                  <a:gd name="T65" fmla="*/ 2502 h 2595"/>
                  <a:gd name="T66" fmla="*/ 987 w 2646"/>
                  <a:gd name="T67" fmla="*/ 2577 h 2595"/>
                  <a:gd name="T68" fmla="*/ 1138 w 2646"/>
                  <a:gd name="T69" fmla="*/ 2367 h 2595"/>
                  <a:gd name="T70" fmla="*/ 1323 w 2646"/>
                  <a:gd name="T71" fmla="*/ 2384 h 2595"/>
                  <a:gd name="T72" fmla="*/ 1444 w 2646"/>
                  <a:gd name="T73" fmla="*/ 2376 h 2595"/>
                  <a:gd name="T74" fmla="*/ 1587 w 2646"/>
                  <a:gd name="T75" fmla="*/ 2594 h 2595"/>
                  <a:gd name="T76" fmla="*/ 1805 w 2646"/>
                  <a:gd name="T77" fmla="*/ 2527 h 2595"/>
                  <a:gd name="T78" fmla="*/ 1801 w 2646"/>
                  <a:gd name="T79" fmla="*/ 2271 h 2595"/>
                  <a:gd name="T80" fmla="*/ 2057 w 2646"/>
                  <a:gd name="T81" fmla="*/ 2099 h 2595"/>
                  <a:gd name="T82" fmla="*/ 2296 w 2646"/>
                  <a:gd name="T83" fmla="*/ 2191 h 2595"/>
                  <a:gd name="T84" fmla="*/ 2435 w 2646"/>
                  <a:gd name="T85" fmla="*/ 2011 h 2595"/>
                  <a:gd name="T86" fmla="*/ 2284 w 2646"/>
                  <a:gd name="T87" fmla="*/ 1801 h 2595"/>
                  <a:gd name="T88" fmla="*/ 2385 w 2646"/>
                  <a:gd name="T89" fmla="*/ 1511 h 2595"/>
                  <a:gd name="T90" fmla="*/ 2637 w 2646"/>
                  <a:gd name="T91" fmla="*/ 1444 h 2595"/>
                  <a:gd name="T92" fmla="*/ 1323 w 2646"/>
                  <a:gd name="T93" fmla="*/ 1818 h 2595"/>
                  <a:gd name="T94" fmla="*/ 1323 w 2646"/>
                  <a:gd name="T95" fmla="*/ 1818 h 2595"/>
                  <a:gd name="T96" fmla="*/ 802 w 2646"/>
                  <a:gd name="T97" fmla="*/ 1297 h 2595"/>
                  <a:gd name="T98" fmla="*/ 1323 w 2646"/>
                  <a:gd name="T99" fmla="*/ 781 h 2595"/>
                  <a:gd name="T100" fmla="*/ 1839 w 2646"/>
                  <a:gd name="T101" fmla="*/ 1297 h 2595"/>
                  <a:gd name="T102" fmla="*/ 1323 w 2646"/>
                  <a:gd name="T103" fmla="*/ 1818 h 2595"/>
                  <a:gd name="T104" fmla="*/ 2637 w 2646"/>
                  <a:gd name="T105" fmla="*/ 1444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646" h="2595">
                    <a:moveTo>
                      <a:pt x="2637" y="1444"/>
                    </a:moveTo>
                    <a:lnTo>
                      <a:pt x="2637" y="1444"/>
                    </a:lnTo>
                    <a:cubicBezTo>
                      <a:pt x="2641" y="1398"/>
                      <a:pt x="2645" y="1347"/>
                      <a:pt x="2645" y="1297"/>
                    </a:cubicBezTo>
                    <a:cubicBezTo>
                      <a:pt x="2645" y="1272"/>
                      <a:pt x="2641" y="1247"/>
                      <a:pt x="2641" y="1217"/>
                    </a:cubicBezTo>
                    <a:cubicBezTo>
                      <a:pt x="2393" y="1137"/>
                      <a:pt x="2393" y="1137"/>
                      <a:pt x="2393" y="1137"/>
                    </a:cubicBezTo>
                    <a:cubicBezTo>
                      <a:pt x="2380" y="1037"/>
                      <a:pt x="2351" y="936"/>
                      <a:pt x="2309" y="844"/>
                    </a:cubicBezTo>
                    <a:cubicBezTo>
                      <a:pt x="2473" y="646"/>
                      <a:pt x="2473" y="646"/>
                      <a:pt x="2473" y="646"/>
                    </a:cubicBezTo>
                    <a:cubicBezTo>
                      <a:pt x="2435" y="579"/>
                      <a:pt x="2389" y="516"/>
                      <a:pt x="2343" y="458"/>
                    </a:cubicBezTo>
                    <a:cubicBezTo>
                      <a:pt x="2095" y="537"/>
                      <a:pt x="2095" y="537"/>
                      <a:pt x="2095" y="537"/>
                    </a:cubicBezTo>
                    <a:cubicBezTo>
                      <a:pt x="2024" y="466"/>
                      <a:pt x="1944" y="403"/>
                      <a:pt x="1856" y="353"/>
                    </a:cubicBezTo>
                    <a:cubicBezTo>
                      <a:pt x="1868" y="92"/>
                      <a:pt x="1868" y="92"/>
                      <a:pt x="1868" y="92"/>
                    </a:cubicBezTo>
                    <a:cubicBezTo>
                      <a:pt x="1801" y="63"/>
                      <a:pt x="1730" y="38"/>
                      <a:pt x="1654" y="17"/>
                    </a:cubicBezTo>
                    <a:cubicBezTo>
                      <a:pt x="1503" y="227"/>
                      <a:pt x="1503" y="227"/>
                      <a:pt x="1503" y="227"/>
                    </a:cubicBezTo>
                    <a:cubicBezTo>
                      <a:pt x="1444" y="218"/>
                      <a:pt x="1381" y="210"/>
                      <a:pt x="1323" y="210"/>
                    </a:cubicBezTo>
                    <a:cubicBezTo>
                      <a:pt x="1277" y="210"/>
                      <a:pt x="1239" y="214"/>
                      <a:pt x="1197" y="218"/>
                    </a:cubicBezTo>
                    <a:cubicBezTo>
                      <a:pt x="1054" y="0"/>
                      <a:pt x="1054" y="0"/>
                      <a:pt x="1054" y="0"/>
                    </a:cubicBezTo>
                    <a:cubicBezTo>
                      <a:pt x="983" y="17"/>
                      <a:pt x="907" y="38"/>
                      <a:pt x="836" y="67"/>
                    </a:cubicBezTo>
                    <a:cubicBezTo>
                      <a:pt x="840" y="323"/>
                      <a:pt x="840" y="323"/>
                      <a:pt x="840" y="323"/>
                    </a:cubicBezTo>
                    <a:cubicBezTo>
                      <a:pt x="748" y="369"/>
                      <a:pt x="659" y="428"/>
                      <a:pt x="584" y="499"/>
                    </a:cubicBezTo>
                    <a:cubicBezTo>
                      <a:pt x="345" y="407"/>
                      <a:pt x="345" y="407"/>
                      <a:pt x="345" y="407"/>
                    </a:cubicBezTo>
                    <a:cubicBezTo>
                      <a:pt x="294" y="462"/>
                      <a:pt x="248" y="520"/>
                      <a:pt x="206" y="583"/>
                    </a:cubicBezTo>
                    <a:cubicBezTo>
                      <a:pt x="357" y="793"/>
                      <a:pt x="357" y="793"/>
                      <a:pt x="357" y="793"/>
                    </a:cubicBezTo>
                    <a:cubicBezTo>
                      <a:pt x="311" y="881"/>
                      <a:pt x="277" y="982"/>
                      <a:pt x="256" y="1083"/>
                    </a:cubicBezTo>
                    <a:cubicBezTo>
                      <a:pt x="9" y="1150"/>
                      <a:pt x="9" y="1150"/>
                      <a:pt x="9" y="1150"/>
                    </a:cubicBezTo>
                    <a:cubicBezTo>
                      <a:pt x="0" y="1196"/>
                      <a:pt x="0" y="1247"/>
                      <a:pt x="0" y="1297"/>
                    </a:cubicBezTo>
                    <a:cubicBezTo>
                      <a:pt x="0" y="1322"/>
                      <a:pt x="0" y="1352"/>
                      <a:pt x="0" y="1377"/>
                    </a:cubicBezTo>
                    <a:cubicBezTo>
                      <a:pt x="248" y="1456"/>
                      <a:pt x="248" y="1456"/>
                      <a:pt x="248" y="1456"/>
                    </a:cubicBezTo>
                    <a:cubicBezTo>
                      <a:pt x="261" y="1557"/>
                      <a:pt x="290" y="1658"/>
                      <a:pt x="332" y="1750"/>
                    </a:cubicBezTo>
                    <a:cubicBezTo>
                      <a:pt x="168" y="1952"/>
                      <a:pt x="168" y="1952"/>
                      <a:pt x="168" y="1952"/>
                    </a:cubicBezTo>
                    <a:cubicBezTo>
                      <a:pt x="206" y="2015"/>
                      <a:pt x="252" y="2078"/>
                      <a:pt x="298" y="2136"/>
                    </a:cubicBezTo>
                    <a:cubicBezTo>
                      <a:pt x="546" y="2057"/>
                      <a:pt x="546" y="2057"/>
                      <a:pt x="546" y="2057"/>
                    </a:cubicBezTo>
                    <a:cubicBezTo>
                      <a:pt x="617" y="2128"/>
                      <a:pt x="697" y="2191"/>
                      <a:pt x="785" y="2246"/>
                    </a:cubicBezTo>
                    <a:cubicBezTo>
                      <a:pt x="773" y="2502"/>
                      <a:pt x="773" y="2502"/>
                      <a:pt x="773" y="2502"/>
                    </a:cubicBezTo>
                    <a:cubicBezTo>
                      <a:pt x="840" y="2531"/>
                      <a:pt x="915" y="2556"/>
                      <a:pt x="987" y="2577"/>
                    </a:cubicBezTo>
                    <a:cubicBezTo>
                      <a:pt x="1138" y="2367"/>
                      <a:pt x="1138" y="2367"/>
                      <a:pt x="1138" y="2367"/>
                    </a:cubicBezTo>
                    <a:cubicBezTo>
                      <a:pt x="1197" y="2380"/>
                      <a:pt x="1260" y="2384"/>
                      <a:pt x="1323" y="2384"/>
                    </a:cubicBezTo>
                    <a:cubicBezTo>
                      <a:pt x="1365" y="2384"/>
                      <a:pt x="1402" y="2380"/>
                      <a:pt x="1444" y="2376"/>
                    </a:cubicBezTo>
                    <a:cubicBezTo>
                      <a:pt x="1587" y="2594"/>
                      <a:pt x="1587" y="2594"/>
                      <a:pt x="1587" y="2594"/>
                    </a:cubicBezTo>
                    <a:cubicBezTo>
                      <a:pt x="1663" y="2577"/>
                      <a:pt x="1734" y="2556"/>
                      <a:pt x="1805" y="2527"/>
                    </a:cubicBezTo>
                    <a:cubicBezTo>
                      <a:pt x="1801" y="2271"/>
                      <a:pt x="1801" y="2271"/>
                      <a:pt x="1801" y="2271"/>
                    </a:cubicBezTo>
                    <a:cubicBezTo>
                      <a:pt x="1893" y="2225"/>
                      <a:pt x="1982" y="2166"/>
                      <a:pt x="2057" y="2099"/>
                    </a:cubicBezTo>
                    <a:cubicBezTo>
                      <a:pt x="2296" y="2191"/>
                      <a:pt x="2296" y="2191"/>
                      <a:pt x="2296" y="2191"/>
                    </a:cubicBezTo>
                    <a:cubicBezTo>
                      <a:pt x="2347" y="2132"/>
                      <a:pt x="2393" y="2074"/>
                      <a:pt x="2435" y="2011"/>
                    </a:cubicBezTo>
                    <a:cubicBezTo>
                      <a:pt x="2284" y="1801"/>
                      <a:pt x="2284" y="1801"/>
                      <a:pt x="2284" y="1801"/>
                    </a:cubicBezTo>
                    <a:cubicBezTo>
                      <a:pt x="2330" y="1712"/>
                      <a:pt x="2364" y="1616"/>
                      <a:pt x="2385" y="1511"/>
                    </a:cubicBezTo>
                    <a:cubicBezTo>
                      <a:pt x="2637" y="1444"/>
                      <a:pt x="2637" y="1444"/>
                      <a:pt x="2637" y="1444"/>
                    </a:cubicBezTo>
                    <a:lnTo>
                      <a:pt x="1323" y="1818"/>
                    </a:lnTo>
                    <a:lnTo>
                      <a:pt x="1323" y="1818"/>
                    </a:lnTo>
                    <a:cubicBezTo>
                      <a:pt x="1033" y="1818"/>
                      <a:pt x="802" y="1582"/>
                      <a:pt x="802" y="1297"/>
                    </a:cubicBezTo>
                    <a:cubicBezTo>
                      <a:pt x="802" y="1012"/>
                      <a:pt x="1033" y="781"/>
                      <a:pt x="1323" y="781"/>
                    </a:cubicBezTo>
                    <a:cubicBezTo>
                      <a:pt x="1608" y="781"/>
                      <a:pt x="1839" y="1012"/>
                      <a:pt x="1839" y="1297"/>
                    </a:cubicBezTo>
                    <a:cubicBezTo>
                      <a:pt x="1839" y="1582"/>
                      <a:pt x="1608" y="1818"/>
                      <a:pt x="1323" y="1818"/>
                    </a:cubicBezTo>
                    <a:lnTo>
                      <a:pt x="2637" y="1444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F639F9FF-3E5F-42DB-BA63-0466AD880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839" y="10376917"/>
                <a:ext cx="197990" cy="692964"/>
              </a:xfrm>
              <a:custGeom>
                <a:avLst/>
                <a:gdLst>
                  <a:gd name="T0" fmla="*/ 30 w 266"/>
                  <a:gd name="T1" fmla="*/ 923 h 924"/>
                  <a:gd name="T2" fmla="*/ 30 w 266"/>
                  <a:gd name="T3" fmla="*/ 923 h 924"/>
                  <a:gd name="T4" fmla="*/ 13 w 266"/>
                  <a:gd name="T5" fmla="*/ 919 h 924"/>
                  <a:gd name="T6" fmla="*/ 9 w 266"/>
                  <a:gd name="T7" fmla="*/ 877 h 924"/>
                  <a:gd name="T8" fmla="*/ 210 w 266"/>
                  <a:gd name="T9" fmla="*/ 323 h 924"/>
                  <a:gd name="T10" fmla="*/ 160 w 266"/>
                  <a:gd name="T11" fmla="*/ 42 h 924"/>
                  <a:gd name="T12" fmla="*/ 181 w 266"/>
                  <a:gd name="T13" fmla="*/ 4 h 924"/>
                  <a:gd name="T14" fmla="*/ 214 w 266"/>
                  <a:gd name="T15" fmla="*/ 21 h 924"/>
                  <a:gd name="T16" fmla="*/ 265 w 266"/>
                  <a:gd name="T17" fmla="*/ 323 h 924"/>
                  <a:gd name="T18" fmla="*/ 51 w 266"/>
                  <a:gd name="T19" fmla="*/ 915 h 924"/>
                  <a:gd name="T20" fmla="*/ 30 w 266"/>
                  <a:gd name="T21" fmla="*/ 923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6" h="924">
                    <a:moveTo>
                      <a:pt x="30" y="923"/>
                    </a:moveTo>
                    <a:lnTo>
                      <a:pt x="30" y="923"/>
                    </a:lnTo>
                    <a:cubicBezTo>
                      <a:pt x="26" y="923"/>
                      <a:pt x="17" y="923"/>
                      <a:pt x="13" y="919"/>
                    </a:cubicBezTo>
                    <a:cubicBezTo>
                      <a:pt x="0" y="906"/>
                      <a:pt x="0" y="890"/>
                      <a:pt x="9" y="877"/>
                    </a:cubicBezTo>
                    <a:cubicBezTo>
                      <a:pt x="139" y="722"/>
                      <a:pt x="210" y="525"/>
                      <a:pt x="210" y="323"/>
                    </a:cubicBezTo>
                    <a:cubicBezTo>
                      <a:pt x="210" y="226"/>
                      <a:pt x="194" y="130"/>
                      <a:pt x="160" y="42"/>
                    </a:cubicBezTo>
                    <a:cubicBezTo>
                      <a:pt x="156" y="25"/>
                      <a:pt x="164" y="12"/>
                      <a:pt x="181" y="4"/>
                    </a:cubicBezTo>
                    <a:cubicBezTo>
                      <a:pt x="194" y="0"/>
                      <a:pt x="210" y="8"/>
                      <a:pt x="214" y="21"/>
                    </a:cubicBezTo>
                    <a:cubicBezTo>
                      <a:pt x="248" y="117"/>
                      <a:pt x="265" y="222"/>
                      <a:pt x="265" y="323"/>
                    </a:cubicBezTo>
                    <a:cubicBezTo>
                      <a:pt x="265" y="537"/>
                      <a:pt x="189" y="747"/>
                      <a:pt x="51" y="915"/>
                    </a:cubicBezTo>
                    <a:cubicBezTo>
                      <a:pt x="47" y="919"/>
                      <a:pt x="38" y="923"/>
                      <a:pt x="30" y="9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0">
                <a:extLst>
                  <a:ext uri="{FF2B5EF4-FFF2-40B4-BE49-F238E27FC236}">
                    <a16:creationId xmlns:a16="http://schemas.microsoft.com/office/drawing/2014/main" id="{B6CFF648-02D8-45B3-8FFC-79B45DB31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07454" y="9964440"/>
                <a:ext cx="280484" cy="184790"/>
              </a:xfrm>
              <a:custGeom>
                <a:avLst/>
                <a:gdLst>
                  <a:gd name="T0" fmla="*/ 340 w 375"/>
                  <a:gd name="T1" fmla="*/ 248 h 249"/>
                  <a:gd name="T2" fmla="*/ 340 w 375"/>
                  <a:gd name="T3" fmla="*/ 248 h 249"/>
                  <a:gd name="T4" fmla="*/ 323 w 375"/>
                  <a:gd name="T5" fmla="*/ 243 h 249"/>
                  <a:gd name="T6" fmla="*/ 21 w 375"/>
                  <a:gd name="T7" fmla="*/ 59 h 249"/>
                  <a:gd name="T8" fmla="*/ 4 w 375"/>
                  <a:gd name="T9" fmla="*/ 21 h 249"/>
                  <a:gd name="T10" fmla="*/ 42 w 375"/>
                  <a:gd name="T11" fmla="*/ 4 h 249"/>
                  <a:gd name="T12" fmla="*/ 361 w 375"/>
                  <a:gd name="T13" fmla="*/ 201 h 249"/>
                  <a:gd name="T14" fmla="*/ 361 w 375"/>
                  <a:gd name="T15" fmla="*/ 239 h 249"/>
                  <a:gd name="T16" fmla="*/ 340 w 375"/>
                  <a:gd name="T17" fmla="*/ 24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5" h="249">
                    <a:moveTo>
                      <a:pt x="340" y="248"/>
                    </a:moveTo>
                    <a:lnTo>
                      <a:pt x="340" y="248"/>
                    </a:lnTo>
                    <a:cubicBezTo>
                      <a:pt x="336" y="248"/>
                      <a:pt x="328" y="248"/>
                      <a:pt x="323" y="243"/>
                    </a:cubicBezTo>
                    <a:cubicBezTo>
                      <a:pt x="235" y="159"/>
                      <a:pt x="135" y="96"/>
                      <a:pt x="21" y="59"/>
                    </a:cubicBezTo>
                    <a:cubicBezTo>
                      <a:pt x="9" y="55"/>
                      <a:pt x="0" y="38"/>
                      <a:pt x="4" y="21"/>
                    </a:cubicBezTo>
                    <a:cubicBezTo>
                      <a:pt x="13" y="8"/>
                      <a:pt x="30" y="0"/>
                      <a:pt x="42" y="4"/>
                    </a:cubicBezTo>
                    <a:cubicBezTo>
                      <a:pt x="160" y="50"/>
                      <a:pt x="269" y="113"/>
                      <a:pt x="361" y="201"/>
                    </a:cubicBezTo>
                    <a:cubicBezTo>
                      <a:pt x="370" y="210"/>
                      <a:pt x="374" y="231"/>
                      <a:pt x="361" y="239"/>
                    </a:cubicBezTo>
                    <a:cubicBezTo>
                      <a:pt x="357" y="248"/>
                      <a:pt x="349" y="248"/>
                      <a:pt x="340" y="24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ADE092A5-D87C-4119-B913-A2A41C0192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4774" y="9928141"/>
                <a:ext cx="211189" cy="62698"/>
              </a:xfrm>
              <a:custGeom>
                <a:avLst/>
                <a:gdLst>
                  <a:gd name="T0" fmla="*/ 33 w 282"/>
                  <a:gd name="T1" fmla="*/ 84 h 85"/>
                  <a:gd name="T2" fmla="*/ 33 w 282"/>
                  <a:gd name="T3" fmla="*/ 84 h 85"/>
                  <a:gd name="T4" fmla="*/ 4 w 282"/>
                  <a:gd name="T5" fmla="*/ 62 h 85"/>
                  <a:gd name="T6" fmla="*/ 25 w 282"/>
                  <a:gd name="T7" fmla="*/ 29 h 85"/>
                  <a:gd name="T8" fmla="*/ 251 w 282"/>
                  <a:gd name="T9" fmla="*/ 0 h 85"/>
                  <a:gd name="T10" fmla="*/ 281 w 282"/>
                  <a:gd name="T11" fmla="*/ 29 h 85"/>
                  <a:gd name="T12" fmla="*/ 251 w 282"/>
                  <a:gd name="T13" fmla="*/ 58 h 85"/>
                  <a:gd name="T14" fmla="*/ 37 w 282"/>
                  <a:gd name="T15" fmla="*/ 84 h 85"/>
                  <a:gd name="T16" fmla="*/ 33 w 282"/>
                  <a:gd name="T17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2" h="85">
                    <a:moveTo>
                      <a:pt x="33" y="84"/>
                    </a:moveTo>
                    <a:lnTo>
                      <a:pt x="33" y="84"/>
                    </a:lnTo>
                    <a:cubicBezTo>
                      <a:pt x="21" y="84"/>
                      <a:pt x="8" y="75"/>
                      <a:pt x="4" y="62"/>
                    </a:cubicBezTo>
                    <a:cubicBezTo>
                      <a:pt x="0" y="46"/>
                      <a:pt x="8" y="33"/>
                      <a:pt x="25" y="29"/>
                    </a:cubicBezTo>
                    <a:cubicBezTo>
                      <a:pt x="100" y="8"/>
                      <a:pt x="176" y="0"/>
                      <a:pt x="251" y="0"/>
                    </a:cubicBezTo>
                    <a:cubicBezTo>
                      <a:pt x="268" y="0"/>
                      <a:pt x="281" y="12"/>
                      <a:pt x="281" y="29"/>
                    </a:cubicBezTo>
                    <a:cubicBezTo>
                      <a:pt x="281" y="46"/>
                      <a:pt x="268" y="58"/>
                      <a:pt x="251" y="58"/>
                    </a:cubicBezTo>
                    <a:cubicBezTo>
                      <a:pt x="180" y="58"/>
                      <a:pt x="109" y="67"/>
                      <a:pt x="37" y="84"/>
                    </a:cubicBezTo>
                    <a:lnTo>
                      <a:pt x="33" y="8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C8D57CD6-F5CB-4C37-83D3-5FE0062DE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007E2910-97F5-4A8B-898D-DD11C02E2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0437" y="6925299"/>
                <a:ext cx="1821504" cy="2983043"/>
              </a:xfrm>
              <a:custGeom>
                <a:avLst/>
                <a:gdLst>
                  <a:gd name="T0" fmla="*/ 2435 w 2436"/>
                  <a:gd name="T1" fmla="*/ 3986 h 3987"/>
                  <a:gd name="T2" fmla="*/ 0 w 2436"/>
                  <a:gd name="T3" fmla="*/ 3986 h 3987"/>
                  <a:gd name="T4" fmla="*/ 0 w 2436"/>
                  <a:gd name="T5" fmla="*/ 0 h 3987"/>
                  <a:gd name="T6" fmla="*/ 2435 w 2436"/>
                  <a:gd name="T7" fmla="*/ 0 h 3987"/>
                  <a:gd name="T8" fmla="*/ 2435 w 2436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6" h="3987">
                    <a:moveTo>
                      <a:pt x="2435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5" y="0"/>
                    </a:lnTo>
                    <a:lnTo>
                      <a:pt x="2435" y="3986"/>
                    </a:lnTo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DDDAA4DD-0676-472A-95E3-0E561CF0B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20">
                <a:extLst>
                  <a:ext uri="{FF2B5EF4-FFF2-40B4-BE49-F238E27FC236}">
                    <a16:creationId xmlns:a16="http://schemas.microsoft.com/office/drawing/2014/main" id="{D2DC0E9C-0E2A-47A5-9946-37DE9BD93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133" y="6984695"/>
                <a:ext cx="1666412" cy="2811452"/>
              </a:xfrm>
              <a:custGeom>
                <a:avLst/>
                <a:gdLst>
                  <a:gd name="T0" fmla="*/ 2225 w 2226"/>
                  <a:gd name="T1" fmla="*/ 3755 h 3756"/>
                  <a:gd name="T2" fmla="*/ 0 w 2226"/>
                  <a:gd name="T3" fmla="*/ 3755 h 3756"/>
                  <a:gd name="T4" fmla="*/ 0 w 2226"/>
                  <a:gd name="T5" fmla="*/ 0 h 3756"/>
                  <a:gd name="T6" fmla="*/ 2225 w 2226"/>
                  <a:gd name="T7" fmla="*/ 0 h 3756"/>
                  <a:gd name="T8" fmla="*/ 2225 w 2226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6" h="3756">
                    <a:moveTo>
                      <a:pt x="2225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5" y="0"/>
                    </a:lnTo>
                    <a:lnTo>
                      <a:pt x="2225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30">
                <a:extLst>
                  <a:ext uri="{FF2B5EF4-FFF2-40B4-BE49-F238E27FC236}">
                    <a16:creationId xmlns:a16="http://schemas.microsoft.com/office/drawing/2014/main" id="{6788074C-9DD8-4028-9D93-11050176F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67002" y="8380523"/>
                <a:ext cx="527972" cy="102294"/>
              </a:xfrm>
              <a:custGeom>
                <a:avLst/>
                <a:gdLst>
                  <a:gd name="T0" fmla="*/ 638 w 706"/>
                  <a:gd name="T1" fmla="*/ 135 h 136"/>
                  <a:gd name="T2" fmla="*/ 638 w 706"/>
                  <a:gd name="T3" fmla="*/ 135 h 136"/>
                  <a:gd name="T4" fmla="*/ 67 w 706"/>
                  <a:gd name="T5" fmla="*/ 135 h 136"/>
                  <a:gd name="T6" fmla="*/ 0 w 706"/>
                  <a:gd name="T7" fmla="*/ 67 h 136"/>
                  <a:gd name="T8" fmla="*/ 67 w 706"/>
                  <a:gd name="T9" fmla="*/ 0 h 136"/>
                  <a:gd name="T10" fmla="*/ 638 w 706"/>
                  <a:gd name="T11" fmla="*/ 0 h 136"/>
                  <a:gd name="T12" fmla="*/ 705 w 706"/>
                  <a:gd name="T13" fmla="*/ 67 h 136"/>
                  <a:gd name="T14" fmla="*/ 638 w 706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36">
                    <a:moveTo>
                      <a:pt x="638" y="135"/>
                    </a:moveTo>
                    <a:lnTo>
                      <a:pt x="638" y="135"/>
                    </a:lnTo>
                    <a:cubicBezTo>
                      <a:pt x="67" y="135"/>
                      <a:pt x="67" y="135"/>
                      <a:pt x="67" y="135"/>
                    </a:cubicBezTo>
                    <a:cubicBezTo>
                      <a:pt x="29" y="135"/>
                      <a:pt x="0" y="105"/>
                      <a:pt x="0" y="67"/>
                    </a:cubicBezTo>
                    <a:cubicBezTo>
                      <a:pt x="0" y="30"/>
                      <a:pt x="29" y="0"/>
                      <a:pt x="67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76" y="0"/>
                      <a:pt x="705" y="30"/>
                      <a:pt x="705" y="67"/>
                    </a:cubicBezTo>
                    <a:cubicBezTo>
                      <a:pt x="705" y="105"/>
                      <a:pt x="676" y="135"/>
                      <a:pt x="638" y="135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31">
                <a:extLst>
                  <a:ext uri="{FF2B5EF4-FFF2-40B4-BE49-F238E27FC236}">
                    <a16:creationId xmlns:a16="http://schemas.microsoft.com/office/drawing/2014/main" id="{9D2E3191-1B36-4CE0-8C97-1FBA74566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7806" y="8535614"/>
                <a:ext cx="686364" cy="98995"/>
              </a:xfrm>
              <a:custGeom>
                <a:avLst/>
                <a:gdLst>
                  <a:gd name="T0" fmla="*/ 848 w 916"/>
                  <a:gd name="T1" fmla="*/ 130 h 131"/>
                  <a:gd name="T2" fmla="*/ 848 w 916"/>
                  <a:gd name="T3" fmla="*/ 130 h 131"/>
                  <a:gd name="T4" fmla="*/ 67 w 916"/>
                  <a:gd name="T5" fmla="*/ 130 h 131"/>
                  <a:gd name="T6" fmla="*/ 0 w 916"/>
                  <a:gd name="T7" fmla="*/ 63 h 131"/>
                  <a:gd name="T8" fmla="*/ 67 w 916"/>
                  <a:gd name="T9" fmla="*/ 0 h 131"/>
                  <a:gd name="T10" fmla="*/ 848 w 916"/>
                  <a:gd name="T11" fmla="*/ 0 h 131"/>
                  <a:gd name="T12" fmla="*/ 915 w 916"/>
                  <a:gd name="T13" fmla="*/ 63 h 131"/>
                  <a:gd name="T14" fmla="*/ 848 w 916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6" h="131">
                    <a:moveTo>
                      <a:pt x="848" y="130"/>
                    </a:moveTo>
                    <a:lnTo>
                      <a:pt x="848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34" y="130"/>
                      <a:pt x="0" y="101"/>
                      <a:pt x="0" y="63"/>
                    </a:cubicBezTo>
                    <a:cubicBezTo>
                      <a:pt x="0" y="29"/>
                      <a:pt x="34" y="0"/>
                      <a:pt x="67" y="0"/>
                    </a:cubicBezTo>
                    <a:cubicBezTo>
                      <a:pt x="848" y="0"/>
                      <a:pt x="848" y="0"/>
                      <a:pt x="848" y="0"/>
                    </a:cubicBezTo>
                    <a:cubicBezTo>
                      <a:pt x="886" y="0"/>
                      <a:pt x="915" y="29"/>
                      <a:pt x="915" y="63"/>
                    </a:cubicBezTo>
                    <a:cubicBezTo>
                      <a:pt x="915" y="101"/>
                      <a:pt x="886" y="130"/>
                      <a:pt x="848" y="130"/>
                    </a:cubicBezTo>
                  </a:path>
                </a:pathLst>
              </a:custGeom>
              <a:solidFill>
                <a:srgbClr val="27ABB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32">
                <a:extLst>
                  <a:ext uri="{FF2B5EF4-FFF2-40B4-BE49-F238E27FC236}">
                    <a16:creationId xmlns:a16="http://schemas.microsoft.com/office/drawing/2014/main" id="{592CB027-02E1-4013-AADD-3C703F4B3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126284"/>
                <a:ext cx="1478322" cy="56096"/>
              </a:xfrm>
              <a:custGeom>
                <a:avLst/>
                <a:gdLst>
                  <a:gd name="T0" fmla="*/ 1935 w 1974"/>
                  <a:gd name="T1" fmla="*/ 76 h 77"/>
                  <a:gd name="T2" fmla="*/ 1935 w 1974"/>
                  <a:gd name="T3" fmla="*/ 76 h 77"/>
                  <a:gd name="T4" fmla="*/ 38 w 1974"/>
                  <a:gd name="T5" fmla="*/ 76 h 77"/>
                  <a:gd name="T6" fmla="*/ 0 w 1974"/>
                  <a:gd name="T7" fmla="*/ 38 h 77"/>
                  <a:gd name="T8" fmla="*/ 38 w 1974"/>
                  <a:gd name="T9" fmla="*/ 0 h 77"/>
                  <a:gd name="T10" fmla="*/ 1935 w 1974"/>
                  <a:gd name="T11" fmla="*/ 0 h 77"/>
                  <a:gd name="T12" fmla="*/ 1973 w 1974"/>
                  <a:gd name="T13" fmla="*/ 38 h 77"/>
                  <a:gd name="T14" fmla="*/ 1935 w 1974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7">
                    <a:moveTo>
                      <a:pt x="1935" y="76"/>
                    </a:moveTo>
                    <a:lnTo>
                      <a:pt x="1935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6"/>
                      <a:pt x="1935" y="76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33">
                <a:extLst>
                  <a:ext uri="{FF2B5EF4-FFF2-40B4-BE49-F238E27FC236}">
                    <a16:creationId xmlns:a16="http://schemas.microsoft.com/office/drawing/2014/main" id="{6FCA369E-1AE2-4E29-8CA6-DB116AC36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258277"/>
                <a:ext cx="1478322" cy="59397"/>
              </a:xfrm>
              <a:custGeom>
                <a:avLst/>
                <a:gdLst>
                  <a:gd name="T0" fmla="*/ 1935 w 1974"/>
                  <a:gd name="T1" fmla="*/ 79 h 80"/>
                  <a:gd name="T2" fmla="*/ 1935 w 1974"/>
                  <a:gd name="T3" fmla="*/ 79 h 80"/>
                  <a:gd name="T4" fmla="*/ 38 w 1974"/>
                  <a:gd name="T5" fmla="*/ 79 h 80"/>
                  <a:gd name="T6" fmla="*/ 0 w 1974"/>
                  <a:gd name="T7" fmla="*/ 41 h 80"/>
                  <a:gd name="T8" fmla="*/ 38 w 1974"/>
                  <a:gd name="T9" fmla="*/ 0 h 80"/>
                  <a:gd name="T10" fmla="*/ 1935 w 1974"/>
                  <a:gd name="T11" fmla="*/ 0 h 80"/>
                  <a:gd name="T12" fmla="*/ 1973 w 1974"/>
                  <a:gd name="T13" fmla="*/ 41 h 80"/>
                  <a:gd name="T14" fmla="*/ 1935 w 1974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80">
                    <a:moveTo>
                      <a:pt x="1935" y="79"/>
                    </a:moveTo>
                    <a:lnTo>
                      <a:pt x="1935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41"/>
                    </a:cubicBezTo>
                    <a:cubicBezTo>
                      <a:pt x="1973" y="62"/>
                      <a:pt x="1956" y="79"/>
                      <a:pt x="1935" y="79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34">
                <a:extLst>
                  <a:ext uri="{FF2B5EF4-FFF2-40B4-BE49-F238E27FC236}">
                    <a16:creationId xmlns:a16="http://schemas.microsoft.com/office/drawing/2014/main" id="{CD3702DE-ED62-4D65-9E44-30B4BF872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827" y="9390270"/>
                <a:ext cx="1478322" cy="56096"/>
              </a:xfrm>
              <a:custGeom>
                <a:avLst/>
                <a:gdLst>
                  <a:gd name="T0" fmla="*/ 1935 w 1974"/>
                  <a:gd name="T1" fmla="*/ 75 h 76"/>
                  <a:gd name="T2" fmla="*/ 1935 w 1974"/>
                  <a:gd name="T3" fmla="*/ 75 h 76"/>
                  <a:gd name="T4" fmla="*/ 38 w 1974"/>
                  <a:gd name="T5" fmla="*/ 75 h 76"/>
                  <a:gd name="T6" fmla="*/ 0 w 1974"/>
                  <a:gd name="T7" fmla="*/ 38 h 76"/>
                  <a:gd name="T8" fmla="*/ 38 w 1974"/>
                  <a:gd name="T9" fmla="*/ 0 h 76"/>
                  <a:gd name="T10" fmla="*/ 1935 w 1974"/>
                  <a:gd name="T11" fmla="*/ 0 h 76"/>
                  <a:gd name="T12" fmla="*/ 1973 w 1974"/>
                  <a:gd name="T13" fmla="*/ 38 h 76"/>
                  <a:gd name="T14" fmla="*/ 1935 w 1974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4" h="76">
                    <a:moveTo>
                      <a:pt x="1935" y="75"/>
                    </a:moveTo>
                    <a:lnTo>
                      <a:pt x="1935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56" y="0"/>
                      <a:pt x="1973" y="17"/>
                      <a:pt x="1973" y="38"/>
                    </a:cubicBezTo>
                    <a:cubicBezTo>
                      <a:pt x="1973" y="59"/>
                      <a:pt x="1956" y="75"/>
                      <a:pt x="1935" y="75"/>
                    </a:cubicBez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35">
                <a:extLst>
                  <a:ext uri="{FF2B5EF4-FFF2-40B4-BE49-F238E27FC236}">
                    <a16:creationId xmlns:a16="http://schemas.microsoft.com/office/drawing/2014/main" id="{915276B6-E334-4B51-AF64-2FA1E91F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6719" y="7103489"/>
                <a:ext cx="1125240" cy="1046046"/>
              </a:xfrm>
              <a:custGeom>
                <a:avLst/>
                <a:gdLst>
                  <a:gd name="T0" fmla="*/ 1436 w 1504"/>
                  <a:gd name="T1" fmla="*/ 1398 h 1399"/>
                  <a:gd name="T2" fmla="*/ 1436 w 1504"/>
                  <a:gd name="T3" fmla="*/ 1398 h 1399"/>
                  <a:gd name="T4" fmla="*/ 67 w 1504"/>
                  <a:gd name="T5" fmla="*/ 1398 h 1399"/>
                  <a:gd name="T6" fmla="*/ 0 w 1504"/>
                  <a:gd name="T7" fmla="*/ 1326 h 1399"/>
                  <a:gd name="T8" fmla="*/ 0 w 1504"/>
                  <a:gd name="T9" fmla="*/ 67 h 1399"/>
                  <a:gd name="T10" fmla="*/ 67 w 1504"/>
                  <a:gd name="T11" fmla="*/ 0 h 1399"/>
                  <a:gd name="T12" fmla="*/ 1436 w 1504"/>
                  <a:gd name="T13" fmla="*/ 0 h 1399"/>
                  <a:gd name="T14" fmla="*/ 1503 w 1504"/>
                  <a:gd name="T15" fmla="*/ 67 h 1399"/>
                  <a:gd name="T16" fmla="*/ 1503 w 1504"/>
                  <a:gd name="T17" fmla="*/ 1326 h 1399"/>
                  <a:gd name="T18" fmla="*/ 1436 w 1504"/>
                  <a:gd name="T19" fmla="*/ 1398 h 1399"/>
                  <a:gd name="T20" fmla="*/ 67 w 1504"/>
                  <a:gd name="T21" fmla="*/ 55 h 1399"/>
                  <a:gd name="T22" fmla="*/ 67 w 1504"/>
                  <a:gd name="T23" fmla="*/ 55 h 1399"/>
                  <a:gd name="T24" fmla="*/ 55 w 1504"/>
                  <a:gd name="T25" fmla="*/ 67 h 1399"/>
                  <a:gd name="T26" fmla="*/ 55 w 1504"/>
                  <a:gd name="T27" fmla="*/ 1326 h 1399"/>
                  <a:gd name="T28" fmla="*/ 67 w 1504"/>
                  <a:gd name="T29" fmla="*/ 1339 h 1399"/>
                  <a:gd name="T30" fmla="*/ 1436 w 1504"/>
                  <a:gd name="T31" fmla="*/ 1339 h 1399"/>
                  <a:gd name="T32" fmla="*/ 1448 w 1504"/>
                  <a:gd name="T33" fmla="*/ 1326 h 1399"/>
                  <a:gd name="T34" fmla="*/ 1448 w 1504"/>
                  <a:gd name="T35" fmla="*/ 67 h 1399"/>
                  <a:gd name="T36" fmla="*/ 1436 w 1504"/>
                  <a:gd name="T37" fmla="*/ 55 h 1399"/>
                  <a:gd name="T38" fmla="*/ 67 w 1504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4" h="1399">
                    <a:moveTo>
                      <a:pt x="1436" y="1398"/>
                    </a:moveTo>
                    <a:lnTo>
                      <a:pt x="1436" y="1398"/>
                    </a:lnTo>
                    <a:cubicBezTo>
                      <a:pt x="67" y="1398"/>
                      <a:pt x="67" y="1398"/>
                      <a:pt x="67" y="1398"/>
                    </a:cubicBezTo>
                    <a:cubicBezTo>
                      <a:pt x="30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0" y="0"/>
                      <a:pt x="67" y="0"/>
                    </a:cubicBezTo>
                    <a:cubicBezTo>
                      <a:pt x="1436" y="0"/>
                      <a:pt x="1436" y="0"/>
                      <a:pt x="1436" y="0"/>
                    </a:cubicBezTo>
                    <a:cubicBezTo>
                      <a:pt x="1474" y="0"/>
                      <a:pt x="1503" y="29"/>
                      <a:pt x="1503" y="67"/>
                    </a:cubicBezTo>
                    <a:cubicBezTo>
                      <a:pt x="1503" y="1326"/>
                      <a:pt x="1503" y="1326"/>
                      <a:pt x="1503" y="1326"/>
                    </a:cubicBezTo>
                    <a:cubicBezTo>
                      <a:pt x="1503" y="1364"/>
                      <a:pt x="1474" y="1398"/>
                      <a:pt x="1436" y="1398"/>
                    </a:cubicBezTo>
                    <a:close/>
                    <a:moveTo>
                      <a:pt x="67" y="55"/>
                    </a:moveTo>
                    <a:lnTo>
                      <a:pt x="67" y="55"/>
                    </a:lnTo>
                    <a:cubicBezTo>
                      <a:pt x="63" y="55"/>
                      <a:pt x="55" y="63"/>
                      <a:pt x="55" y="67"/>
                    </a:cubicBezTo>
                    <a:cubicBezTo>
                      <a:pt x="55" y="1326"/>
                      <a:pt x="55" y="1326"/>
                      <a:pt x="55" y="1326"/>
                    </a:cubicBezTo>
                    <a:cubicBezTo>
                      <a:pt x="55" y="1335"/>
                      <a:pt x="63" y="1339"/>
                      <a:pt x="67" y="1339"/>
                    </a:cubicBezTo>
                    <a:cubicBezTo>
                      <a:pt x="1436" y="1339"/>
                      <a:pt x="1436" y="1339"/>
                      <a:pt x="1436" y="1339"/>
                    </a:cubicBezTo>
                    <a:cubicBezTo>
                      <a:pt x="1444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4" y="55"/>
                      <a:pt x="1436" y="55"/>
                    </a:cubicBezTo>
                    <a:lnTo>
                      <a:pt x="67" y="55"/>
                    </a:lnTo>
                    <a:close/>
                  </a:path>
                </a:pathLst>
              </a:custGeom>
              <a:solidFill>
                <a:srgbClr val="27ABB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36">
                <a:extLst>
                  <a:ext uri="{FF2B5EF4-FFF2-40B4-BE49-F238E27FC236}">
                    <a16:creationId xmlns:a16="http://schemas.microsoft.com/office/drawing/2014/main" id="{8CAACD89-D44E-4BB1-9C41-D7E4B0B14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231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37">
                <a:extLst>
                  <a:ext uri="{FF2B5EF4-FFF2-40B4-BE49-F238E27FC236}">
                    <a16:creationId xmlns:a16="http://schemas.microsoft.com/office/drawing/2014/main" id="{8F46D060-EF6B-4377-BDE1-11857968C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3200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38">
                <a:extLst>
                  <a:ext uri="{FF2B5EF4-FFF2-40B4-BE49-F238E27FC236}">
                    <a16:creationId xmlns:a16="http://schemas.microsoft.com/office/drawing/2014/main" id="{8559B822-5785-44EF-B212-FF0C8344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4088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1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1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39">
                <a:extLst>
                  <a:ext uri="{FF2B5EF4-FFF2-40B4-BE49-F238E27FC236}">
                    <a16:creationId xmlns:a16="http://schemas.microsoft.com/office/drawing/2014/main" id="{0702660E-4A5C-4183-BE6D-705B3E8ED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1574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3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3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27ABB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40">
                <a:extLst>
                  <a:ext uri="{FF2B5EF4-FFF2-40B4-BE49-F238E27FC236}">
                    <a16:creationId xmlns:a16="http://schemas.microsoft.com/office/drawing/2014/main" id="{DF9BE2B5-4B24-4C8E-BA49-9DFF76615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41">
                <a:extLst>
                  <a:ext uri="{FF2B5EF4-FFF2-40B4-BE49-F238E27FC236}">
                    <a16:creationId xmlns:a16="http://schemas.microsoft.com/office/drawing/2014/main" id="{17F3F2DC-F42E-40C3-B8D9-B59A1C552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25299"/>
                <a:ext cx="1821504" cy="2983043"/>
              </a:xfrm>
              <a:custGeom>
                <a:avLst/>
                <a:gdLst>
                  <a:gd name="T0" fmla="*/ 2434 w 2435"/>
                  <a:gd name="T1" fmla="*/ 3986 h 3987"/>
                  <a:gd name="T2" fmla="*/ 0 w 2435"/>
                  <a:gd name="T3" fmla="*/ 3986 h 3987"/>
                  <a:gd name="T4" fmla="*/ 0 w 2435"/>
                  <a:gd name="T5" fmla="*/ 0 h 3987"/>
                  <a:gd name="T6" fmla="*/ 2434 w 2435"/>
                  <a:gd name="T7" fmla="*/ 0 h 3987"/>
                  <a:gd name="T8" fmla="*/ 2434 w 2435"/>
                  <a:gd name="T9" fmla="*/ 3986 h 3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5" h="3987">
                    <a:moveTo>
                      <a:pt x="2434" y="3986"/>
                    </a:moveTo>
                    <a:lnTo>
                      <a:pt x="0" y="3986"/>
                    </a:lnTo>
                    <a:lnTo>
                      <a:pt x="0" y="0"/>
                    </a:lnTo>
                    <a:lnTo>
                      <a:pt x="2434" y="0"/>
                    </a:lnTo>
                    <a:lnTo>
                      <a:pt x="2434" y="3986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42">
                <a:extLst>
                  <a:ext uri="{FF2B5EF4-FFF2-40B4-BE49-F238E27FC236}">
                    <a16:creationId xmlns:a16="http://schemas.microsoft.com/office/drawing/2014/main" id="{EE3E5A20-EA56-4413-B195-5C8B83CDB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43">
                <a:extLst>
                  <a:ext uri="{FF2B5EF4-FFF2-40B4-BE49-F238E27FC236}">
                    <a16:creationId xmlns:a16="http://schemas.microsoft.com/office/drawing/2014/main" id="{6F54DF74-552A-4EF8-B070-620DB0A5D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1666412" cy="2811452"/>
              </a:xfrm>
              <a:custGeom>
                <a:avLst/>
                <a:gdLst>
                  <a:gd name="T0" fmla="*/ 2224 w 2225"/>
                  <a:gd name="T1" fmla="*/ 3755 h 3756"/>
                  <a:gd name="T2" fmla="*/ 0 w 2225"/>
                  <a:gd name="T3" fmla="*/ 3755 h 3756"/>
                  <a:gd name="T4" fmla="*/ 0 w 2225"/>
                  <a:gd name="T5" fmla="*/ 0 h 3756"/>
                  <a:gd name="T6" fmla="*/ 2224 w 2225"/>
                  <a:gd name="T7" fmla="*/ 0 h 3756"/>
                  <a:gd name="T8" fmla="*/ 2224 w 2225"/>
                  <a:gd name="T9" fmla="*/ 3755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5" h="3756">
                    <a:moveTo>
                      <a:pt x="2224" y="3755"/>
                    </a:moveTo>
                    <a:lnTo>
                      <a:pt x="0" y="3755"/>
                    </a:lnTo>
                    <a:lnTo>
                      <a:pt x="0" y="0"/>
                    </a:lnTo>
                    <a:lnTo>
                      <a:pt x="2224" y="0"/>
                    </a:lnTo>
                    <a:lnTo>
                      <a:pt x="2224" y="3755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1">
                <a:extLst>
                  <a:ext uri="{FF2B5EF4-FFF2-40B4-BE49-F238E27FC236}">
                    <a16:creationId xmlns:a16="http://schemas.microsoft.com/office/drawing/2014/main" id="{E89C6703-BDE2-49A0-8910-228512842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5789" y="8380523"/>
                <a:ext cx="524674" cy="102294"/>
              </a:xfrm>
              <a:custGeom>
                <a:avLst/>
                <a:gdLst>
                  <a:gd name="T0" fmla="*/ 634 w 702"/>
                  <a:gd name="T1" fmla="*/ 135 h 136"/>
                  <a:gd name="T2" fmla="*/ 634 w 702"/>
                  <a:gd name="T3" fmla="*/ 135 h 136"/>
                  <a:gd name="T4" fmla="*/ 63 w 702"/>
                  <a:gd name="T5" fmla="*/ 135 h 136"/>
                  <a:gd name="T6" fmla="*/ 0 w 702"/>
                  <a:gd name="T7" fmla="*/ 67 h 136"/>
                  <a:gd name="T8" fmla="*/ 63 w 702"/>
                  <a:gd name="T9" fmla="*/ 0 h 136"/>
                  <a:gd name="T10" fmla="*/ 634 w 702"/>
                  <a:gd name="T11" fmla="*/ 0 h 136"/>
                  <a:gd name="T12" fmla="*/ 701 w 702"/>
                  <a:gd name="T13" fmla="*/ 67 h 136"/>
                  <a:gd name="T14" fmla="*/ 634 w 702"/>
                  <a:gd name="T15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2" h="136">
                    <a:moveTo>
                      <a:pt x="634" y="135"/>
                    </a:moveTo>
                    <a:lnTo>
                      <a:pt x="634" y="135"/>
                    </a:lnTo>
                    <a:cubicBezTo>
                      <a:pt x="63" y="135"/>
                      <a:pt x="63" y="135"/>
                      <a:pt x="63" y="135"/>
                    </a:cubicBezTo>
                    <a:cubicBezTo>
                      <a:pt x="30" y="135"/>
                      <a:pt x="0" y="105"/>
                      <a:pt x="0" y="67"/>
                    </a:cubicBezTo>
                    <a:cubicBezTo>
                      <a:pt x="0" y="30"/>
                      <a:pt x="30" y="0"/>
                      <a:pt x="63" y="0"/>
                    </a:cubicBezTo>
                    <a:cubicBezTo>
                      <a:pt x="634" y="0"/>
                      <a:pt x="634" y="0"/>
                      <a:pt x="634" y="0"/>
                    </a:cubicBezTo>
                    <a:cubicBezTo>
                      <a:pt x="672" y="0"/>
                      <a:pt x="701" y="30"/>
                      <a:pt x="701" y="67"/>
                    </a:cubicBezTo>
                    <a:cubicBezTo>
                      <a:pt x="701" y="105"/>
                      <a:pt x="672" y="135"/>
                      <a:pt x="634" y="135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2">
                <a:extLst>
                  <a:ext uri="{FF2B5EF4-FFF2-40B4-BE49-F238E27FC236}">
                    <a16:creationId xmlns:a16="http://schemas.microsoft.com/office/drawing/2014/main" id="{09315DAA-B72E-4416-B512-5F5CE2AB4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9894" y="8535614"/>
                <a:ext cx="683063" cy="98995"/>
              </a:xfrm>
              <a:custGeom>
                <a:avLst/>
                <a:gdLst>
                  <a:gd name="T0" fmla="*/ 843 w 911"/>
                  <a:gd name="T1" fmla="*/ 130 h 131"/>
                  <a:gd name="T2" fmla="*/ 843 w 911"/>
                  <a:gd name="T3" fmla="*/ 130 h 131"/>
                  <a:gd name="T4" fmla="*/ 67 w 911"/>
                  <a:gd name="T5" fmla="*/ 130 h 131"/>
                  <a:gd name="T6" fmla="*/ 0 w 911"/>
                  <a:gd name="T7" fmla="*/ 63 h 131"/>
                  <a:gd name="T8" fmla="*/ 67 w 911"/>
                  <a:gd name="T9" fmla="*/ 0 h 131"/>
                  <a:gd name="T10" fmla="*/ 843 w 911"/>
                  <a:gd name="T11" fmla="*/ 0 h 131"/>
                  <a:gd name="T12" fmla="*/ 910 w 911"/>
                  <a:gd name="T13" fmla="*/ 63 h 131"/>
                  <a:gd name="T14" fmla="*/ 843 w 911"/>
                  <a:gd name="T15" fmla="*/ 13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1" h="131">
                    <a:moveTo>
                      <a:pt x="843" y="130"/>
                    </a:moveTo>
                    <a:lnTo>
                      <a:pt x="843" y="130"/>
                    </a:lnTo>
                    <a:cubicBezTo>
                      <a:pt x="67" y="130"/>
                      <a:pt x="67" y="130"/>
                      <a:pt x="67" y="130"/>
                    </a:cubicBezTo>
                    <a:cubicBezTo>
                      <a:pt x="29" y="130"/>
                      <a:pt x="0" y="101"/>
                      <a:pt x="0" y="63"/>
                    </a:cubicBezTo>
                    <a:cubicBezTo>
                      <a:pt x="0" y="29"/>
                      <a:pt x="29" y="0"/>
                      <a:pt x="67" y="0"/>
                    </a:cubicBezTo>
                    <a:cubicBezTo>
                      <a:pt x="843" y="0"/>
                      <a:pt x="843" y="0"/>
                      <a:pt x="843" y="0"/>
                    </a:cubicBezTo>
                    <a:cubicBezTo>
                      <a:pt x="881" y="0"/>
                      <a:pt x="910" y="29"/>
                      <a:pt x="910" y="63"/>
                    </a:cubicBezTo>
                    <a:cubicBezTo>
                      <a:pt x="910" y="101"/>
                      <a:pt x="881" y="130"/>
                      <a:pt x="843" y="130"/>
                    </a:cubicBezTo>
                  </a:path>
                </a:pathLst>
              </a:custGeom>
              <a:solidFill>
                <a:srgbClr val="FF8E58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53">
                <a:extLst>
                  <a:ext uri="{FF2B5EF4-FFF2-40B4-BE49-F238E27FC236}">
                    <a16:creationId xmlns:a16="http://schemas.microsoft.com/office/drawing/2014/main" id="{874DD87A-34A1-42D4-8815-BB8254172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1478322" cy="56096"/>
              </a:xfrm>
              <a:custGeom>
                <a:avLst/>
                <a:gdLst>
                  <a:gd name="T0" fmla="*/ 1939 w 1977"/>
                  <a:gd name="T1" fmla="*/ 76 h 77"/>
                  <a:gd name="T2" fmla="*/ 1939 w 1977"/>
                  <a:gd name="T3" fmla="*/ 76 h 77"/>
                  <a:gd name="T4" fmla="*/ 38 w 1977"/>
                  <a:gd name="T5" fmla="*/ 76 h 77"/>
                  <a:gd name="T6" fmla="*/ 0 w 1977"/>
                  <a:gd name="T7" fmla="*/ 38 h 77"/>
                  <a:gd name="T8" fmla="*/ 38 w 1977"/>
                  <a:gd name="T9" fmla="*/ 0 h 77"/>
                  <a:gd name="T10" fmla="*/ 1939 w 1977"/>
                  <a:gd name="T11" fmla="*/ 0 h 77"/>
                  <a:gd name="T12" fmla="*/ 1976 w 1977"/>
                  <a:gd name="T13" fmla="*/ 38 h 77"/>
                  <a:gd name="T14" fmla="*/ 1939 w 1977"/>
                  <a:gd name="T1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7">
                    <a:moveTo>
                      <a:pt x="1939" y="76"/>
                    </a:moveTo>
                    <a:lnTo>
                      <a:pt x="1939" y="76"/>
                    </a:lnTo>
                    <a:cubicBezTo>
                      <a:pt x="38" y="76"/>
                      <a:pt x="38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6"/>
                      <a:pt x="1939" y="76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4">
                <a:extLst>
                  <a:ext uri="{FF2B5EF4-FFF2-40B4-BE49-F238E27FC236}">
                    <a16:creationId xmlns:a16="http://schemas.microsoft.com/office/drawing/2014/main" id="{C09087F6-8530-4B39-B278-CB507A6B3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1478322" cy="59397"/>
              </a:xfrm>
              <a:custGeom>
                <a:avLst/>
                <a:gdLst>
                  <a:gd name="T0" fmla="*/ 1939 w 1977"/>
                  <a:gd name="T1" fmla="*/ 79 h 80"/>
                  <a:gd name="T2" fmla="*/ 1939 w 1977"/>
                  <a:gd name="T3" fmla="*/ 79 h 80"/>
                  <a:gd name="T4" fmla="*/ 38 w 1977"/>
                  <a:gd name="T5" fmla="*/ 79 h 80"/>
                  <a:gd name="T6" fmla="*/ 0 w 1977"/>
                  <a:gd name="T7" fmla="*/ 41 h 80"/>
                  <a:gd name="T8" fmla="*/ 38 w 1977"/>
                  <a:gd name="T9" fmla="*/ 0 h 80"/>
                  <a:gd name="T10" fmla="*/ 1939 w 1977"/>
                  <a:gd name="T11" fmla="*/ 0 h 80"/>
                  <a:gd name="T12" fmla="*/ 1976 w 1977"/>
                  <a:gd name="T13" fmla="*/ 41 h 80"/>
                  <a:gd name="T14" fmla="*/ 1939 w 1977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80">
                    <a:moveTo>
                      <a:pt x="1939" y="79"/>
                    </a:moveTo>
                    <a:lnTo>
                      <a:pt x="1939" y="79"/>
                    </a:lnTo>
                    <a:cubicBezTo>
                      <a:pt x="38" y="79"/>
                      <a:pt x="38" y="79"/>
                      <a:pt x="38" y="79"/>
                    </a:cubicBezTo>
                    <a:cubicBezTo>
                      <a:pt x="17" y="79"/>
                      <a:pt x="0" y="62"/>
                      <a:pt x="0" y="41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41"/>
                    </a:cubicBezTo>
                    <a:cubicBezTo>
                      <a:pt x="1976" y="62"/>
                      <a:pt x="1960" y="79"/>
                      <a:pt x="1939" y="79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5">
                <a:extLst>
                  <a:ext uri="{FF2B5EF4-FFF2-40B4-BE49-F238E27FC236}">
                    <a16:creationId xmlns:a16="http://schemas.microsoft.com/office/drawing/2014/main" id="{2F4A354F-5EC6-4A74-A861-1FA94EE28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1478322" cy="56096"/>
              </a:xfrm>
              <a:custGeom>
                <a:avLst/>
                <a:gdLst>
                  <a:gd name="T0" fmla="*/ 1939 w 1977"/>
                  <a:gd name="T1" fmla="*/ 75 h 76"/>
                  <a:gd name="T2" fmla="*/ 1939 w 1977"/>
                  <a:gd name="T3" fmla="*/ 75 h 76"/>
                  <a:gd name="T4" fmla="*/ 38 w 1977"/>
                  <a:gd name="T5" fmla="*/ 75 h 76"/>
                  <a:gd name="T6" fmla="*/ 0 w 1977"/>
                  <a:gd name="T7" fmla="*/ 38 h 76"/>
                  <a:gd name="T8" fmla="*/ 38 w 1977"/>
                  <a:gd name="T9" fmla="*/ 0 h 76"/>
                  <a:gd name="T10" fmla="*/ 1939 w 1977"/>
                  <a:gd name="T11" fmla="*/ 0 h 76"/>
                  <a:gd name="T12" fmla="*/ 1976 w 1977"/>
                  <a:gd name="T13" fmla="*/ 38 h 76"/>
                  <a:gd name="T14" fmla="*/ 1939 w 1977"/>
                  <a:gd name="T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7" h="76">
                    <a:moveTo>
                      <a:pt x="1939" y="75"/>
                    </a:moveTo>
                    <a:lnTo>
                      <a:pt x="1939" y="75"/>
                    </a:lnTo>
                    <a:cubicBezTo>
                      <a:pt x="38" y="75"/>
                      <a:pt x="38" y="75"/>
                      <a:pt x="38" y="75"/>
                    </a:cubicBezTo>
                    <a:cubicBezTo>
                      <a:pt x="17" y="75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1939" y="0"/>
                      <a:pt x="1939" y="0"/>
                      <a:pt x="1939" y="0"/>
                    </a:cubicBezTo>
                    <a:cubicBezTo>
                      <a:pt x="1960" y="0"/>
                      <a:pt x="1976" y="17"/>
                      <a:pt x="1976" y="38"/>
                    </a:cubicBezTo>
                    <a:cubicBezTo>
                      <a:pt x="1976" y="59"/>
                      <a:pt x="1960" y="75"/>
                      <a:pt x="1939" y="75"/>
                    </a:cubicBez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56">
                <a:extLst>
                  <a:ext uri="{FF2B5EF4-FFF2-40B4-BE49-F238E27FC236}">
                    <a16:creationId xmlns:a16="http://schemas.microsoft.com/office/drawing/2014/main" id="{A5A53D4E-FAC2-4F93-8DCE-8972F6E50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5506" y="7103489"/>
                <a:ext cx="1128541" cy="1046046"/>
              </a:xfrm>
              <a:custGeom>
                <a:avLst/>
                <a:gdLst>
                  <a:gd name="T0" fmla="*/ 1435 w 1507"/>
                  <a:gd name="T1" fmla="*/ 1398 h 1399"/>
                  <a:gd name="T2" fmla="*/ 1435 w 1507"/>
                  <a:gd name="T3" fmla="*/ 1398 h 1399"/>
                  <a:gd name="T4" fmla="*/ 72 w 1507"/>
                  <a:gd name="T5" fmla="*/ 1398 h 1399"/>
                  <a:gd name="T6" fmla="*/ 0 w 1507"/>
                  <a:gd name="T7" fmla="*/ 1326 h 1399"/>
                  <a:gd name="T8" fmla="*/ 0 w 1507"/>
                  <a:gd name="T9" fmla="*/ 67 h 1399"/>
                  <a:gd name="T10" fmla="*/ 72 w 1507"/>
                  <a:gd name="T11" fmla="*/ 0 h 1399"/>
                  <a:gd name="T12" fmla="*/ 1435 w 1507"/>
                  <a:gd name="T13" fmla="*/ 0 h 1399"/>
                  <a:gd name="T14" fmla="*/ 1506 w 1507"/>
                  <a:gd name="T15" fmla="*/ 67 h 1399"/>
                  <a:gd name="T16" fmla="*/ 1506 w 1507"/>
                  <a:gd name="T17" fmla="*/ 1326 h 1399"/>
                  <a:gd name="T18" fmla="*/ 1435 w 1507"/>
                  <a:gd name="T19" fmla="*/ 1398 h 1399"/>
                  <a:gd name="T20" fmla="*/ 72 w 1507"/>
                  <a:gd name="T21" fmla="*/ 55 h 1399"/>
                  <a:gd name="T22" fmla="*/ 72 w 1507"/>
                  <a:gd name="T23" fmla="*/ 55 h 1399"/>
                  <a:gd name="T24" fmla="*/ 59 w 1507"/>
                  <a:gd name="T25" fmla="*/ 67 h 1399"/>
                  <a:gd name="T26" fmla="*/ 59 w 1507"/>
                  <a:gd name="T27" fmla="*/ 1326 h 1399"/>
                  <a:gd name="T28" fmla="*/ 72 w 1507"/>
                  <a:gd name="T29" fmla="*/ 1339 h 1399"/>
                  <a:gd name="T30" fmla="*/ 1435 w 1507"/>
                  <a:gd name="T31" fmla="*/ 1339 h 1399"/>
                  <a:gd name="T32" fmla="*/ 1448 w 1507"/>
                  <a:gd name="T33" fmla="*/ 1326 h 1399"/>
                  <a:gd name="T34" fmla="*/ 1448 w 1507"/>
                  <a:gd name="T35" fmla="*/ 67 h 1399"/>
                  <a:gd name="T36" fmla="*/ 1435 w 1507"/>
                  <a:gd name="T37" fmla="*/ 55 h 1399"/>
                  <a:gd name="T38" fmla="*/ 72 w 1507"/>
                  <a:gd name="T39" fmla="*/ 55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07" h="1399">
                    <a:moveTo>
                      <a:pt x="1435" y="1398"/>
                    </a:moveTo>
                    <a:lnTo>
                      <a:pt x="1435" y="1398"/>
                    </a:lnTo>
                    <a:cubicBezTo>
                      <a:pt x="72" y="1398"/>
                      <a:pt x="72" y="1398"/>
                      <a:pt x="72" y="1398"/>
                    </a:cubicBezTo>
                    <a:cubicBezTo>
                      <a:pt x="34" y="1398"/>
                      <a:pt x="0" y="1364"/>
                      <a:pt x="0" y="132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29"/>
                      <a:pt x="34" y="0"/>
                      <a:pt x="72" y="0"/>
                    </a:cubicBezTo>
                    <a:cubicBezTo>
                      <a:pt x="1435" y="0"/>
                      <a:pt x="1435" y="0"/>
                      <a:pt x="1435" y="0"/>
                    </a:cubicBezTo>
                    <a:cubicBezTo>
                      <a:pt x="1473" y="0"/>
                      <a:pt x="1506" y="29"/>
                      <a:pt x="1506" y="67"/>
                    </a:cubicBezTo>
                    <a:cubicBezTo>
                      <a:pt x="1506" y="1326"/>
                      <a:pt x="1506" y="1326"/>
                      <a:pt x="1506" y="1326"/>
                    </a:cubicBezTo>
                    <a:cubicBezTo>
                      <a:pt x="1506" y="1364"/>
                      <a:pt x="1473" y="1398"/>
                      <a:pt x="1435" y="1398"/>
                    </a:cubicBezTo>
                    <a:close/>
                    <a:moveTo>
                      <a:pt x="72" y="55"/>
                    </a:moveTo>
                    <a:lnTo>
                      <a:pt x="72" y="55"/>
                    </a:lnTo>
                    <a:cubicBezTo>
                      <a:pt x="63" y="55"/>
                      <a:pt x="59" y="63"/>
                      <a:pt x="59" y="67"/>
                    </a:cubicBezTo>
                    <a:cubicBezTo>
                      <a:pt x="59" y="1326"/>
                      <a:pt x="59" y="1326"/>
                      <a:pt x="59" y="1326"/>
                    </a:cubicBezTo>
                    <a:cubicBezTo>
                      <a:pt x="59" y="1335"/>
                      <a:pt x="63" y="1339"/>
                      <a:pt x="72" y="1339"/>
                    </a:cubicBezTo>
                    <a:cubicBezTo>
                      <a:pt x="1435" y="1339"/>
                      <a:pt x="1435" y="1339"/>
                      <a:pt x="1435" y="1339"/>
                    </a:cubicBezTo>
                    <a:cubicBezTo>
                      <a:pt x="1443" y="1339"/>
                      <a:pt x="1448" y="1335"/>
                      <a:pt x="1448" y="1326"/>
                    </a:cubicBezTo>
                    <a:cubicBezTo>
                      <a:pt x="1448" y="67"/>
                      <a:pt x="1448" y="67"/>
                      <a:pt x="1448" y="67"/>
                    </a:cubicBezTo>
                    <a:cubicBezTo>
                      <a:pt x="1448" y="63"/>
                      <a:pt x="1443" y="55"/>
                      <a:pt x="1435" y="55"/>
                    </a:cubicBezTo>
                    <a:lnTo>
                      <a:pt x="72" y="55"/>
                    </a:lnTo>
                    <a:close/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7">
                <a:extLst>
                  <a:ext uri="{FF2B5EF4-FFF2-40B4-BE49-F238E27FC236}">
                    <a16:creationId xmlns:a16="http://schemas.microsoft.com/office/drawing/2014/main" id="{9EC7E7C1-B780-4A17-8290-BC7E49339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31101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6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6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">
                <a:extLst>
                  <a:ext uri="{FF2B5EF4-FFF2-40B4-BE49-F238E27FC236}">
                    <a16:creationId xmlns:a16="http://schemas.microsoft.com/office/drawing/2014/main" id="{3E04E932-D2C4-4F72-9064-ADE953456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1987" y="8763303"/>
                <a:ext cx="191390" cy="184790"/>
              </a:xfrm>
              <a:custGeom>
                <a:avLst/>
                <a:gdLst>
                  <a:gd name="T0" fmla="*/ 130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10 w 257"/>
                  <a:gd name="T9" fmla="*/ 244 h 245"/>
                  <a:gd name="T10" fmla="*/ 130 w 257"/>
                  <a:gd name="T11" fmla="*/ 202 h 245"/>
                  <a:gd name="T12" fmla="*/ 50 w 257"/>
                  <a:gd name="T13" fmla="*/ 244 h 245"/>
                  <a:gd name="T14" fmla="*/ 67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30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30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10" y="244"/>
                    </a:lnTo>
                    <a:lnTo>
                      <a:pt x="130" y="202"/>
                    </a:lnTo>
                    <a:lnTo>
                      <a:pt x="50" y="244"/>
                    </a:lnTo>
                    <a:lnTo>
                      <a:pt x="67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30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5A03095C-F531-4EE7-8942-68F44EF2B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16174" y="8763303"/>
                <a:ext cx="191390" cy="184790"/>
              </a:xfrm>
              <a:custGeom>
                <a:avLst/>
                <a:gdLst>
                  <a:gd name="T0" fmla="*/ 125 w 257"/>
                  <a:gd name="T1" fmla="*/ 0 h 245"/>
                  <a:gd name="T2" fmla="*/ 167 w 257"/>
                  <a:gd name="T3" fmla="*/ 80 h 245"/>
                  <a:gd name="T4" fmla="*/ 256 w 257"/>
                  <a:gd name="T5" fmla="*/ 93 h 245"/>
                  <a:gd name="T6" fmla="*/ 188 w 257"/>
                  <a:gd name="T7" fmla="*/ 156 h 245"/>
                  <a:gd name="T8" fmla="*/ 205 w 257"/>
                  <a:gd name="T9" fmla="*/ 244 h 245"/>
                  <a:gd name="T10" fmla="*/ 125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5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5" y="0"/>
                    </a:moveTo>
                    <a:lnTo>
                      <a:pt x="167" y="80"/>
                    </a:lnTo>
                    <a:lnTo>
                      <a:pt x="256" y="93"/>
                    </a:lnTo>
                    <a:lnTo>
                      <a:pt x="188" y="156"/>
                    </a:lnTo>
                    <a:lnTo>
                      <a:pt x="205" y="244"/>
                    </a:lnTo>
                    <a:lnTo>
                      <a:pt x="125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5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60">
                <a:extLst>
                  <a:ext uri="{FF2B5EF4-FFF2-40B4-BE49-F238E27FC236}">
                    <a16:creationId xmlns:a16="http://schemas.microsoft.com/office/drawing/2014/main" id="{FE6C56A2-E379-4BF9-A605-6BBC462A4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7063" y="8763303"/>
                <a:ext cx="191390" cy="184790"/>
              </a:xfrm>
              <a:custGeom>
                <a:avLst/>
                <a:gdLst>
                  <a:gd name="T0" fmla="*/ 126 w 257"/>
                  <a:gd name="T1" fmla="*/ 0 h 245"/>
                  <a:gd name="T2" fmla="*/ 168 w 257"/>
                  <a:gd name="T3" fmla="*/ 80 h 245"/>
                  <a:gd name="T4" fmla="*/ 256 w 257"/>
                  <a:gd name="T5" fmla="*/ 93 h 245"/>
                  <a:gd name="T6" fmla="*/ 193 w 257"/>
                  <a:gd name="T7" fmla="*/ 156 h 245"/>
                  <a:gd name="T8" fmla="*/ 205 w 257"/>
                  <a:gd name="T9" fmla="*/ 244 h 245"/>
                  <a:gd name="T10" fmla="*/ 126 w 257"/>
                  <a:gd name="T11" fmla="*/ 202 h 245"/>
                  <a:gd name="T12" fmla="*/ 46 w 257"/>
                  <a:gd name="T13" fmla="*/ 244 h 245"/>
                  <a:gd name="T14" fmla="*/ 63 w 257"/>
                  <a:gd name="T15" fmla="*/ 156 h 245"/>
                  <a:gd name="T16" fmla="*/ 0 w 257"/>
                  <a:gd name="T17" fmla="*/ 93 h 245"/>
                  <a:gd name="T18" fmla="*/ 88 w 257"/>
                  <a:gd name="T19" fmla="*/ 80 h 245"/>
                  <a:gd name="T20" fmla="*/ 126 w 257"/>
                  <a:gd name="T2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7" h="245">
                    <a:moveTo>
                      <a:pt x="126" y="0"/>
                    </a:moveTo>
                    <a:lnTo>
                      <a:pt x="168" y="80"/>
                    </a:lnTo>
                    <a:lnTo>
                      <a:pt x="256" y="93"/>
                    </a:lnTo>
                    <a:lnTo>
                      <a:pt x="193" y="156"/>
                    </a:lnTo>
                    <a:lnTo>
                      <a:pt x="205" y="244"/>
                    </a:lnTo>
                    <a:lnTo>
                      <a:pt x="126" y="202"/>
                    </a:lnTo>
                    <a:lnTo>
                      <a:pt x="46" y="244"/>
                    </a:lnTo>
                    <a:lnTo>
                      <a:pt x="63" y="156"/>
                    </a:lnTo>
                    <a:lnTo>
                      <a:pt x="0" y="93"/>
                    </a:lnTo>
                    <a:lnTo>
                      <a:pt x="88" y="80"/>
                    </a:lnTo>
                    <a:lnTo>
                      <a:pt x="126" y="0"/>
                    </a:lnTo>
                  </a:path>
                </a:pathLst>
              </a:custGeom>
              <a:solidFill>
                <a:srgbClr val="FF8E58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61">
                <a:extLst>
                  <a:ext uri="{FF2B5EF4-FFF2-40B4-BE49-F238E27FC236}">
                    <a16:creationId xmlns:a16="http://schemas.microsoft.com/office/drawing/2014/main" id="{DE56BD81-FA26-4A7C-BE3B-39663FF78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938498"/>
                <a:ext cx="2237283" cy="2943446"/>
              </a:xfrm>
              <a:custGeom>
                <a:avLst/>
                <a:gdLst>
                  <a:gd name="T0" fmla="*/ 2951 w 2989"/>
                  <a:gd name="T1" fmla="*/ 0 h 3933"/>
                  <a:gd name="T2" fmla="*/ 2951 w 2989"/>
                  <a:gd name="T3" fmla="*/ 0 h 3933"/>
                  <a:gd name="T4" fmla="*/ 0 w 2989"/>
                  <a:gd name="T5" fmla="*/ 0 h 3933"/>
                  <a:gd name="T6" fmla="*/ 0 w 2989"/>
                  <a:gd name="T7" fmla="*/ 3932 h 3933"/>
                  <a:gd name="T8" fmla="*/ 2988 w 2989"/>
                  <a:gd name="T9" fmla="*/ 3932 h 3933"/>
                  <a:gd name="T10" fmla="*/ 2988 w 2989"/>
                  <a:gd name="T11" fmla="*/ 239 h 3933"/>
                  <a:gd name="T12" fmla="*/ 2951 w 2989"/>
                  <a:gd name="T13" fmla="*/ 226 h 3933"/>
                  <a:gd name="T14" fmla="*/ 2946 w 2989"/>
                  <a:gd name="T15" fmla="*/ 113 h 3933"/>
                  <a:gd name="T16" fmla="*/ 2951 w 2989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89" h="3933">
                    <a:moveTo>
                      <a:pt x="2951" y="0"/>
                    </a:moveTo>
                    <a:lnTo>
                      <a:pt x="295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932"/>
                      <a:pt x="0" y="3932"/>
                      <a:pt x="0" y="3932"/>
                    </a:cubicBezTo>
                    <a:cubicBezTo>
                      <a:pt x="2988" y="3932"/>
                      <a:pt x="2988" y="3932"/>
                      <a:pt x="2988" y="3932"/>
                    </a:cubicBezTo>
                    <a:cubicBezTo>
                      <a:pt x="2988" y="239"/>
                      <a:pt x="2988" y="239"/>
                      <a:pt x="2988" y="239"/>
                    </a:cubicBezTo>
                    <a:cubicBezTo>
                      <a:pt x="2951" y="226"/>
                      <a:pt x="2951" y="226"/>
                      <a:pt x="2951" y="226"/>
                    </a:cubicBezTo>
                    <a:cubicBezTo>
                      <a:pt x="2951" y="189"/>
                      <a:pt x="2946" y="151"/>
                      <a:pt x="2946" y="113"/>
                    </a:cubicBezTo>
                    <a:cubicBezTo>
                      <a:pt x="2946" y="75"/>
                      <a:pt x="2951" y="38"/>
                      <a:pt x="2951" y="0"/>
                    </a:cubicBezTo>
                  </a:path>
                </a:pathLst>
              </a:custGeom>
              <a:solidFill>
                <a:srgbClr val="D7E8F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62">
                <a:extLst>
                  <a:ext uri="{FF2B5EF4-FFF2-40B4-BE49-F238E27FC236}">
                    <a16:creationId xmlns:a16="http://schemas.microsoft.com/office/drawing/2014/main" id="{B159D37D-8D15-4AD2-B365-795B7A365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26226" y="6938498"/>
                <a:ext cx="32998" cy="178191"/>
              </a:xfrm>
              <a:custGeom>
                <a:avLst/>
                <a:gdLst>
                  <a:gd name="T0" fmla="*/ 42 w 43"/>
                  <a:gd name="T1" fmla="*/ 0 h 240"/>
                  <a:gd name="T2" fmla="*/ 42 w 43"/>
                  <a:gd name="T3" fmla="*/ 0 h 240"/>
                  <a:gd name="T4" fmla="*/ 5 w 43"/>
                  <a:gd name="T5" fmla="*/ 0 h 240"/>
                  <a:gd name="T6" fmla="*/ 0 w 43"/>
                  <a:gd name="T7" fmla="*/ 113 h 240"/>
                  <a:gd name="T8" fmla="*/ 5 w 43"/>
                  <a:gd name="T9" fmla="*/ 226 h 240"/>
                  <a:gd name="T10" fmla="*/ 42 w 43"/>
                  <a:gd name="T11" fmla="*/ 239 h 240"/>
                  <a:gd name="T12" fmla="*/ 42 w 43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40">
                    <a:moveTo>
                      <a:pt x="42" y="0"/>
                    </a:moveTo>
                    <a:lnTo>
                      <a:pt x="42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5" y="38"/>
                      <a:pt x="0" y="75"/>
                      <a:pt x="0" y="113"/>
                    </a:cubicBezTo>
                    <a:cubicBezTo>
                      <a:pt x="0" y="151"/>
                      <a:pt x="5" y="189"/>
                      <a:pt x="5" y="226"/>
                    </a:cubicBezTo>
                    <a:cubicBezTo>
                      <a:pt x="42" y="239"/>
                      <a:pt x="42" y="239"/>
                      <a:pt x="42" y="239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DC5F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63">
                <a:extLst>
                  <a:ext uri="{FF2B5EF4-FFF2-40B4-BE49-F238E27FC236}">
                    <a16:creationId xmlns:a16="http://schemas.microsoft.com/office/drawing/2014/main" id="{539CDA15-16D1-47CB-8ADC-1F4244F55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4">
                <a:extLst>
                  <a:ext uri="{FF2B5EF4-FFF2-40B4-BE49-F238E27FC236}">
                    <a16:creationId xmlns:a16="http://schemas.microsoft.com/office/drawing/2014/main" id="{E262D386-AC6F-4799-9139-8B983806A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2964" y="6938498"/>
                <a:ext cx="432278" cy="2943446"/>
              </a:xfrm>
              <a:custGeom>
                <a:avLst/>
                <a:gdLst>
                  <a:gd name="T0" fmla="*/ 575 w 576"/>
                  <a:gd name="T1" fmla="*/ 0 h 3933"/>
                  <a:gd name="T2" fmla="*/ 268 w 576"/>
                  <a:gd name="T3" fmla="*/ 0 h 3933"/>
                  <a:gd name="T4" fmla="*/ 264 w 576"/>
                  <a:gd name="T5" fmla="*/ 63 h 3933"/>
                  <a:gd name="T6" fmla="*/ 491 w 576"/>
                  <a:gd name="T7" fmla="*/ 63 h 3933"/>
                  <a:gd name="T8" fmla="*/ 491 w 576"/>
                  <a:gd name="T9" fmla="*/ 3818 h 3933"/>
                  <a:gd name="T10" fmla="*/ 4 w 576"/>
                  <a:gd name="T11" fmla="*/ 3818 h 3933"/>
                  <a:gd name="T12" fmla="*/ 0 w 576"/>
                  <a:gd name="T13" fmla="*/ 3932 h 3933"/>
                  <a:gd name="T14" fmla="*/ 575 w 576"/>
                  <a:gd name="T15" fmla="*/ 3932 h 3933"/>
                  <a:gd name="T16" fmla="*/ 575 w 576"/>
                  <a:gd name="T17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6" h="3933">
                    <a:moveTo>
                      <a:pt x="575" y="0"/>
                    </a:moveTo>
                    <a:lnTo>
                      <a:pt x="268" y="0"/>
                    </a:lnTo>
                    <a:lnTo>
                      <a:pt x="264" y="63"/>
                    </a:lnTo>
                    <a:lnTo>
                      <a:pt x="491" y="63"/>
                    </a:lnTo>
                    <a:lnTo>
                      <a:pt x="491" y="3818"/>
                    </a:lnTo>
                    <a:lnTo>
                      <a:pt x="4" y="3818"/>
                    </a:lnTo>
                    <a:lnTo>
                      <a:pt x="0" y="3932"/>
                    </a:lnTo>
                    <a:lnTo>
                      <a:pt x="575" y="3932"/>
                    </a:lnTo>
                    <a:lnTo>
                      <a:pt x="575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65">
                <a:extLst>
                  <a:ext uri="{FF2B5EF4-FFF2-40B4-BE49-F238E27FC236}">
                    <a16:creationId xmlns:a16="http://schemas.microsoft.com/office/drawing/2014/main" id="{32FA2926-531B-400E-9ED5-73D696FDA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6265" y="6984695"/>
                <a:ext cx="366280" cy="2811452"/>
              </a:xfrm>
              <a:custGeom>
                <a:avLst/>
                <a:gdLst>
                  <a:gd name="T0" fmla="*/ 487 w 488"/>
                  <a:gd name="T1" fmla="*/ 0 h 3756"/>
                  <a:gd name="T2" fmla="*/ 487 w 488"/>
                  <a:gd name="T3" fmla="*/ 0 h 3756"/>
                  <a:gd name="T4" fmla="*/ 260 w 488"/>
                  <a:gd name="T5" fmla="*/ 0 h 3756"/>
                  <a:gd name="T6" fmla="*/ 63 w 488"/>
                  <a:gd name="T7" fmla="*/ 2858 h 3756"/>
                  <a:gd name="T8" fmla="*/ 327 w 488"/>
                  <a:gd name="T9" fmla="*/ 2858 h 3756"/>
                  <a:gd name="T10" fmla="*/ 365 w 488"/>
                  <a:gd name="T11" fmla="*/ 2896 h 3756"/>
                  <a:gd name="T12" fmla="*/ 327 w 488"/>
                  <a:gd name="T13" fmla="*/ 2934 h 3756"/>
                  <a:gd name="T14" fmla="*/ 59 w 488"/>
                  <a:gd name="T15" fmla="*/ 2934 h 3756"/>
                  <a:gd name="T16" fmla="*/ 50 w 488"/>
                  <a:gd name="T17" fmla="*/ 3034 h 3756"/>
                  <a:gd name="T18" fmla="*/ 327 w 488"/>
                  <a:gd name="T19" fmla="*/ 3034 h 3756"/>
                  <a:gd name="T20" fmla="*/ 365 w 488"/>
                  <a:gd name="T21" fmla="*/ 3075 h 3756"/>
                  <a:gd name="T22" fmla="*/ 327 w 488"/>
                  <a:gd name="T23" fmla="*/ 3113 h 3756"/>
                  <a:gd name="T24" fmla="*/ 46 w 488"/>
                  <a:gd name="T25" fmla="*/ 3113 h 3756"/>
                  <a:gd name="T26" fmla="*/ 38 w 488"/>
                  <a:gd name="T27" fmla="*/ 3214 h 3756"/>
                  <a:gd name="T28" fmla="*/ 327 w 488"/>
                  <a:gd name="T29" fmla="*/ 3214 h 3756"/>
                  <a:gd name="T30" fmla="*/ 365 w 488"/>
                  <a:gd name="T31" fmla="*/ 3252 h 3756"/>
                  <a:gd name="T32" fmla="*/ 327 w 488"/>
                  <a:gd name="T33" fmla="*/ 3289 h 3756"/>
                  <a:gd name="T34" fmla="*/ 33 w 488"/>
                  <a:gd name="T35" fmla="*/ 3289 h 3756"/>
                  <a:gd name="T36" fmla="*/ 0 w 488"/>
                  <a:gd name="T37" fmla="*/ 3755 h 3756"/>
                  <a:gd name="T38" fmla="*/ 487 w 488"/>
                  <a:gd name="T39" fmla="*/ 3755 h 3756"/>
                  <a:gd name="T40" fmla="*/ 487 w 488"/>
                  <a:gd name="T41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8" h="3756">
                    <a:moveTo>
                      <a:pt x="487" y="0"/>
                    </a:moveTo>
                    <a:lnTo>
                      <a:pt x="487" y="0"/>
                    </a:lnTo>
                    <a:cubicBezTo>
                      <a:pt x="260" y="0"/>
                      <a:pt x="260" y="0"/>
                      <a:pt x="260" y="0"/>
                    </a:cubicBezTo>
                    <a:cubicBezTo>
                      <a:pt x="63" y="2858"/>
                      <a:pt x="63" y="2858"/>
                      <a:pt x="63" y="2858"/>
                    </a:cubicBezTo>
                    <a:cubicBezTo>
                      <a:pt x="327" y="2858"/>
                      <a:pt x="327" y="2858"/>
                      <a:pt x="327" y="2858"/>
                    </a:cubicBezTo>
                    <a:cubicBezTo>
                      <a:pt x="348" y="2858"/>
                      <a:pt x="365" y="2875"/>
                      <a:pt x="365" y="2896"/>
                    </a:cubicBezTo>
                    <a:cubicBezTo>
                      <a:pt x="365" y="2917"/>
                      <a:pt x="348" y="2934"/>
                      <a:pt x="327" y="2934"/>
                    </a:cubicBezTo>
                    <a:cubicBezTo>
                      <a:pt x="59" y="2934"/>
                      <a:pt x="59" y="2934"/>
                      <a:pt x="59" y="2934"/>
                    </a:cubicBezTo>
                    <a:cubicBezTo>
                      <a:pt x="50" y="3034"/>
                      <a:pt x="50" y="3034"/>
                      <a:pt x="50" y="3034"/>
                    </a:cubicBezTo>
                    <a:cubicBezTo>
                      <a:pt x="327" y="3034"/>
                      <a:pt x="327" y="3034"/>
                      <a:pt x="327" y="3034"/>
                    </a:cubicBezTo>
                    <a:cubicBezTo>
                      <a:pt x="348" y="3034"/>
                      <a:pt x="365" y="3051"/>
                      <a:pt x="365" y="3075"/>
                    </a:cubicBezTo>
                    <a:cubicBezTo>
                      <a:pt x="365" y="3096"/>
                      <a:pt x="348" y="3113"/>
                      <a:pt x="327" y="3113"/>
                    </a:cubicBezTo>
                    <a:cubicBezTo>
                      <a:pt x="46" y="3113"/>
                      <a:pt x="46" y="3113"/>
                      <a:pt x="46" y="3113"/>
                    </a:cubicBezTo>
                    <a:cubicBezTo>
                      <a:pt x="38" y="3214"/>
                      <a:pt x="38" y="3214"/>
                      <a:pt x="38" y="3214"/>
                    </a:cubicBezTo>
                    <a:cubicBezTo>
                      <a:pt x="327" y="3214"/>
                      <a:pt x="327" y="3214"/>
                      <a:pt x="327" y="3214"/>
                    </a:cubicBezTo>
                    <a:cubicBezTo>
                      <a:pt x="348" y="3214"/>
                      <a:pt x="365" y="3231"/>
                      <a:pt x="365" y="3252"/>
                    </a:cubicBezTo>
                    <a:cubicBezTo>
                      <a:pt x="365" y="3273"/>
                      <a:pt x="348" y="3289"/>
                      <a:pt x="327" y="3289"/>
                    </a:cubicBezTo>
                    <a:cubicBezTo>
                      <a:pt x="33" y="3289"/>
                      <a:pt x="33" y="3289"/>
                      <a:pt x="33" y="3289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487" y="3755"/>
                      <a:pt x="487" y="3755"/>
                      <a:pt x="487" y="3755"/>
                    </a:cubicBezTo>
                    <a:cubicBezTo>
                      <a:pt x="487" y="0"/>
                      <a:pt x="487" y="0"/>
                      <a:pt x="487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7">
                <a:extLst>
                  <a:ext uri="{FF2B5EF4-FFF2-40B4-BE49-F238E27FC236}">
                    <a16:creationId xmlns:a16="http://schemas.microsoft.com/office/drawing/2014/main" id="{2BE741BB-F694-4B91-8CDD-381F9C42F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9263" y="9258277"/>
                <a:ext cx="240886" cy="59397"/>
              </a:xfrm>
              <a:custGeom>
                <a:avLst/>
                <a:gdLst>
                  <a:gd name="T0" fmla="*/ 281 w 320"/>
                  <a:gd name="T1" fmla="*/ 0 h 80"/>
                  <a:gd name="T2" fmla="*/ 281 w 320"/>
                  <a:gd name="T3" fmla="*/ 0 h 80"/>
                  <a:gd name="T4" fmla="*/ 4 w 320"/>
                  <a:gd name="T5" fmla="*/ 0 h 80"/>
                  <a:gd name="T6" fmla="*/ 0 w 320"/>
                  <a:gd name="T7" fmla="*/ 79 h 80"/>
                  <a:gd name="T8" fmla="*/ 281 w 320"/>
                  <a:gd name="T9" fmla="*/ 79 h 80"/>
                  <a:gd name="T10" fmla="*/ 319 w 320"/>
                  <a:gd name="T11" fmla="*/ 41 h 80"/>
                  <a:gd name="T12" fmla="*/ 281 w 32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80">
                    <a:moveTo>
                      <a:pt x="281" y="0"/>
                    </a:moveTo>
                    <a:lnTo>
                      <a:pt x="281" y="0"/>
                    </a:lnTo>
                    <a:cubicBezTo>
                      <a:pt x="4" y="0"/>
                      <a:pt x="4" y="0"/>
                      <a:pt x="4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81" y="79"/>
                      <a:pt x="281" y="79"/>
                      <a:pt x="281" y="79"/>
                    </a:cubicBezTo>
                    <a:cubicBezTo>
                      <a:pt x="302" y="79"/>
                      <a:pt x="319" y="62"/>
                      <a:pt x="319" y="41"/>
                    </a:cubicBezTo>
                    <a:cubicBezTo>
                      <a:pt x="319" y="17"/>
                      <a:pt x="302" y="0"/>
                      <a:pt x="281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68">
                <a:extLst>
                  <a:ext uri="{FF2B5EF4-FFF2-40B4-BE49-F238E27FC236}">
                    <a16:creationId xmlns:a16="http://schemas.microsoft.com/office/drawing/2014/main" id="{0AD76084-9403-4FC4-8555-B8C2376B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19363" y="9390270"/>
                <a:ext cx="250787" cy="56096"/>
              </a:xfrm>
              <a:custGeom>
                <a:avLst/>
                <a:gdLst>
                  <a:gd name="T0" fmla="*/ 294 w 333"/>
                  <a:gd name="T1" fmla="*/ 0 h 76"/>
                  <a:gd name="T2" fmla="*/ 294 w 333"/>
                  <a:gd name="T3" fmla="*/ 0 h 76"/>
                  <a:gd name="T4" fmla="*/ 5 w 333"/>
                  <a:gd name="T5" fmla="*/ 0 h 76"/>
                  <a:gd name="T6" fmla="*/ 0 w 333"/>
                  <a:gd name="T7" fmla="*/ 75 h 76"/>
                  <a:gd name="T8" fmla="*/ 294 w 333"/>
                  <a:gd name="T9" fmla="*/ 75 h 76"/>
                  <a:gd name="T10" fmla="*/ 332 w 333"/>
                  <a:gd name="T11" fmla="*/ 38 h 76"/>
                  <a:gd name="T12" fmla="*/ 294 w 33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76">
                    <a:moveTo>
                      <a:pt x="294" y="0"/>
                    </a:moveTo>
                    <a:lnTo>
                      <a:pt x="294" y="0"/>
                    </a:lnTo>
                    <a:cubicBezTo>
                      <a:pt x="5" y="0"/>
                      <a:pt x="5" y="0"/>
                      <a:pt x="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94" y="75"/>
                      <a:pt x="294" y="75"/>
                      <a:pt x="294" y="75"/>
                    </a:cubicBezTo>
                    <a:cubicBezTo>
                      <a:pt x="315" y="75"/>
                      <a:pt x="332" y="59"/>
                      <a:pt x="332" y="38"/>
                    </a:cubicBezTo>
                    <a:cubicBezTo>
                      <a:pt x="332" y="17"/>
                      <a:pt x="315" y="0"/>
                      <a:pt x="294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9">
                <a:extLst>
                  <a:ext uri="{FF2B5EF4-FFF2-40B4-BE49-F238E27FC236}">
                    <a16:creationId xmlns:a16="http://schemas.microsoft.com/office/drawing/2014/main" id="{EED1E106-8DB5-4784-A4C4-D8CFC2301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70">
                <a:extLst>
                  <a:ext uri="{FF2B5EF4-FFF2-40B4-BE49-F238E27FC236}">
                    <a16:creationId xmlns:a16="http://schemas.microsoft.com/office/drawing/2014/main" id="{B3EAA5BE-2116-411F-B3C6-F91C8CBEB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9224" y="6938498"/>
                <a:ext cx="310184" cy="2943446"/>
              </a:xfrm>
              <a:custGeom>
                <a:avLst/>
                <a:gdLst>
                  <a:gd name="T0" fmla="*/ 412 w 413"/>
                  <a:gd name="T1" fmla="*/ 0 h 3933"/>
                  <a:gd name="T2" fmla="*/ 0 w 413"/>
                  <a:gd name="T3" fmla="*/ 0 h 3933"/>
                  <a:gd name="T4" fmla="*/ 0 w 413"/>
                  <a:gd name="T5" fmla="*/ 239 h 3933"/>
                  <a:gd name="T6" fmla="*/ 0 w 413"/>
                  <a:gd name="T7" fmla="*/ 3932 h 3933"/>
                  <a:gd name="T8" fmla="*/ 273 w 413"/>
                  <a:gd name="T9" fmla="*/ 3932 h 3933"/>
                  <a:gd name="T10" fmla="*/ 277 w 413"/>
                  <a:gd name="T11" fmla="*/ 3818 h 3933"/>
                  <a:gd name="T12" fmla="*/ 130 w 413"/>
                  <a:gd name="T13" fmla="*/ 3818 h 3933"/>
                  <a:gd name="T14" fmla="*/ 130 w 413"/>
                  <a:gd name="T15" fmla="*/ 63 h 3933"/>
                  <a:gd name="T16" fmla="*/ 412 w 413"/>
                  <a:gd name="T17" fmla="*/ 63 h 3933"/>
                  <a:gd name="T18" fmla="*/ 412 w 413"/>
                  <a:gd name="T19" fmla="*/ 0 h 3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3" h="3933">
                    <a:moveTo>
                      <a:pt x="412" y="0"/>
                    </a:moveTo>
                    <a:lnTo>
                      <a:pt x="0" y="0"/>
                    </a:lnTo>
                    <a:lnTo>
                      <a:pt x="0" y="239"/>
                    </a:lnTo>
                    <a:lnTo>
                      <a:pt x="0" y="3932"/>
                    </a:lnTo>
                    <a:lnTo>
                      <a:pt x="273" y="3932"/>
                    </a:lnTo>
                    <a:lnTo>
                      <a:pt x="277" y="3818"/>
                    </a:lnTo>
                    <a:lnTo>
                      <a:pt x="130" y="3818"/>
                    </a:lnTo>
                    <a:lnTo>
                      <a:pt x="130" y="63"/>
                    </a:lnTo>
                    <a:lnTo>
                      <a:pt x="412" y="63"/>
                    </a:lnTo>
                    <a:lnTo>
                      <a:pt x="412" y="0"/>
                    </a:lnTo>
                  </a:path>
                </a:pathLst>
              </a:custGeom>
              <a:solidFill>
                <a:srgbClr val="FF8E58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71">
                <a:extLst>
                  <a:ext uri="{FF2B5EF4-FFF2-40B4-BE49-F238E27FC236}">
                    <a16:creationId xmlns:a16="http://schemas.microsoft.com/office/drawing/2014/main" id="{2BED41E4-FF37-470B-A932-56EBC1691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4920" y="6984695"/>
                <a:ext cx="211189" cy="2811452"/>
              </a:xfrm>
              <a:custGeom>
                <a:avLst/>
                <a:gdLst>
                  <a:gd name="T0" fmla="*/ 282 w 283"/>
                  <a:gd name="T1" fmla="*/ 0 h 3756"/>
                  <a:gd name="T2" fmla="*/ 282 w 283"/>
                  <a:gd name="T3" fmla="*/ 0 h 3756"/>
                  <a:gd name="T4" fmla="*/ 0 w 283"/>
                  <a:gd name="T5" fmla="*/ 0 h 3756"/>
                  <a:gd name="T6" fmla="*/ 0 w 283"/>
                  <a:gd name="T7" fmla="*/ 3755 h 3756"/>
                  <a:gd name="T8" fmla="*/ 147 w 283"/>
                  <a:gd name="T9" fmla="*/ 3755 h 3756"/>
                  <a:gd name="T10" fmla="*/ 164 w 283"/>
                  <a:gd name="T11" fmla="*/ 3289 h 3756"/>
                  <a:gd name="T12" fmla="*/ 126 w 283"/>
                  <a:gd name="T13" fmla="*/ 3252 h 3756"/>
                  <a:gd name="T14" fmla="*/ 164 w 283"/>
                  <a:gd name="T15" fmla="*/ 3214 h 3756"/>
                  <a:gd name="T16" fmla="*/ 168 w 283"/>
                  <a:gd name="T17" fmla="*/ 3214 h 3756"/>
                  <a:gd name="T18" fmla="*/ 173 w 283"/>
                  <a:gd name="T19" fmla="*/ 3113 h 3756"/>
                  <a:gd name="T20" fmla="*/ 164 w 283"/>
                  <a:gd name="T21" fmla="*/ 3113 h 3756"/>
                  <a:gd name="T22" fmla="*/ 126 w 283"/>
                  <a:gd name="T23" fmla="*/ 3075 h 3756"/>
                  <a:gd name="T24" fmla="*/ 164 w 283"/>
                  <a:gd name="T25" fmla="*/ 3034 h 3756"/>
                  <a:gd name="T26" fmla="*/ 173 w 283"/>
                  <a:gd name="T27" fmla="*/ 3034 h 3756"/>
                  <a:gd name="T28" fmla="*/ 177 w 283"/>
                  <a:gd name="T29" fmla="*/ 2934 h 3756"/>
                  <a:gd name="T30" fmla="*/ 164 w 283"/>
                  <a:gd name="T31" fmla="*/ 2934 h 3756"/>
                  <a:gd name="T32" fmla="*/ 126 w 283"/>
                  <a:gd name="T33" fmla="*/ 2896 h 3756"/>
                  <a:gd name="T34" fmla="*/ 164 w 283"/>
                  <a:gd name="T35" fmla="*/ 2858 h 3756"/>
                  <a:gd name="T36" fmla="*/ 181 w 283"/>
                  <a:gd name="T37" fmla="*/ 2858 h 3756"/>
                  <a:gd name="T38" fmla="*/ 282 w 283"/>
                  <a:gd name="T39" fmla="*/ 0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3" h="3756">
                    <a:moveTo>
                      <a:pt x="282" y="0"/>
                    </a:moveTo>
                    <a:lnTo>
                      <a:pt x="28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3755"/>
                      <a:pt x="0" y="3755"/>
                      <a:pt x="0" y="3755"/>
                    </a:cubicBezTo>
                    <a:cubicBezTo>
                      <a:pt x="147" y="3755"/>
                      <a:pt x="147" y="3755"/>
                      <a:pt x="147" y="3755"/>
                    </a:cubicBezTo>
                    <a:cubicBezTo>
                      <a:pt x="164" y="3289"/>
                      <a:pt x="164" y="3289"/>
                      <a:pt x="164" y="3289"/>
                    </a:cubicBezTo>
                    <a:cubicBezTo>
                      <a:pt x="143" y="3289"/>
                      <a:pt x="126" y="3273"/>
                      <a:pt x="126" y="3252"/>
                    </a:cubicBezTo>
                    <a:cubicBezTo>
                      <a:pt x="126" y="3231"/>
                      <a:pt x="143" y="3214"/>
                      <a:pt x="164" y="3214"/>
                    </a:cubicBezTo>
                    <a:cubicBezTo>
                      <a:pt x="168" y="3214"/>
                      <a:pt x="168" y="3214"/>
                      <a:pt x="168" y="3214"/>
                    </a:cubicBezTo>
                    <a:cubicBezTo>
                      <a:pt x="173" y="3113"/>
                      <a:pt x="173" y="3113"/>
                      <a:pt x="173" y="3113"/>
                    </a:cubicBezTo>
                    <a:cubicBezTo>
                      <a:pt x="164" y="3113"/>
                      <a:pt x="164" y="3113"/>
                      <a:pt x="164" y="3113"/>
                    </a:cubicBezTo>
                    <a:cubicBezTo>
                      <a:pt x="143" y="3113"/>
                      <a:pt x="126" y="3096"/>
                      <a:pt x="126" y="3075"/>
                    </a:cubicBezTo>
                    <a:cubicBezTo>
                      <a:pt x="126" y="3051"/>
                      <a:pt x="143" y="3034"/>
                      <a:pt x="164" y="3034"/>
                    </a:cubicBezTo>
                    <a:cubicBezTo>
                      <a:pt x="173" y="3034"/>
                      <a:pt x="173" y="3034"/>
                      <a:pt x="173" y="3034"/>
                    </a:cubicBezTo>
                    <a:cubicBezTo>
                      <a:pt x="177" y="2934"/>
                      <a:pt x="177" y="2934"/>
                      <a:pt x="177" y="2934"/>
                    </a:cubicBezTo>
                    <a:cubicBezTo>
                      <a:pt x="164" y="2934"/>
                      <a:pt x="164" y="2934"/>
                      <a:pt x="164" y="2934"/>
                    </a:cubicBezTo>
                    <a:cubicBezTo>
                      <a:pt x="143" y="2934"/>
                      <a:pt x="126" y="2917"/>
                      <a:pt x="126" y="2896"/>
                    </a:cubicBezTo>
                    <a:cubicBezTo>
                      <a:pt x="126" y="2875"/>
                      <a:pt x="143" y="2858"/>
                      <a:pt x="164" y="2858"/>
                    </a:cubicBezTo>
                    <a:cubicBezTo>
                      <a:pt x="181" y="2858"/>
                      <a:pt x="181" y="2858"/>
                      <a:pt x="181" y="2858"/>
                    </a:cubicBezTo>
                    <a:cubicBezTo>
                      <a:pt x="282" y="0"/>
                      <a:pt x="282" y="0"/>
                      <a:pt x="282" y="0"/>
                    </a:cubicBezTo>
                  </a:path>
                </a:pathLst>
              </a:custGeom>
              <a:solidFill>
                <a:srgbClr val="FFFFFF">
                  <a:lumMod val="95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72">
                <a:extLst>
                  <a:ext uri="{FF2B5EF4-FFF2-40B4-BE49-F238E27FC236}">
                    <a16:creationId xmlns:a16="http://schemas.microsoft.com/office/drawing/2014/main" id="{2BA5B70F-C74E-4C71-8029-957EFFCFE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126284"/>
                <a:ext cx="42899" cy="56096"/>
              </a:xfrm>
              <a:custGeom>
                <a:avLst/>
                <a:gdLst>
                  <a:gd name="T0" fmla="*/ 55 w 56"/>
                  <a:gd name="T1" fmla="*/ 0 h 77"/>
                  <a:gd name="T2" fmla="*/ 55 w 56"/>
                  <a:gd name="T3" fmla="*/ 0 h 77"/>
                  <a:gd name="T4" fmla="*/ 38 w 56"/>
                  <a:gd name="T5" fmla="*/ 0 h 77"/>
                  <a:gd name="T6" fmla="*/ 0 w 56"/>
                  <a:gd name="T7" fmla="*/ 38 h 77"/>
                  <a:gd name="T8" fmla="*/ 38 w 56"/>
                  <a:gd name="T9" fmla="*/ 76 h 77"/>
                  <a:gd name="T10" fmla="*/ 51 w 56"/>
                  <a:gd name="T11" fmla="*/ 76 h 77"/>
                  <a:gd name="T12" fmla="*/ 55 w 56"/>
                  <a:gd name="T13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77">
                    <a:moveTo>
                      <a:pt x="55" y="0"/>
                    </a:moveTo>
                    <a:lnTo>
                      <a:pt x="55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6"/>
                      <a:pt x="3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0"/>
                      <a:pt x="55" y="0"/>
                      <a:pt x="55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FD86B56E-AC1B-41F0-A41A-D79FBF43B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258277"/>
                <a:ext cx="36299" cy="59397"/>
              </a:xfrm>
              <a:custGeom>
                <a:avLst/>
                <a:gdLst>
                  <a:gd name="T0" fmla="*/ 47 w 48"/>
                  <a:gd name="T1" fmla="*/ 0 h 80"/>
                  <a:gd name="T2" fmla="*/ 47 w 48"/>
                  <a:gd name="T3" fmla="*/ 0 h 80"/>
                  <a:gd name="T4" fmla="*/ 38 w 48"/>
                  <a:gd name="T5" fmla="*/ 0 h 80"/>
                  <a:gd name="T6" fmla="*/ 0 w 48"/>
                  <a:gd name="T7" fmla="*/ 41 h 80"/>
                  <a:gd name="T8" fmla="*/ 38 w 48"/>
                  <a:gd name="T9" fmla="*/ 79 h 80"/>
                  <a:gd name="T10" fmla="*/ 47 w 48"/>
                  <a:gd name="T11" fmla="*/ 79 h 80"/>
                  <a:gd name="T12" fmla="*/ 47 w 48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80">
                    <a:moveTo>
                      <a:pt x="47" y="0"/>
                    </a:moveTo>
                    <a:lnTo>
                      <a:pt x="47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41"/>
                    </a:cubicBezTo>
                    <a:cubicBezTo>
                      <a:pt x="0" y="62"/>
                      <a:pt x="17" y="79"/>
                      <a:pt x="38" y="79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748F5B9B-C86D-4597-92DB-58E435E56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0614" y="9390270"/>
                <a:ext cx="32998" cy="56096"/>
              </a:xfrm>
              <a:custGeom>
                <a:avLst/>
                <a:gdLst>
                  <a:gd name="T0" fmla="*/ 42 w 43"/>
                  <a:gd name="T1" fmla="*/ 0 h 76"/>
                  <a:gd name="T2" fmla="*/ 42 w 43"/>
                  <a:gd name="T3" fmla="*/ 0 h 76"/>
                  <a:gd name="T4" fmla="*/ 38 w 43"/>
                  <a:gd name="T5" fmla="*/ 0 h 76"/>
                  <a:gd name="T6" fmla="*/ 0 w 43"/>
                  <a:gd name="T7" fmla="*/ 38 h 76"/>
                  <a:gd name="T8" fmla="*/ 38 w 43"/>
                  <a:gd name="T9" fmla="*/ 75 h 76"/>
                  <a:gd name="T10" fmla="*/ 42 w 43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6">
                    <a:moveTo>
                      <a:pt x="42" y="0"/>
                    </a:moveTo>
                    <a:lnTo>
                      <a:pt x="42" y="0"/>
                    </a:ln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59"/>
                      <a:pt x="17" y="75"/>
                      <a:pt x="38" y="75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99BBE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C1781C45-76C9-4E6F-8DEA-01985287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250" y="6380828"/>
                <a:ext cx="2484769" cy="4075285"/>
              </a:xfrm>
              <a:custGeom>
                <a:avLst/>
                <a:gdLst>
                  <a:gd name="T0" fmla="*/ 3320 w 3321"/>
                  <a:gd name="T1" fmla="*/ 5447 h 5448"/>
                  <a:gd name="T2" fmla="*/ 0 w 3321"/>
                  <a:gd name="T3" fmla="*/ 5447 h 5448"/>
                  <a:gd name="T4" fmla="*/ 0 w 3321"/>
                  <a:gd name="T5" fmla="*/ 0 h 5448"/>
                  <a:gd name="T6" fmla="*/ 3320 w 3321"/>
                  <a:gd name="T7" fmla="*/ 0 h 5448"/>
                  <a:gd name="T8" fmla="*/ 3320 w 3321"/>
                  <a:gd name="T9" fmla="*/ 5447 h 5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1" h="5448">
                    <a:moveTo>
                      <a:pt x="3320" y="5447"/>
                    </a:moveTo>
                    <a:lnTo>
                      <a:pt x="0" y="5447"/>
                    </a:lnTo>
                    <a:lnTo>
                      <a:pt x="0" y="0"/>
                    </a:lnTo>
                    <a:lnTo>
                      <a:pt x="3320" y="0"/>
                    </a:lnTo>
                    <a:lnTo>
                      <a:pt x="3320" y="5447"/>
                    </a:ln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D26CCACD-3F92-4031-92E0-70ED575747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1942" y="6463323"/>
                <a:ext cx="2273582" cy="3837700"/>
              </a:xfrm>
              <a:custGeom>
                <a:avLst/>
                <a:gdLst>
                  <a:gd name="T0" fmla="*/ 3039 w 3040"/>
                  <a:gd name="T1" fmla="*/ 5128 h 5129"/>
                  <a:gd name="T2" fmla="*/ 0 w 3040"/>
                  <a:gd name="T3" fmla="*/ 5128 h 5129"/>
                  <a:gd name="T4" fmla="*/ 0 w 3040"/>
                  <a:gd name="T5" fmla="*/ 0 h 5129"/>
                  <a:gd name="T6" fmla="*/ 3039 w 3040"/>
                  <a:gd name="T7" fmla="*/ 0 h 5129"/>
                  <a:gd name="T8" fmla="*/ 3039 w 3040"/>
                  <a:gd name="T9" fmla="*/ 5128 h 5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0" h="5129">
                    <a:moveTo>
                      <a:pt x="3039" y="5128"/>
                    </a:moveTo>
                    <a:lnTo>
                      <a:pt x="0" y="5128"/>
                    </a:lnTo>
                    <a:lnTo>
                      <a:pt x="0" y="0"/>
                    </a:lnTo>
                    <a:lnTo>
                      <a:pt x="3039" y="0"/>
                    </a:lnTo>
                    <a:lnTo>
                      <a:pt x="3039" y="51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849F6601-35B7-4BDE-8CB4-F8FB50434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66414" y="8367324"/>
                <a:ext cx="1197836" cy="135292"/>
              </a:xfrm>
              <a:custGeom>
                <a:avLst/>
                <a:gdLst>
                  <a:gd name="T0" fmla="*/ 1507 w 1600"/>
                  <a:gd name="T1" fmla="*/ 181 h 182"/>
                  <a:gd name="T2" fmla="*/ 1507 w 1600"/>
                  <a:gd name="T3" fmla="*/ 181 h 182"/>
                  <a:gd name="T4" fmla="*/ 88 w 1600"/>
                  <a:gd name="T5" fmla="*/ 181 h 182"/>
                  <a:gd name="T6" fmla="*/ 0 w 1600"/>
                  <a:gd name="T7" fmla="*/ 89 h 182"/>
                  <a:gd name="T8" fmla="*/ 88 w 1600"/>
                  <a:gd name="T9" fmla="*/ 0 h 182"/>
                  <a:gd name="T10" fmla="*/ 1507 w 1600"/>
                  <a:gd name="T11" fmla="*/ 0 h 182"/>
                  <a:gd name="T12" fmla="*/ 1599 w 1600"/>
                  <a:gd name="T13" fmla="*/ 89 h 182"/>
                  <a:gd name="T14" fmla="*/ 1507 w 1600"/>
                  <a:gd name="T15" fmla="*/ 18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0" h="182">
                    <a:moveTo>
                      <a:pt x="1507" y="181"/>
                    </a:moveTo>
                    <a:lnTo>
                      <a:pt x="1507" y="181"/>
                    </a:lnTo>
                    <a:cubicBezTo>
                      <a:pt x="88" y="181"/>
                      <a:pt x="88" y="181"/>
                      <a:pt x="88" y="181"/>
                    </a:cubicBezTo>
                    <a:cubicBezTo>
                      <a:pt x="38" y="181"/>
                      <a:pt x="0" y="139"/>
                      <a:pt x="0" y="89"/>
                    </a:cubicBezTo>
                    <a:cubicBezTo>
                      <a:pt x="0" y="38"/>
                      <a:pt x="38" y="0"/>
                      <a:pt x="88" y="0"/>
                    </a:cubicBezTo>
                    <a:cubicBezTo>
                      <a:pt x="1507" y="0"/>
                      <a:pt x="1507" y="0"/>
                      <a:pt x="1507" y="0"/>
                    </a:cubicBezTo>
                    <a:cubicBezTo>
                      <a:pt x="1557" y="0"/>
                      <a:pt x="1599" y="38"/>
                      <a:pt x="1599" y="89"/>
                    </a:cubicBezTo>
                    <a:cubicBezTo>
                      <a:pt x="1599" y="139"/>
                      <a:pt x="1557" y="181"/>
                      <a:pt x="1507" y="181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06649AF2-D4B6-4AFE-9B8C-E791F6CBC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575212"/>
                <a:ext cx="933850" cy="135294"/>
              </a:xfrm>
              <a:custGeom>
                <a:avLst/>
                <a:gdLst>
                  <a:gd name="T0" fmla="*/ 1154 w 1248"/>
                  <a:gd name="T1" fmla="*/ 180 h 181"/>
                  <a:gd name="T2" fmla="*/ 1154 w 1248"/>
                  <a:gd name="T3" fmla="*/ 180 h 181"/>
                  <a:gd name="T4" fmla="*/ 88 w 1248"/>
                  <a:gd name="T5" fmla="*/ 180 h 181"/>
                  <a:gd name="T6" fmla="*/ 0 w 1248"/>
                  <a:gd name="T7" fmla="*/ 92 h 181"/>
                  <a:gd name="T8" fmla="*/ 88 w 1248"/>
                  <a:gd name="T9" fmla="*/ 0 h 181"/>
                  <a:gd name="T10" fmla="*/ 1154 w 1248"/>
                  <a:gd name="T11" fmla="*/ 0 h 181"/>
                  <a:gd name="T12" fmla="*/ 1247 w 1248"/>
                  <a:gd name="T13" fmla="*/ 92 h 181"/>
                  <a:gd name="T14" fmla="*/ 1154 w 1248"/>
                  <a:gd name="T15" fmla="*/ 18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8" h="181">
                    <a:moveTo>
                      <a:pt x="1154" y="180"/>
                    </a:moveTo>
                    <a:lnTo>
                      <a:pt x="1154" y="180"/>
                    </a:lnTo>
                    <a:cubicBezTo>
                      <a:pt x="88" y="180"/>
                      <a:pt x="88" y="180"/>
                      <a:pt x="88" y="180"/>
                    </a:cubicBezTo>
                    <a:cubicBezTo>
                      <a:pt x="42" y="180"/>
                      <a:pt x="0" y="138"/>
                      <a:pt x="0" y="92"/>
                    </a:cubicBezTo>
                    <a:cubicBezTo>
                      <a:pt x="0" y="41"/>
                      <a:pt x="42" y="0"/>
                      <a:pt x="88" y="0"/>
                    </a:cubicBezTo>
                    <a:cubicBezTo>
                      <a:pt x="1154" y="0"/>
                      <a:pt x="1154" y="0"/>
                      <a:pt x="1154" y="0"/>
                    </a:cubicBezTo>
                    <a:cubicBezTo>
                      <a:pt x="1205" y="0"/>
                      <a:pt x="1247" y="41"/>
                      <a:pt x="1247" y="92"/>
                    </a:cubicBezTo>
                    <a:cubicBezTo>
                      <a:pt x="1247" y="138"/>
                      <a:pt x="1205" y="180"/>
                      <a:pt x="1154" y="180"/>
                    </a:cubicBezTo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78B9CD68-4526-4894-861C-23D6CDC0F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38037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1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1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0"/>
                      <a:pt x="0" y="51"/>
                    </a:cubicBezTo>
                    <a:cubicBezTo>
                      <a:pt x="0" y="21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1"/>
                      <a:pt x="2699" y="51"/>
                    </a:cubicBezTo>
                    <a:cubicBezTo>
                      <a:pt x="2699" y="80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3">
                <a:extLst>
                  <a:ext uri="{FF2B5EF4-FFF2-40B4-BE49-F238E27FC236}">
                    <a16:creationId xmlns:a16="http://schemas.microsoft.com/office/drawing/2014/main" id="{4CB61448-469B-4FF9-B3FD-5F629D12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565160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4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4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4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4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3CF45214-F61D-4970-8BD8-9F1B1CA7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3935" y="9746652"/>
                <a:ext cx="2019494" cy="79196"/>
              </a:xfrm>
              <a:custGeom>
                <a:avLst/>
                <a:gdLst>
                  <a:gd name="T0" fmla="*/ 2644 w 2700"/>
                  <a:gd name="T1" fmla="*/ 105 h 106"/>
                  <a:gd name="T2" fmla="*/ 2644 w 2700"/>
                  <a:gd name="T3" fmla="*/ 105 h 106"/>
                  <a:gd name="T4" fmla="*/ 55 w 2700"/>
                  <a:gd name="T5" fmla="*/ 105 h 106"/>
                  <a:gd name="T6" fmla="*/ 0 w 2700"/>
                  <a:gd name="T7" fmla="*/ 55 h 106"/>
                  <a:gd name="T8" fmla="*/ 55 w 2700"/>
                  <a:gd name="T9" fmla="*/ 0 h 106"/>
                  <a:gd name="T10" fmla="*/ 2644 w 2700"/>
                  <a:gd name="T11" fmla="*/ 0 h 106"/>
                  <a:gd name="T12" fmla="*/ 2699 w 2700"/>
                  <a:gd name="T13" fmla="*/ 55 h 106"/>
                  <a:gd name="T14" fmla="*/ 2644 w 2700"/>
                  <a:gd name="T15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00" h="106">
                    <a:moveTo>
                      <a:pt x="2644" y="105"/>
                    </a:moveTo>
                    <a:lnTo>
                      <a:pt x="2644" y="105"/>
                    </a:lnTo>
                    <a:cubicBezTo>
                      <a:pt x="55" y="105"/>
                      <a:pt x="55" y="105"/>
                      <a:pt x="55" y="105"/>
                    </a:cubicBezTo>
                    <a:cubicBezTo>
                      <a:pt x="25" y="105"/>
                      <a:pt x="0" y="84"/>
                      <a:pt x="0" y="55"/>
                    </a:cubicBezTo>
                    <a:cubicBezTo>
                      <a:pt x="0" y="25"/>
                      <a:pt x="25" y="0"/>
                      <a:pt x="55" y="0"/>
                    </a:cubicBezTo>
                    <a:cubicBezTo>
                      <a:pt x="2644" y="0"/>
                      <a:pt x="2644" y="0"/>
                      <a:pt x="2644" y="0"/>
                    </a:cubicBezTo>
                    <a:cubicBezTo>
                      <a:pt x="2674" y="0"/>
                      <a:pt x="2699" y="25"/>
                      <a:pt x="2699" y="55"/>
                    </a:cubicBezTo>
                    <a:cubicBezTo>
                      <a:pt x="2699" y="84"/>
                      <a:pt x="2674" y="105"/>
                      <a:pt x="2644" y="105"/>
                    </a:cubicBez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5">
                <a:extLst>
                  <a:ext uri="{FF2B5EF4-FFF2-40B4-BE49-F238E27FC236}">
                    <a16:creationId xmlns:a16="http://schemas.microsoft.com/office/drawing/2014/main" id="{743C02E3-CFB2-440A-BE27-37A51E484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1423" y="6628314"/>
                <a:ext cx="1524520" cy="1415627"/>
              </a:xfrm>
              <a:custGeom>
                <a:avLst/>
                <a:gdLst>
                  <a:gd name="T0" fmla="*/ 1951 w 2036"/>
                  <a:gd name="T1" fmla="*/ 1889 h 1890"/>
                  <a:gd name="T2" fmla="*/ 1951 w 2036"/>
                  <a:gd name="T3" fmla="*/ 1889 h 1890"/>
                  <a:gd name="T4" fmla="*/ 84 w 2036"/>
                  <a:gd name="T5" fmla="*/ 1889 h 1890"/>
                  <a:gd name="T6" fmla="*/ 0 w 2036"/>
                  <a:gd name="T7" fmla="*/ 1805 h 1890"/>
                  <a:gd name="T8" fmla="*/ 0 w 2036"/>
                  <a:gd name="T9" fmla="*/ 84 h 1890"/>
                  <a:gd name="T10" fmla="*/ 84 w 2036"/>
                  <a:gd name="T11" fmla="*/ 0 h 1890"/>
                  <a:gd name="T12" fmla="*/ 1951 w 2036"/>
                  <a:gd name="T13" fmla="*/ 0 h 1890"/>
                  <a:gd name="T14" fmla="*/ 2035 w 2036"/>
                  <a:gd name="T15" fmla="*/ 84 h 1890"/>
                  <a:gd name="T16" fmla="*/ 2035 w 2036"/>
                  <a:gd name="T17" fmla="*/ 1805 h 1890"/>
                  <a:gd name="T18" fmla="*/ 1951 w 2036"/>
                  <a:gd name="T19" fmla="*/ 1889 h 1890"/>
                  <a:gd name="T20" fmla="*/ 84 w 2036"/>
                  <a:gd name="T21" fmla="*/ 55 h 1890"/>
                  <a:gd name="T22" fmla="*/ 84 w 2036"/>
                  <a:gd name="T23" fmla="*/ 55 h 1890"/>
                  <a:gd name="T24" fmla="*/ 54 w 2036"/>
                  <a:gd name="T25" fmla="*/ 84 h 1890"/>
                  <a:gd name="T26" fmla="*/ 54 w 2036"/>
                  <a:gd name="T27" fmla="*/ 1805 h 1890"/>
                  <a:gd name="T28" fmla="*/ 84 w 2036"/>
                  <a:gd name="T29" fmla="*/ 1830 h 1890"/>
                  <a:gd name="T30" fmla="*/ 1951 w 2036"/>
                  <a:gd name="T31" fmla="*/ 1830 h 1890"/>
                  <a:gd name="T32" fmla="*/ 1977 w 2036"/>
                  <a:gd name="T33" fmla="*/ 1805 h 1890"/>
                  <a:gd name="T34" fmla="*/ 1977 w 2036"/>
                  <a:gd name="T35" fmla="*/ 84 h 1890"/>
                  <a:gd name="T36" fmla="*/ 1951 w 2036"/>
                  <a:gd name="T37" fmla="*/ 55 h 1890"/>
                  <a:gd name="T38" fmla="*/ 84 w 2036"/>
                  <a:gd name="T39" fmla="*/ 5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6" h="1890">
                    <a:moveTo>
                      <a:pt x="1951" y="1889"/>
                    </a:moveTo>
                    <a:lnTo>
                      <a:pt x="1951" y="1889"/>
                    </a:lnTo>
                    <a:cubicBezTo>
                      <a:pt x="84" y="1889"/>
                      <a:pt x="84" y="1889"/>
                      <a:pt x="84" y="1889"/>
                    </a:cubicBezTo>
                    <a:cubicBezTo>
                      <a:pt x="37" y="1889"/>
                      <a:pt x="0" y="1851"/>
                      <a:pt x="0" y="1805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4" y="0"/>
                    </a:cubicBezTo>
                    <a:cubicBezTo>
                      <a:pt x="1951" y="0"/>
                      <a:pt x="1951" y="0"/>
                      <a:pt x="1951" y="0"/>
                    </a:cubicBezTo>
                    <a:cubicBezTo>
                      <a:pt x="1998" y="0"/>
                      <a:pt x="2035" y="38"/>
                      <a:pt x="2035" y="84"/>
                    </a:cubicBezTo>
                    <a:cubicBezTo>
                      <a:pt x="2035" y="1805"/>
                      <a:pt x="2035" y="1805"/>
                      <a:pt x="2035" y="1805"/>
                    </a:cubicBezTo>
                    <a:cubicBezTo>
                      <a:pt x="2035" y="1851"/>
                      <a:pt x="1998" y="1889"/>
                      <a:pt x="1951" y="1889"/>
                    </a:cubicBezTo>
                    <a:close/>
                    <a:moveTo>
                      <a:pt x="84" y="55"/>
                    </a:moveTo>
                    <a:lnTo>
                      <a:pt x="84" y="55"/>
                    </a:lnTo>
                    <a:cubicBezTo>
                      <a:pt x="67" y="55"/>
                      <a:pt x="54" y="67"/>
                      <a:pt x="54" y="84"/>
                    </a:cubicBezTo>
                    <a:cubicBezTo>
                      <a:pt x="54" y="1805"/>
                      <a:pt x="54" y="1805"/>
                      <a:pt x="54" y="1805"/>
                    </a:cubicBezTo>
                    <a:cubicBezTo>
                      <a:pt x="54" y="1818"/>
                      <a:pt x="67" y="1830"/>
                      <a:pt x="84" y="1830"/>
                    </a:cubicBezTo>
                    <a:cubicBezTo>
                      <a:pt x="1951" y="1830"/>
                      <a:pt x="1951" y="1830"/>
                      <a:pt x="1951" y="1830"/>
                    </a:cubicBezTo>
                    <a:cubicBezTo>
                      <a:pt x="1964" y="1830"/>
                      <a:pt x="1977" y="1818"/>
                      <a:pt x="1977" y="1805"/>
                    </a:cubicBezTo>
                    <a:cubicBezTo>
                      <a:pt x="1977" y="84"/>
                      <a:pt x="1977" y="84"/>
                      <a:pt x="1977" y="84"/>
                    </a:cubicBezTo>
                    <a:cubicBezTo>
                      <a:pt x="1977" y="67"/>
                      <a:pt x="1964" y="55"/>
                      <a:pt x="1951" y="55"/>
                    </a:cubicBezTo>
                    <a:lnTo>
                      <a:pt x="84" y="55"/>
                    </a:lnTo>
                    <a:close/>
                  </a:path>
                </a:pathLst>
              </a:custGeom>
              <a:solidFill>
                <a:srgbClr val="2C6187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6">
                <a:extLst>
                  <a:ext uri="{FF2B5EF4-FFF2-40B4-BE49-F238E27FC236}">
                    <a16:creationId xmlns:a16="http://schemas.microsoft.com/office/drawing/2014/main" id="{00D13DE0-2C9E-4A1B-A4B9-670DC44CF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8425" y="8888697"/>
                <a:ext cx="260685" cy="250787"/>
              </a:xfrm>
              <a:custGeom>
                <a:avLst/>
                <a:gdLst>
                  <a:gd name="T0" fmla="*/ 177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1 w 350"/>
                  <a:gd name="T7" fmla="*/ 210 h 333"/>
                  <a:gd name="T8" fmla="*/ 282 w 350"/>
                  <a:gd name="T9" fmla="*/ 332 h 333"/>
                  <a:gd name="T10" fmla="*/ 177 w 350"/>
                  <a:gd name="T11" fmla="*/ 273 h 333"/>
                  <a:gd name="T12" fmla="*/ 68 w 350"/>
                  <a:gd name="T13" fmla="*/ 332 h 333"/>
                  <a:gd name="T14" fmla="*/ 89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7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7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1" y="210"/>
                    </a:lnTo>
                    <a:lnTo>
                      <a:pt x="282" y="332"/>
                    </a:lnTo>
                    <a:lnTo>
                      <a:pt x="177" y="273"/>
                    </a:lnTo>
                    <a:lnTo>
                      <a:pt x="68" y="332"/>
                    </a:lnTo>
                    <a:lnTo>
                      <a:pt x="89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7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7">
                <a:extLst>
                  <a:ext uri="{FF2B5EF4-FFF2-40B4-BE49-F238E27FC236}">
                    <a16:creationId xmlns:a16="http://schemas.microsoft.com/office/drawing/2014/main" id="{FE625AD9-0D01-4A7A-9046-6463646D3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8407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5 w 354"/>
                  <a:gd name="T7" fmla="*/ 210 h 333"/>
                  <a:gd name="T8" fmla="*/ 286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5" y="210"/>
                    </a:lnTo>
                    <a:lnTo>
                      <a:pt x="286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8">
                <a:extLst>
                  <a:ext uri="{FF2B5EF4-FFF2-40B4-BE49-F238E27FC236}">
                    <a16:creationId xmlns:a16="http://schemas.microsoft.com/office/drawing/2014/main" id="{669AD754-85CE-4C6B-9B4D-762D9471BF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1689" y="8888697"/>
                <a:ext cx="260687" cy="250787"/>
              </a:xfrm>
              <a:custGeom>
                <a:avLst/>
                <a:gdLst>
                  <a:gd name="T0" fmla="*/ 172 w 350"/>
                  <a:gd name="T1" fmla="*/ 0 h 333"/>
                  <a:gd name="T2" fmla="*/ 227 w 350"/>
                  <a:gd name="T3" fmla="*/ 109 h 333"/>
                  <a:gd name="T4" fmla="*/ 349 w 350"/>
                  <a:gd name="T5" fmla="*/ 126 h 333"/>
                  <a:gd name="T6" fmla="*/ 260 w 350"/>
                  <a:gd name="T7" fmla="*/ 210 h 333"/>
                  <a:gd name="T8" fmla="*/ 281 w 350"/>
                  <a:gd name="T9" fmla="*/ 332 h 333"/>
                  <a:gd name="T10" fmla="*/ 172 w 350"/>
                  <a:gd name="T11" fmla="*/ 273 h 333"/>
                  <a:gd name="T12" fmla="*/ 67 w 350"/>
                  <a:gd name="T13" fmla="*/ 332 h 333"/>
                  <a:gd name="T14" fmla="*/ 88 w 350"/>
                  <a:gd name="T15" fmla="*/ 210 h 333"/>
                  <a:gd name="T16" fmla="*/ 0 w 350"/>
                  <a:gd name="T17" fmla="*/ 126 h 333"/>
                  <a:gd name="T18" fmla="*/ 122 w 350"/>
                  <a:gd name="T19" fmla="*/ 109 h 333"/>
                  <a:gd name="T20" fmla="*/ 172 w 350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0" h="333">
                    <a:moveTo>
                      <a:pt x="172" y="0"/>
                    </a:moveTo>
                    <a:lnTo>
                      <a:pt x="227" y="109"/>
                    </a:lnTo>
                    <a:lnTo>
                      <a:pt x="349" y="126"/>
                    </a:lnTo>
                    <a:lnTo>
                      <a:pt x="260" y="210"/>
                    </a:lnTo>
                    <a:lnTo>
                      <a:pt x="281" y="332"/>
                    </a:lnTo>
                    <a:lnTo>
                      <a:pt x="172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2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">
                <a:extLst>
                  <a:ext uri="{FF2B5EF4-FFF2-40B4-BE49-F238E27FC236}">
                    <a16:creationId xmlns:a16="http://schemas.microsoft.com/office/drawing/2014/main" id="{C94DE621-6A70-49AD-9F06-7BDF685BF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1671" y="8888697"/>
                <a:ext cx="263986" cy="250787"/>
              </a:xfrm>
              <a:custGeom>
                <a:avLst/>
                <a:gdLst>
                  <a:gd name="T0" fmla="*/ 176 w 353"/>
                  <a:gd name="T1" fmla="*/ 0 h 333"/>
                  <a:gd name="T2" fmla="*/ 231 w 353"/>
                  <a:gd name="T3" fmla="*/ 109 h 333"/>
                  <a:gd name="T4" fmla="*/ 352 w 353"/>
                  <a:gd name="T5" fmla="*/ 126 h 333"/>
                  <a:gd name="T6" fmla="*/ 264 w 353"/>
                  <a:gd name="T7" fmla="*/ 210 h 333"/>
                  <a:gd name="T8" fmla="*/ 285 w 353"/>
                  <a:gd name="T9" fmla="*/ 332 h 333"/>
                  <a:gd name="T10" fmla="*/ 176 w 353"/>
                  <a:gd name="T11" fmla="*/ 273 h 333"/>
                  <a:gd name="T12" fmla="*/ 67 w 353"/>
                  <a:gd name="T13" fmla="*/ 332 h 333"/>
                  <a:gd name="T14" fmla="*/ 88 w 353"/>
                  <a:gd name="T15" fmla="*/ 210 h 333"/>
                  <a:gd name="T16" fmla="*/ 0 w 353"/>
                  <a:gd name="T17" fmla="*/ 126 h 333"/>
                  <a:gd name="T18" fmla="*/ 122 w 353"/>
                  <a:gd name="T19" fmla="*/ 109 h 333"/>
                  <a:gd name="T20" fmla="*/ 176 w 353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3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2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100">
                <a:extLst>
                  <a:ext uri="{FF2B5EF4-FFF2-40B4-BE49-F238E27FC236}">
                    <a16:creationId xmlns:a16="http://schemas.microsoft.com/office/drawing/2014/main" id="{7F611AB6-D67D-4868-B5D3-2B9172193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4955" y="8888697"/>
                <a:ext cx="263986" cy="250787"/>
              </a:xfrm>
              <a:custGeom>
                <a:avLst/>
                <a:gdLst>
                  <a:gd name="T0" fmla="*/ 176 w 354"/>
                  <a:gd name="T1" fmla="*/ 0 h 333"/>
                  <a:gd name="T2" fmla="*/ 231 w 354"/>
                  <a:gd name="T3" fmla="*/ 109 h 333"/>
                  <a:gd name="T4" fmla="*/ 353 w 354"/>
                  <a:gd name="T5" fmla="*/ 126 h 333"/>
                  <a:gd name="T6" fmla="*/ 264 w 354"/>
                  <a:gd name="T7" fmla="*/ 210 h 333"/>
                  <a:gd name="T8" fmla="*/ 285 w 354"/>
                  <a:gd name="T9" fmla="*/ 332 h 333"/>
                  <a:gd name="T10" fmla="*/ 176 w 354"/>
                  <a:gd name="T11" fmla="*/ 273 h 333"/>
                  <a:gd name="T12" fmla="*/ 67 w 354"/>
                  <a:gd name="T13" fmla="*/ 332 h 333"/>
                  <a:gd name="T14" fmla="*/ 88 w 354"/>
                  <a:gd name="T15" fmla="*/ 210 h 333"/>
                  <a:gd name="T16" fmla="*/ 0 w 354"/>
                  <a:gd name="T17" fmla="*/ 126 h 333"/>
                  <a:gd name="T18" fmla="*/ 122 w 354"/>
                  <a:gd name="T19" fmla="*/ 109 h 333"/>
                  <a:gd name="T20" fmla="*/ 176 w 354"/>
                  <a:gd name="T2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33">
                    <a:moveTo>
                      <a:pt x="176" y="0"/>
                    </a:moveTo>
                    <a:lnTo>
                      <a:pt x="231" y="109"/>
                    </a:lnTo>
                    <a:lnTo>
                      <a:pt x="353" y="126"/>
                    </a:lnTo>
                    <a:lnTo>
                      <a:pt x="264" y="210"/>
                    </a:lnTo>
                    <a:lnTo>
                      <a:pt x="285" y="332"/>
                    </a:lnTo>
                    <a:lnTo>
                      <a:pt x="176" y="273"/>
                    </a:lnTo>
                    <a:lnTo>
                      <a:pt x="67" y="332"/>
                    </a:lnTo>
                    <a:lnTo>
                      <a:pt x="88" y="210"/>
                    </a:lnTo>
                    <a:lnTo>
                      <a:pt x="0" y="126"/>
                    </a:lnTo>
                    <a:lnTo>
                      <a:pt x="122" y="109"/>
                    </a:lnTo>
                    <a:lnTo>
                      <a:pt x="176" y="0"/>
                    </a:lnTo>
                  </a:path>
                </a:pathLst>
              </a:custGeom>
              <a:solidFill>
                <a:srgbClr val="2C618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V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áfico 245">
              <a:extLst>
                <a:ext uri="{FF2B5EF4-FFF2-40B4-BE49-F238E27FC236}">
                  <a16:creationId xmlns:a16="http://schemas.microsoft.com/office/drawing/2014/main" id="{B350A8B5-713B-47E3-97DF-2F0C0367A4B5}"/>
                </a:ext>
              </a:extLst>
            </p:cNvPr>
            <p:cNvGrpSpPr/>
            <p:nvPr/>
          </p:nvGrpSpPr>
          <p:grpSpPr>
            <a:xfrm>
              <a:off x="5318712" y="9404871"/>
              <a:ext cx="1427890" cy="1427890"/>
              <a:chOff x="9790237" y="2867934"/>
              <a:chExt cx="597977" cy="597977"/>
            </a:xfrm>
            <a:solidFill>
              <a:srgbClr val="FF8E58"/>
            </a:solidFill>
          </p:grpSpPr>
          <p:sp>
            <p:nvSpPr>
              <p:cNvPr id="65" name="Forma libre 378">
                <a:extLst>
                  <a:ext uri="{FF2B5EF4-FFF2-40B4-BE49-F238E27FC236}">
                    <a16:creationId xmlns:a16="http://schemas.microsoft.com/office/drawing/2014/main" id="{8352333B-950B-4D2F-B937-E02C667F0F05}"/>
                  </a:ext>
                </a:extLst>
              </p:cNvPr>
              <p:cNvSpPr/>
              <p:nvPr/>
            </p:nvSpPr>
            <p:spPr>
              <a:xfrm>
                <a:off x="9789361" y="2966720"/>
                <a:ext cx="599145" cy="399430"/>
              </a:xfrm>
              <a:custGeom>
                <a:avLst/>
                <a:gdLst>
                  <a:gd name="connsiteX0" fmla="*/ 593537 w 599144"/>
                  <a:gd name="connsiteY0" fmla="*/ 28043 h 399429"/>
                  <a:gd name="connsiteX1" fmla="*/ 582138 w 599144"/>
                  <a:gd name="connsiteY1" fmla="*/ 26547 h 399429"/>
                  <a:gd name="connsiteX2" fmla="*/ 480577 w 599144"/>
                  <a:gd name="connsiteY2" fmla="*/ 63483 h 399429"/>
                  <a:gd name="connsiteX3" fmla="*/ 452352 w 599144"/>
                  <a:gd name="connsiteY3" fmla="*/ 89445 h 399429"/>
                  <a:gd name="connsiteX4" fmla="*/ 449919 w 599144"/>
                  <a:gd name="connsiteY4" fmla="*/ 96462 h 399429"/>
                  <a:gd name="connsiteX5" fmla="*/ 367861 w 599144"/>
                  <a:gd name="connsiteY5" fmla="*/ 64554 h 399429"/>
                  <a:gd name="connsiteX6" fmla="*/ 250836 w 599144"/>
                  <a:gd name="connsiteY6" fmla="*/ 76168 h 399429"/>
                  <a:gd name="connsiteX7" fmla="*/ 189789 w 599144"/>
                  <a:gd name="connsiteY7" fmla="*/ 80345 h 399429"/>
                  <a:gd name="connsiteX8" fmla="*/ 151921 w 599144"/>
                  <a:gd name="connsiteY8" fmla="*/ 83365 h 399429"/>
                  <a:gd name="connsiteX9" fmla="*/ 147379 w 599144"/>
                  <a:gd name="connsiteY9" fmla="*/ 64531 h 399429"/>
                  <a:gd name="connsiteX10" fmla="*/ 119154 w 599144"/>
                  <a:gd name="connsiteY10" fmla="*/ 38569 h 399429"/>
                  <a:gd name="connsiteX11" fmla="*/ 17592 w 599144"/>
                  <a:gd name="connsiteY11" fmla="*/ 1631 h 399429"/>
                  <a:gd name="connsiteX12" fmla="*/ 6194 w 599144"/>
                  <a:gd name="connsiteY12" fmla="*/ 3127 h 399429"/>
                  <a:gd name="connsiteX13" fmla="*/ 876 w 599144"/>
                  <a:gd name="connsiteY13" fmla="*/ 13335 h 399429"/>
                  <a:gd name="connsiteX14" fmla="*/ 876 w 599144"/>
                  <a:gd name="connsiteY14" fmla="*/ 262491 h 399429"/>
                  <a:gd name="connsiteX15" fmla="*/ 13334 w 599144"/>
                  <a:gd name="connsiteY15" fmla="*/ 274950 h 399429"/>
                  <a:gd name="connsiteX16" fmla="*/ 49722 w 599144"/>
                  <a:gd name="connsiteY16" fmla="*/ 274950 h 399429"/>
                  <a:gd name="connsiteX17" fmla="*/ 88904 w 599144"/>
                  <a:gd name="connsiteY17" fmla="*/ 255863 h 399429"/>
                  <a:gd name="connsiteX18" fmla="*/ 105892 w 599144"/>
                  <a:gd name="connsiteY18" fmla="*/ 268672 h 399429"/>
                  <a:gd name="connsiteX19" fmla="*/ 143326 w 599144"/>
                  <a:gd name="connsiteY19" fmla="*/ 297396 h 399429"/>
                  <a:gd name="connsiteX20" fmla="*/ 256591 w 599144"/>
                  <a:gd name="connsiteY20" fmla="*/ 385464 h 399429"/>
                  <a:gd name="connsiteX21" fmla="*/ 299864 w 599144"/>
                  <a:gd name="connsiteY21" fmla="*/ 399529 h 399429"/>
                  <a:gd name="connsiteX22" fmla="*/ 329258 w 599144"/>
                  <a:gd name="connsiteY22" fmla="*/ 391219 h 399429"/>
                  <a:gd name="connsiteX23" fmla="*/ 360475 w 599144"/>
                  <a:gd name="connsiteY23" fmla="*/ 390525 h 399429"/>
                  <a:gd name="connsiteX24" fmla="*/ 383578 w 599144"/>
                  <a:gd name="connsiteY24" fmla="*/ 367409 h 399429"/>
                  <a:gd name="connsiteX25" fmla="*/ 414625 w 599144"/>
                  <a:gd name="connsiteY25" fmla="*/ 362859 h 399429"/>
                  <a:gd name="connsiteX26" fmla="*/ 434868 w 599144"/>
                  <a:gd name="connsiteY26" fmla="*/ 342481 h 399429"/>
                  <a:gd name="connsiteX27" fmla="*/ 462083 w 599144"/>
                  <a:gd name="connsiteY27" fmla="*/ 333794 h 399429"/>
                  <a:gd name="connsiteX28" fmla="*/ 478407 w 599144"/>
                  <a:gd name="connsiteY28" fmla="*/ 296842 h 399429"/>
                  <a:gd name="connsiteX29" fmla="*/ 510008 w 599144"/>
                  <a:gd name="connsiteY29" fmla="*/ 279360 h 399429"/>
                  <a:gd name="connsiteX30" fmla="*/ 550006 w 599144"/>
                  <a:gd name="connsiteY30" fmla="*/ 299864 h 399429"/>
                  <a:gd name="connsiteX31" fmla="*/ 586394 w 599144"/>
                  <a:gd name="connsiteY31" fmla="*/ 299864 h 399429"/>
                  <a:gd name="connsiteX32" fmla="*/ 598852 w 599144"/>
                  <a:gd name="connsiteY32" fmla="*/ 287406 h 399429"/>
                  <a:gd name="connsiteX33" fmla="*/ 598852 w 599144"/>
                  <a:gd name="connsiteY33" fmla="*/ 38251 h 399429"/>
                  <a:gd name="connsiteX34" fmla="*/ 593537 w 599144"/>
                  <a:gd name="connsiteY34" fmla="*/ 28043 h 399429"/>
                  <a:gd name="connsiteX35" fmla="*/ 446962 w 599144"/>
                  <a:gd name="connsiteY35" fmla="*/ 314003 h 399429"/>
                  <a:gd name="connsiteX36" fmla="*/ 434200 w 599144"/>
                  <a:gd name="connsiteY36" fmla="*/ 316412 h 399429"/>
                  <a:gd name="connsiteX37" fmla="*/ 433720 w 599144"/>
                  <a:gd name="connsiteY37" fmla="*/ 316162 h 399429"/>
                  <a:gd name="connsiteX38" fmla="*/ 433106 w 599144"/>
                  <a:gd name="connsiteY38" fmla="*/ 315438 h 399429"/>
                  <a:gd name="connsiteX39" fmla="*/ 359636 w 599144"/>
                  <a:gd name="connsiteY39" fmla="*/ 241859 h 399429"/>
                  <a:gd name="connsiteX40" fmla="*/ 342032 w 599144"/>
                  <a:gd name="connsiteY40" fmla="*/ 241482 h 399429"/>
                  <a:gd name="connsiteX41" fmla="*/ 341655 w 599144"/>
                  <a:gd name="connsiteY41" fmla="*/ 259086 h 399429"/>
                  <a:gd name="connsiteX42" fmla="*/ 412505 w 599144"/>
                  <a:gd name="connsiteY42" fmla="*/ 330445 h 399429"/>
                  <a:gd name="connsiteX43" fmla="*/ 403470 w 599144"/>
                  <a:gd name="connsiteY43" fmla="*/ 340585 h 399429"/>
                  <a:gd name="connsiteX44" fmla="*/ 384053 w 599144"/>
                  <a:gd name="connsiteY44" fmla="*/ 341023 h 399429"/>
                  <a:gd name="connsiteX45" fmla="*/ 383727 w 599144"/>
                  <a:gd name="connsiteY45" fmla="*/ 340857 h 399429"/>
                  <a:gd name="connsiteX46" fmla="*/ 383346 w 599144"/>
                  <a:gd name="connsiteY46" fmla="*/ 340402 h 399429"/>
                  <a:gd name="connsiteX47" fmla="*/ 322444 w 599144"/>
                  <a:gd name="connsiteY47" fmla="*/ 279415 h 399429"/>
                  <a:gd name="connsiteX48" fmla="*/ 304840 w 599144"/>
                  <a:gd name="connsiteY48" fmla="*/ 278673 h 399429"/>
                  <a:gd name="connsiteX49" fmla="*/ 304098 w 599144"/>
                  <a:gd name="connsiteY49" fmla="*/ 296277 h 399429"/>
                  <a:gd name="connsiteX50" fmla="*/ 361872 w 599144"/>
                  <a:gd name="connsiteY50" fmla="*/ 354749 h 399429"/>
                  <a:gd name="connsiteX51" fmla="*/ 350413 w 599144"/>
                  <a:gd name="connsiteY51" fmla="*/ 367739 h 399429"/>
                  <a:gd name="connsiteX52" fmla="*/ 333394 w 599144"/>
                  <a:gd name="connsiteY52" fmla="*/ 365202 h 399429"/>
                  <a:gd name="connsiteX53" fmla="*/ 272540 w 599144"/>
                  <a:gd name="connsiteY53" fmla="*/ 304257 h 399429"/>
                  <a:gd name="connsiteX54" fmla="*/ 254936 w 599144"/>
                  <a:gd name="connsiteY54" fmla="*/ 303662 h 399429"/>
                  <a:gd name="connsiteX55" fmla="*/ 254340 w 599144"/>
                  <a:gd name="connsiteY55" fmla="*/ 321266 h 399429"/>
                  <a:gd name="connsiteX56" fmla="*/ 306267 w 599144"/>
                  <a:gd name="connsiteY56" fmla="*/ 374211 h 399429"/>
                  <a:gd name="connsiteX57" fmla="*/ 299864 w 599144"/>
                  <a:gd name="connsiteY57" fmla="*/ 374613 h 399429"/>
                  <a:gd name="connsiteX58" fmla="*/ 270277 w 599144"/>
                  <a:gd name="connsiteY58" fmla="*/ 364637 h 399429"/>
                  <a:gd name="connsiteX59" fmla="*/ 159336 w 599144"/>
                  <a:gd name="connsiteY59" fmla="*/ 278307 h 399429"/>
                  <a:gd name="connsiteX60" fmla="*/ 120856 w 599144"/>
                  <a:gd name="connsiteY60" fmla="*/ 248757 h 399429"/>
                  <a:gd name="connsiteX61" fmla="*/ 100000 w 599144"/>
                  <a:gd name="connsiteY61" fmla="*/ 232995 h 399429"/>
                  <a:gd name="connsiteX62" fmla="*/ 146645 w 599144"/>
                  <a:gd name="connsiteY62" fmla="*/ 108593 h 399429"/>
                  <a:gd name="connsiteX63" fmla="*/ 191977 w 599144"/>
                  <a:gd name="connsiteY63" fmla="*/ 105161 h 399429"/>
                  <a:gd name="connsiteX64" fmla="*/ 220553 w 599144"/>
                  <a:gd name="connsiteY64" fmla="*/ 102760 h 399429"/>
                  <a:gd name="connsiteX65" fmla="*/ 188011 w 599144"/>
                  <a:gd name="connsiteY65" fmla="*/ 167949 h 399429"/>
                  <a:gd name="connsiteX66" fmla="*/ 205664 w 599144"/>
                  <a:gd name="connsiteY66" fmla="*/ 194800 h 399429"/>
                  <a:gd name="connsiteX67" fmla="*/ 227053 w 599144"/>
                  <a:gd name="connsiteY67" fmla="*/ 200298 h 399429"/>
                  <a:gd name="connsiteX68" fmla="*/ 281860 w 599144"/>
                  <a:gd name="connsiteY68" fmla="*/ 174530 h 399429"/>
                  <a:gd name="connsiteX69" fmla="*/ 310121 w 599144"/>
                  <a:gd name="connsiteY69" fmla="*/ 165564 h 399429"/>
                  <a:gd name="connsiteX70" fmla="*/ 364856 w 599144"/>
                  <a:gd name="connsiteY70" fmla="*/ 212366 h 399429"/>
                  <a:gd name="connsiteX71" fmla="*/ 451952 w 599144"/>
                  <a:gd name="connsiteY71" fmla="*/ 294036 h 399429"/>
                  <a:gd name="connsiteX72" fmla="*/ 446962 w 599144"/>
                  <a:gd name="connsiteY72" fmla="*/ 314003 h 39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599144" h="399429">
                    <a:moveTo>
                      <a:pt x="593537" y="28043"/>
                    </a:moveTo>
                    <a:cubicBezTo>
                      <a:pt x="590215" y="25708"/>
                      <a:pt x="585957" y="25135"/>
                      <a:pt x="582138" y="26547"/>
                    </a:cubicBezTo>
                    <a:lnTo>
                      <a:pt x="480577" y="63483"/>
                    </a:lnTo>
                    <a:cubicBezTo>
                      <a:pt x="467986" y="68058"/>
                      <a:pt x="457960" y="77280"/>
                      <a:pt x="452352" y="89445"/>
                    </a:cubicBezTo>
                    <a:cubicBezTo>
                      <a:pt x="451301" y="91726"/>
                      <a:pt x="450611" y="94095"/>
                      <a:pt x="449919" y="96462"/>
                    </a:cubicBezTo>
                    <a:cubicBezTo>
                      <a:pt x="432480" y="91504"/>
                      <a:pt x="400070" y="81149"/>
                      <a:pt x="367861" y="64554"/>
                    </a:cubicBezTo>
                    <a:cubicBezTo>
                      <a:pt x="326304" y="43135"/>
                      <a:pt x="291130" y="45872"/>
                      <a:pt x="250836" y="76168"/>
                    </a:cubicBezTo>
                    <a:cubicBezTo>
                      <a:pt x="234636" y="76440"/>
                      <a:pt x="211999" y="78388"/>
                      <a:pt x="189789" y="80345"/>
                    </a:cubicBezTo>
                    <a:cubicBezTo>
                      <a:pt x="175823" y="81578"/>
                      <a:pt x="162624" y="82712"/>
                      <a:pt x="151921" y="83365"/>
                    </a:cubicBezTo>
                    <a:cubicBezTo>
                      <a:pt x="151658" y="76936"/>
                      <a:pt x="150154" y="70557"/>
                      <a:pt x="147379" y="64531"/>
                    </a:cubicBezTo>
                    <a:cubicBezTo>
                      <a:pt x="141771" y="52364"/>
                      <a:pt x="131746" y="43142"/>
                      <a:pt x="119154" y="38569"/>
                    </a:cubicBezTo>
                    <a:lnTo>
                      <a:pt x="17592" y="1631"/>
                    </a:lnTo>
                    <a:cubicBezTo>
                      <a:pt x="13785" y="232"/>
                      <a:pt x="9502" y="804"/>
                      <a:pt x="6194" y="3127"/>
                    </a:cubicBezTo>
                    <a:cubicBezTo>
                      <a:pt x="2859" y="5464"/>
                      <a:pt x="876" y="9271"/>
                      <a:pt x="876" y="13335"/>
                    </a:cubicBezTo>
                    <a:lnTo>
                      <a:pt x="876" y="262491"/>
                    </a:lnTo>
                    <a:cubicBezTo>
                      <a:pt x="876" y="269377"/>
                      <a:pt x="6448" y="274950"/>
                      <a:pt x="13334" y="274950"/>
                    </a:cubicBezTo>
                    <a:lnTo>
                      <a:pt x="49722" y="274950"/>
                    </a:lnTo>
                    <a:cubicBezTo>
                      <a:pt x="65198" y="274950"/>
                      <a:pt x="79596" y="267650"/>
                      <a:pt x="88904" y="255863"/>
                    </a:cubicBezTo>
                    <a:cubicBezTo>
                      <a:pt x="93861" y="259633"/>
                      <a:pt x="99734" y="264048"/>
                      <a:pt x="105892" y="268672"/>
                    </a:cubicBezTo>
                    <a:cubicBezTo>
                      <a:pt x="120430" y="279610"/>
                      <a:pt x="136343" y="291543"/>
                      <a:pt x="143326" y="297396"/>
                    </a:cubicBezTo>
                    <a:cubicBezTo>
                      <a:pt x="189715" y="336229"/>
                      <a:pt x="245484" y="378165"/>
                      <a:pt x="256591" y="385464"/>
                    </a:cubicBezTo>
                    <a:cubicBezTo>
                      <a:pt x="266968" y="392277"/>
                      <a:pt x="285654" y="399529"/>
                      <a:pt x="299864" y="399529"/>
                    </a:cubicBezTo>
                    <a:cubicBezTo>
                      <a:pt x="305424" y="399529"/>
                      <a:pt x="319427" y="399529"/>
                      <a:pt x="329258" y="391219"/>
                    </a:cubicBezTo>
                    <a:cubicBezTo>
                      <a:pt x="339392" y="395197"/>
                      <a:pt x="350316" y="395003"/>
                      <a:pt x="360475" y="390525"/>
                    </a:cubicBezTo>
                    <a:cubicBezTo>
                      <a:pt x="370609" y="386060"/>
                      <a:pt x="378809" y="377642"/>
                      <a:pt x="383578" y="367409"/>
                    </a:cubicBezTo>
                    <a:cubicBezTo>
                      <a:pt x="393310" y="369404"/>
                      <a:pt x="404491" y="367944"/>
                      <a:pt x="414625" y="362859"/>
                    </a:cubicBezTo>
                    <a:cubicBezTo>
                      <a:pt x="424126" y="358102"/>
                      <a:pt x="431122" y="350900"/>
                      <a:pt x="434868" y="342481"/>
                    </a:cubicBezTo>
                    <a:cubicBezTo>
                      <a:pt x="443871" y="343308"/>
                      <a:pt x="453483" y="340377"/>
                      <a:pt x="462083" y="333794"/>
                    </a:cubicBezTo>
                    <a:cubicBezTo>
                      <a:pt x="474372" y="324401"/>
                      <a:pt x="479999" y="310528"/>
                      <a:pt x="478407" y="296842"/>
                    </a:cubicBezTo>
                    <a:lnTo>
                      <a:pt x="510008" y="279360"/>
                    </a:lnTo>
                    <a:cubicBezTo>
                      <a:pt x="519262" y="291904"/>
                      <a:pt x="533971" y="299864"/>
                      <a:pt x="550006" y="299864"/>
                    </a:cubicBezTo>
                    <a:lnTo>
                      <a:pt x="586394" y="299864"/>
                    </a:lnTo>
                    <a:cubicBezTo>
                      <a:pt x="593280" y="299864"/>
                      <a:pt x="598852" y="294292"/>
                      <a:pt x="598852" y="287406"/>
                    </a:cubicBezTo>
                    <a:lnTo>
                      <a:pt x="598852" y="38251"/>
                    </a:lnTo>
                    <a:cubicBezTo>
                      <a:pt x="598853" y="34187"/>
                      <a:pt x="596870" y="30379"/>
                      <a:pt x="593537" y="28043"/>
                    </a:cubicBezTo>
                    <a:close/>
                    <a:moveTo>
                      <a:pt x="446962" y="314003"/>
                    </a:moveTo>
                    <a:cubicBezTo>
                      <a:pt x="442740" y="317239"/>
                      <a:pt x="436828" y="319040"/>
                      <a:pt x="434200" y="316412"/>
                    </a:cubicBezTo>
                    <a:cubicBezTo>
                      <a:pt x="434066" y="316278"/>
                      <a:pt x="433858" y="316291"/>
                      <a:pt x="433720" y="316162"/>
                    </a:cubicBezTo>
                    <a:cubicBezTo>
                      <a:pt x="433482" y="315941"/>
                      <a:pt x="433364" y="315644"/>
                      <a:pt x="433106" y="315438"/>
                    </a:cubicBezTo>
                    <a:cubicBezTo>
                      <a:pt x="424200" y="308406"/>
                      <a:pt x="384296" y="267578"/>
                      <a:pt x="359636" y="241859"/>
                    </a:cubicBezTo>
                    <a:cubicBezTo>
                      <a:pt x="354880" y="236883"/>
                      <a:pt x="346984" y="236700"/>
                      <a:pt x="342032" y="241482"/>
                    </a:cubicBezTo>
                    <a:cubicBezTo>
                      <a:pt x="337057" y="246239"/>
                      <a:pt x="336886" y="254122"/>
                      <a:pt x="341655" y="259086"/>
                    </a:cubicBezTo>
                    <a:cubicBezTo>
                      <a:pt x="347443" y="265127"/>
                      <a:pt x="393908" y="313520"/>
                      <a:pt x="412505" y="330445"/>
                    </a:cubicBezTo>
                    <a:cubicBezTo>
                      <a:pt x="411116" y="335915"/>
                      <a:pt x="406045" y="339293"/>
                      <a:pt x="403470" y="340585"/>
                    </a:cubicBezTo>
                    <a:cubicBezTo>
                      <a:pt x="395489" y="344587"/>
                      <a:pt x="387168" y="343918"/>
                      <a:pt x="384053" y="341023"/>
                    </a:cubicBezTo>
                    <a:cubicBezTo>
                      <a:pt x="383961" y="340936"/>
                      <a:pt x="383822" y="340941"/>
                      <a:pt x="383727" y="340857"/>
                    </a:cubicBezTo>
                    <a:cubicBezTo>
                      <a:pt x="383575" y="340721"/>
                      <a:pt x="383508" y="340531"/>
                      <a:pt x="383346" y="340402"/>
                    </a:cubicBezTo>
                    <a:cubicBezTo>
                      <a:pt x="368406" y="328467"/>
                      <a:pt x="330924" y="288636"/>
                      <a:pt x="322444" y="279415"/>
                    </a:cubicBezTo>
                    <a:cubicBezTo>
                      <a:pt x="317784" y="274341"/>
                      <a:pt x="309913" y="274025"/>
                      <a:pt x="304840" y="278673"/>
                    </a:cubicBezTo>
                    <a:cubicBezTo>
                      <a:pt x="299779" y="283333"/>
                      <a:pt x="299438" y="291216"/>
                      <a:pt x="304098" y="296277"/>
                    </a:cubicBezTo>
                    <a:cubicBezTo>
                      <a:pt x="304507" y="296720"/>
                      <a:pt x="341240" y="336344"/>
                      <a:pt x="361872" y="354749"/>
                    </a:cubicBezTo>
                    <a:cubicBezTo>
                      <a:pt x="359844" y="360575"/>
                      <a:pt x="355713" y="365399"/>
                      <a:pt x="350413" y="367739"/>
                    </a:cubicBezTo>
                    <a:cubicBezTo>
                      <a:pt x="346502" y="369477"/>
                      <a:pt x="340384" y="370368"/>
                      <a:pt x="333394" y="365202"/>
                    </a:cubicBezTo>
                    <a:cubicBezTo>
                      <a:pt x="315504" y="350033"/>
                      <a:pt x="279601" y="311815"/>
                      <a:pt x="272540" y="304257"/>
                    </a:cubicBezTo>
                    <a:cubicBezTo>
                      <a:pt x="267856" y="299220"/>
                      <a:pt x="259948" y="298966"/>
                      <a:pt x="254936" y="303662"/>
                    </a:cubicBezTo>
                    <a:cubicBezTo>
                      <a:pt x="249911" y="308358"/>
                      <a:pt x="249644" y="316242"/>
                      <a:pt x="254340" y="321266"/>
                    </a:cubicBezTo>
                    <a:cubicBezTo>
                      <a:pt x="262712" y="330226"/>
                      <a:pt x="287456" y="356453"/>
                      <a:pt x="306267" y="374211"/>
                    </a:cubicBezTo>
                    <a:cubicBezTo>
                      <a:pt x="304166" y="374467"/>
                      <a:pt x="301960" y="374613"/>
                      <a:pt x="299864" y="374613"/>
                    </a:cubicBezTo>
                    <a:cubicBezTo>
                      <a:pt x="291615" y="374613"/>
                      <a:pt x="277443" y="369346"/>
                      <a:pt x="270277" y="364637"/>
                    </a:cubicBezTo>
                    <a:cubicBezTo>
                      <a:pt x="261543" y="358894"/>
                      <a:pt x="206698" y="317969"/>
                      <a:pt x="159336" y="278307"/>
                    </a:cubicBezTo>
                    <a:cubicBezTo>
                      <a:pt x="152171" y="272297"/>
                      <a:pt x="135820" y="259998"/>
                      <a:pt x="120856" y="248757"/>
                    </a:cubicBezTo>
                    <a:cubicBezTo>
                      <a:pt x="112835" y="242736"/>
                      <a:pt x="105446" y="237185"/>
                      <a:pt x="100000" y="232995"/>
                    </a:cubicBezTo>
                    <a:lnTo>
                      <a:pt x="146645" y="108593"/>
                    </a:lnTo>
                    <a:cubicBezTo>
                      <a:pt x="158752" y="108064"/>
                      <a:pt x="174894" y="106668"/>
                      <a:pt x="191977" y="105161"/>
                    </a:cubicBezTo>
                    <a:cubicBezTo>
                      <a:pt x="201640" y="104310"/>
                      <a:pt x="211310" y="103480"/>
                      <a:pt x="220553" y="102760"/>
                    </a:cubicBezTo>
                    <a:cubicBezTo>
                      <a:pt x="206348" y="117336"/>
                      <a:pt x="185227" y="143465"/>
                      <a:pt x="188011" y="167949"/>
                    </a:cubicBezTo>
                    <a:cubicBezTo>
                      <a:pt x="189289" y="179093"/>
                      <a:pt x="195384" y="188376"/>
                      <a:pt x="205664" y="194800"/>
                    </a:cubicBezTo>
                    <a:cubicBezTo>
                      <a:pt x="211504" y="198449"/>
                      <a:pt x="218707" y="200298"/>
                      <a:pt x="227053" y="200298"/>
                    </a:cubicBezTo>
                    <a:cubicBezTo>
                      <a:pt x="244754" y="200298"/>
                      <a:pt x="268210" y="191478"/>
                      <a:pt x="281860" y="174530"/>
                    </a:cubicBezTo>
                    <a:cubicBezTo>
                      <a:pt x="293575" y="172839"/>
                      <a:pt x="301483" y="169847"/>
                      <a:pt x="310121" y="165564"/>
                    </a:cubicBezTo>
                    <a:cubicBezTo>
                      <a:pt x="324720" y="179287"/>
                      <a:pt x="344295" y="195420"/>
                      <a:pt x="364856" y="212366"/>
                    </a:cubicBezTo>
                    <a:cubicBezTo>
                      <a:pt x="400648" y="241856"/>
                      <a:pt x="441221" y="275288"/>
                      <a:pt x="451952" y="294036"/>
                    </a:cubicBezTo>
                    <a:cubicBezTo>
                      <a:pt x="457923" y="304464"/>
                      <a:pt x="449639" y="311959"/>
                      <a:pt x="446962" y="314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áfico 253">
              <a:extLst>
                <a:ext uri="{FF2B5EF4-FFF2-40B4-BE49-F238E27FC236}">
                  <a16:creationId xmlns:a16="http://schemas.microsoft.com/office/drawing/2014/main" id="{E0F1F873-49AA-41FE-ABF7-2D320D825E11}"/>
                </a:ext>
              </a:extLst>
            </p:cNvPr>
            <p:cNvGrpSpPr/>
            <p:nvPr/>
          </p:nvGrpSpPr>
          <p:grpSpPr>
            <a:xfrm>
              <a:off x="2226236" y="9146737"/>
              <a:ext cx="1611086" cy="1281951"/>
              <a:chOff x="5171013" y="5732892"/>
              <a:chExt cx="570832" cy="428123"/>
            </a:xfrm>
            <a:solidFill>
              <a:srgbClr val="2C6187"/>
            </a:solidFill>
          </p:grpSpPr>
          <p:sp>
            <p:nvSpPr>
              <p:cNvPr id="57" name="Forma libre 380">
                <a:extLst>
                  <a:ext uri="{FF2B5EF4-FFF2-40B4-BE49-F238E27FC236}">
                    <a16:creationId xmlns:a16="http://schemas.microsoft.com/office/drawing/2014/main" id="{D6C93F46-67DC-495B-B517-BBEA9C93780E}"/>
                  </a:ext>
                </a:extLst>
              </p:cNvPr>
              <p:cNvSpPr/>
              <p:nvPr/>
            </p:nvSpPr>
            <p:spPr>
              <a:xfrm>
                <a:off x="5432644" y="5805158"/>
                <a:ext cx="309199" cy="118010"/>
              </a:xfrm>
              <a:custGeom>
                <a:avLst/>
                <a:gdLst>
                  <a:gd name="connsiteX0" fmla="*/ 0 w 309199"/>
                  <a:gd name="connsiteY0" fmla="*/ 58549 h 118010"/>
                  <a:gd name="connsiteX1" fmla="*/ 154600 w 309199"/>
                  <a:gd name="connsiteY1" fmla="*/ 118010 h 118010"/>
                  <a:gd name="connsiteX2" fmla="*/ 309200 w 309199"/>
                  <a:gd name="connsiteY2" fmla="*/ 58549 h 118010"/>
                  <a:gd name="connsiteX3" fmla="*/ 0 w 309199"/>
                  <a:gd name="connsiteY3" fmla="*/ 58549 h 11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199" h="118010">
                    <a:moveTo>
                      <a:pt x="0" y="58549"/>
                    </a:moveTo>
                    <a:cubicBezTo>
                      <a:pt x="0" y="97582"/>
                      <a:pt x="77776" y="118010"/>
                      <a:pt x="154600" y="118010"/>
                    </a:cubicBezTo>
                    <a:cubicBezTo>
                      <a:pt x="231425" y="118010"/>
                      <a:pt x="309200" y="97583"/>
                      <a:pt x="309200" y="58549"/>
                    </a:cubicBezTo>
                    <a:cubicBezTo>
                      <a:pt x="309200" y="-19516"/>
                      <a:pt x="0" y="-19516"/>
                      <a:pt x="0" y="58549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orma libre 381">
                <a:extLst>
                  <a:ext uri="{FF2B5EF4-FFF2-40B4-BE49-F238E27FC236}">
                    <a16:creationId xmlns:a16="http://schemas.microsoft.com/office/drawing/2014/main" id="{73776B17-90FB-4DD9-BE06-81641F4210E0}"/>
                  </a:ext>
                </a:extLst>
              </p:cNvPr>
              <p:cNvSpPr/>
              <p:nvPr/>
            </p:nvSpPr>
            <p:spPr>
              <a:xfrm>
                <a:off x="5171013" y="5971651"/>
                <a:ext cx="309200" cy="118011"/>
              </a:xfrm>
              <a:custGeom>
                <a:avLst/>
                <a:gdLst>
                  <a:gd name="connsiteX0" fmla="*/ 0 w 309200"/>
                  <a:gd name="connsiteY0" fmla="*/ 58550 h 118011"/>
                  <a:gd name="connsiteX1" fmla="*/ 154600 w 309200"/>
                  <a:gd name="connsiteY1" fmla="*/ 118011 h 118011"/>
                  <a:gd name="connsiteX2" fmla="*/ 309201 w 309200"/>
                  <a:gd name="connsiteY2" fmla="*/ 58550 h 118011"/>
                  <a:gd name="connsiteX3" fmla="*/ 0 w 309200"/>
                  <a:gd name="connsiteY3" fmla="*/ 58550 h 11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00" h="118011">
                    <a:moveTo>
                      <a:pt x="0" y="58550"/>
                    </a:moveTo>
                    <a:cubicBezTo>
                      <a:pt x="0" y="97583"/>
                      <a:pt x="77776" y="118011"/>
                      <a:pt x="154600" y="118011"/>
                    </a:cubicBezTo>
                    <a:cubicBezTo>
                      <a:pt x="231425" y="118011"/>
                      <a:pt x="309201" y="97583"/>
                      <a:pt x="309201" y="58550"/>
                    </a:cubicBezTo>
                    <a:cubicBezTo>
                      <a:pt x="309200" y="-19517"/>
                      <a:pt x="0" y="-19517"/>
                      <a:pt x="0" y="5855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orma libre 382">
                <a:extLst>
                  <a:ext uri="{FF2B5EF4-FFF2-40B4-BE49-F238E27FC236}">
                    <a16:creationId xmlns:a16="http://schemas.microsoft.com/office/drawing/2014/main" id="{C4BA8014-84B5-4D16-973C-C9CA70A57691}"/>
                  </a:ext>
                </a:extLst>
              </p:cNvPr>
              <p:cNvSpPr/>
              <p:nvPr/>
            </p:nvSpPr>
            <p:spPr>
              <a:xfrm>
                <a:off x="5171013" y="6086082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3 h 74933"/>
                  <a:gd name="connsiteX9" fmla="*/ 309201 w 309200"/>
                  <a:gd name="connsiteY9" fmla="*/ 11884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898" y="-427"/>
                      <a:pt x="295473" y="-577"/>
                      <a:pt x="291792" y="1350"/>
                    </a:cubicBezTo>
                    <a:cubicBezTo>
                      <a:pt x="259762" y="18121"/>
                      <a:pt x="211042" y="27364"/>
                      <a:pt x="154600" y="27364"/>
                    </a:cubicBezTo>
                    <a:cubicBezTo>
                      <a:pt x="98158" y="27364"/>
                      <a:pt x="49439" y="18121"/>
                      <a:pt x="17409" y="1350"/>
                    </a:cubicBezTo>
                    <a:cubicBezTo>
                      <a:pt x="13728" y="-577"/>
                      <a:pt x="9279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3"/>
                    </a:cubicBezTo>
                    <a:lnTo>
                      <a:pt x="309201" y="11884"/>
                    </a:lnTo>
                    <a:cubicBezTo>
                      <a:pt x="309200" y="7726"/>
                      <a:pt x="307028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orma libre 383">
                <a:extLst>
                  <a:ext uri="{FF2B5EF4-FFF2-40B4-BE49-F238E27FC236}">
                    <a16:creationId xmlns:a16="http://schemas.microsoft.com/office/drawing/2014/main" id="{7826BAD9-C8C6-442D-A366-D769E7419F49}"/>
                  </a:ext>
                </a:extLst>
              </p:cNvPr>
              <p:cNvSpPr/>
              <p:nvPr/>
            </p:nvSpPr>
            <p:spPr>
              <a:xfrm>
                <a:off x="5242366" y="5732892"/>
                <a:ext cx="296088" cy="118923"/>
              </a:xfrm>
              <a:custGeom>
                <a:avLst/>
                <a:gdLst>
                  <a:gd name="connsiteX0" fmla="*/ 154600 w 296088"/>
                  <a:gd name="connsiteY0" fmla="*/ 118924 h 118923"/>
                  <a:gd name="connsiteX1" fmla="*/ 158991 w 296088"/>
                  <a:gd name="connsiteY1" fmla="*/ 118853 h 118923"/>
                  <a:gd name="connsiteX2" fmla="*/ 170012 w 296088"/>
                  <a:gd name="connsiteY2" fmla="*/ 111188 h 118923"/>
                  <a:gd name="connsiteX3" fmla="*/ 285776 w 296088"/>
                  <a:gd name="connsiteY3" fmla="*/ 51425 h 118923"/>
                  <a:gd name="connsiteX4" fmla="*/ 295728 w 296088"/>
                  <a:gd name="connsiteY4" fmla="*/ 42540 h 118923"/>
                  <a:gd name="connsiteX5" fmla="*/ 291176 w 296088"/>
                  <a:gd name="connsiteY5" fmla="*/ 30009 h 118923"/>
                  <a:gd name="connsiteX6" fmla="*/ 154600 w 296088"/>
                  <a:gd name="connsiteY6" fmla="*/ 0 h 118923"/>
                  <a:gd name="connsiteX7" fmla="*/ 0 w 296088"/>
                  <a:gd name="connsiteY7" fmla="*/ 59461 h 118923"/>
                  <a:gd name="connsiteX8" fmla="*/ 154600 w 296088"/>
                  <a:gd name="connsiteY8" fmla="*/ 118924 h 11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088" h="118923">
                    <a:moveTo>
                      <a:pt x="154600" y="118924"/>
                    </a:moveTo>
                    <a:lnTo>
                      <a:pt x="158991" y="118853"/>
                    </a:lnTo>
                    <a:cubicBezTo>
                      <a:pt x="163892" y="118819"/>
                      <a:pt x="168270" y="115776"/>
                      <a:pt x="170012" y="111188"/>
                    </a:cubicBezTo>
                    <a:cubicBezTo>
                      <a:pt x="181463" y="81120"/>
                      <a:pt x="222575" y="59892"/>
                      <a:pt x="285776" y="51425"/>
                    </a:cubicBezTo>
                    <a:cubicBezTo>
                      <a:pt x="290595" y="50775"/>
                      <a:pt x="294532" y="47267"/>
                      <a:pt x="295728" y="42540"/>
                    </a:cubicBezTo>
                    <a:cubicBezTo>
                      <a:pt x="296914" y="37825"/>
                      <a:pt x="295113" y="32866"/>
                      <a:pt x="291176" y="30009"/>
                    </a:cubicBezTo>
                    <a:cubicBezTo>
                      <a:pt x="265649" y="11498"/>
                      <a:pt x="213318" y="0"/>
                      <a:pt x="154600" y="0"/>
                    </a:cubicBezTo>
                    <a:cubicBezTo>
                      <a:pt x="77776" y="0"/>
                      <a:pt x="0" y="20428"/>
                      <a:pt x="0" y="59461"/>
                    </a:cubicBezTo>
                    <a:cubicBezTo>
                      <a:pt x="0" y="98495"/>
                      <a:pt x="77776" y="118924"/>
                      <a:pt x="154600" y="11892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orma libre 384">
                <a:extLst>
                  <a:ext uri="{FF2B5EF4-FFF2-40B4-BE49-F238E27FC236}">
                    <a16:creationId xmlns:a16="http://schemas.microsoft.com/office/drawing/2014/main" id="{900577B9-9714-4655-82D3-35D86FCE79A7}"/>
                  </a:ext>
                </a:extLst>
              </p:cNvPr>
              <p:cNvSpPr/>
              <p:nvPr/>
            </p:nvSpPr>
            <p:spPr>
              <a:xfrm>
                <a:off x="5242366" y="5848236"/>
                <a:ext cx="177964" cy="74933"/>
              </a:xfrm>
              <a:custGeom>
                <a:avLst/>
                <a:gdLst>
                  <a:gd name="connsiteX0" fmla="*/ 154600 w 177964"/>
                  <a:gd name="connsiteY0" fmla="*/ 74934 h 74933"/>
                  <a:gd name="connsiteX1" fmla="*/ 159641 w 177964"/>
                  <a:gd name="connsiteY1" fmla="*/ 74853 h 74933"/>
                  <a:gd name="connsiteX2" fmla="*/ 170233 w 177964"/>
                  <a:gd name="connsiteY2" fmla="*/ 68210 h 74933"/>
                  <a:gd name="connsiteX3" fmla="*/ 175145 w 177964"/>
                  <a:gd name="connsiteY3" fmla="*/ 60417 h 74933"/>
                  <a:gd name="connsiteX4" fmla="*/ 175923 w 177964"/>
                  <a:gd name="connsiteY4" fmla="*/ 46062 h 74933"/>
                  <a:gd name="connsiteX5" fmla="*/ 170209 w 177964"/>
                  <a:gd name="connsiteY5" fmla="*/ 34867 h 74933"/>
                  <a:gd name="connsiteX6" fmla="*/ 156993 w 177964"/>
                  <a:gd name="connsiteY6" fmla="*/ 27318 h 74933"/>
                  <a:gd name="connsiteX7" fmla="*/ 154600 w 177964"/>
                  <a:gd name="connsiteY7" fmla="*/ 27364 h 74933"/>
                  <a:gd name="connsiteX8" fmla="*/ 17409 w 177964"/>
                  <a:gd name="connsiteY8" fmla="*/ 1350 h 74933"/>
                  <a:gd name="connsiteX9" fmla="*/ 5737 w 177964"/>
                  <a:gd name="connsiteY9" fmla="*/ 1710 h 74933"/>
                  <a:gd name="connsiteX10" fmla="*/ 0 w 177964"/>
                  <a:gd name="connsiteY10" fmla="*/ 11884 h 74933"/>
                  <a:gd name="connsiteX11" fmla="*/ 0 w 177964"/>
                  <a:gd name="connsiteY11" fmla="*/ 15473 h 74933"/>
                  <a:gd name="connsiteX12" fmla="*/ 154600 w 177964"/>
                  <a:gd name="connsiteY12" fmla="*/ 74934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964" h="74933">
                    <a:moveTo>
                      <a:pt x="154600" y="74934"/>
                    </a:moveTo>
                    <a:lnTo>
                      <a:pt x="159641" y="74853"/>
                    </a:lnTo>
                    <a:cubicBezTo>
                      <a:pt x="164147" y="74818"/>
                      <a:pt x="168247" y="72252"/>
                      <a:pt x="170233" y="68210"/>
                    </a:cubicBezTo>
                    <a:cubicBezTo>
                      <a:pt x="171800" y="65016"/>
                      <a:pt x="173414" y="62473"/>
                      <a:pt x="175145" y="60417"/>
                    </a:cubicBezTo>
                    <a:cubicBezTo>
                      <a:pt x="178594" y="56341"/>
                      <a:pt x="178908" y="50475"/>
                      <a:pt x="175923" y="46062"/>
                    </a:cubicBezTo>
                    <a:cubicBezTo>
                      <a:pt x="173762" y="42857"/>
                      <a:pt x="171881" y="39199"/>
                      <a:pt x="170209" y="34867"/>
                    </a:cubicBezTo>
                    <a:cubicBezTo>
                      <a:pt x="168386" y="30163"/>
                      <a:pt x="161406" y="27318"/>
                      <a:pt x="156993" y="27318"/>
                    </a:cubicBezTo>
                    <a:lnTo>
                      <a:pt x="154600" y="27364"/>
                    </a:ln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orma libre 385">
                <a:extLst>
                  <a:ext uri="{FF2B5EF4-FFF2-40B4-BE49-F238E27FC236}">
                    <a16:creationId xmlns:a16="http://schemas.microsoft.com/office/drawing/2014/main" id="{2E06DD10-8790-4FC2-8C99-E1BBD6F45B20}"/>
                  </a:ext>
                </a:extLst>
              </p:cNvPr>
              <p:cNvSpPr/>
              <p:nvPr/>
            </p:nvSpPr>
            <p:spPr>
              <a:xfrm>
                <a:off x="5501696" y="5990943"/>
                <a:ext cx="240148" cy="74933"/>
              </a:xfrm>
              <a:custGeom>
                <a:avLst/>
                <a:gdLst>
                  <a:gd name="connsiteX0" fmla="*/ 234411 w 240148"/>
                  <a:gd name="connsiteY0" fmla="*/ 1710 h 74933"/>
                  <a:gd name="connsiteX1" fmla="*/ 222739 w 240148"/>
                  <a:gd name="connsiteY1" fmla="*/ 1350 h 74933"/>
                  <a:gd name="connsiteX2" fmla="*/ 85547 w 240148"/>
                  <a:gd name="connsiteY2" fmla="*/ 27364 h 74933"/>
                  <a:gd name="connsiteX3" fmla="*/ 15634 w 240148"/>
                  <a:gd name="connsiteY3" fmla="*/ 21895 h 74933"/>
                  <a:gd name="connsiteX4" fmla="*/ 5647 w 240148"/>
                  <a:gd name="connsiteY4" fmla="*/ 24868 h 74933"/>
                  <a:gd name="connsiteX5" fmla="*/ 1837 w 240148"/>
                  <a:gd name="connsiteY5" fmla="*/ 34577 h 74933"/>
                  <a:gd name="connsiteX6" fmla="*/ 2302 w 240148"/>
                  <a:gd name="connsiteY6" fmla="*/ 39257 h 74933"/>
                  <a:gd name="connsiteX7" fmla="*/ 385 w 240148"/>
                  <a:gd name="connsiteY7" fmla="*/ 53147 h 74933"/>
                  <a:gd name="connsiteX8" fmla="*/ 1802 w 240148"/>
                  <a:gd name="connsiteY8" fmla="*/ 62449 h 74933"/>
                  <a:gd name="connsiteX9" fmla="*/ 9538 w 240148"/>
                  <a:gd name="connsiteY9" fmla="*/ 67815 h 74933"/>
                  <a:gd name="connsiteX10" fmla="*/ 85549 w 240148"/>
                  <a:gd name="connsiteY10" fmla="*/ 74934 h 74933"/>
                  <a:gd name="connsiteX11" fmla="*/ 240149 w 240148"/>
                  <a:gd name="connsiteY11" fmla="*/ 15473 h 74933"/>
                  <a:gd name="connsiteX12" fmla="*/ 240149 w 240148"/>
                  <a:gd name="connsiteY12" fmla="*/ 11884 h 74933"/>
                  <a:gd name="connsiteX13" fmla="*/ 234411 w 240148"/>
                  <a:gd name="connsiteY13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0148" h="74933">
                    <a:moveTo>
                      <a:pt x="234411" y="1710"/>
                    </a:moveTo>
                    <a:cubicBezTo>
                      <a:pt x="230856" y="-427"/>
                      <a:pt x="226409" y="-577"/>
                      <a:pt x="222739" y="1350"/>
                    </a:cubicBezTo>
                    <a:cubicBezTo>
                      <a:pt x="190709" y="18120"/>
                      <a:pt x="141989" y="27364"/>
                      <a:pt x="85547" y="27364"/>
                    </a:cubicBezTo>
                    <a:cubicBezTo>
                      <a:pt x="61148" y="27364"/>
                      <a:pt x="37630" y="25518"/>
                      <a:pt x="15634" y="21895"/>
                    </a:cubicBezTo>
                    <a:cubicBezTo>
                      <a:pt x="11999" y="21337"/>
                      <a:pt x="8329" y="22394"/>
                      <a:pt x="5647" y="24868"/>
                    </a:cubicBezTo>
                    <a:cubicBezTo>
                      <a:pt x="2952" y="27353"/>
                      <a:pt x="1547" y="30931"/>
                      <a:pt x="1837" y="34577"/>
                    </a:cubicBezTo>
                    <a:cubicBezTo>
                      <a:pt x="1848" y="34727"/>
                      <a:pt x="2279" y="39107"/>
                      <a:pt x="2302" y="39257"/>
                    </a:cubicBezTo>
                    <a:cubicBezTo>
                      <a:pt x="2302" y="43682"/>
                      <a:pt x="1674" y="48223"/>
                      <a:pt x="385" y="53147"/>
                    </a:cubicBezTo>
                    <a:cubicBezTo>
                      <a:pt x="-440" y="56305"/>
                      <a:pt x="72" y="59673"/>
                      <a:pt x="1802" y="62449"/>
                    </a:cubicBezTo>
                    <a:cubicBezTo>
                      <a:pt x="3533" y="65225"/>
                      <a:pt x="6332" y="67164"/>
                      <a:pt x="9538" y="67815"/>
                    </a:cubicBezTo>
                    <a:cubicBezTo>
                      <a:pt x="32625" y="72472"/>
                      <a:pt x="58907" y="74934"/>
                      <a:pt x="85549" y="74934"/>
                    </a:cubicBezTo>
                    <a:cubicBezTo>
                      <a:pt x="162372" y="74934"/>
                      <a:pt x="240149" y="54506"/>
                      <a:pt x="240149" y="15473"/>
                    </a:cubicBezTo>
                    <a:lnTo>
                      <a:pt x="240149" y="11884"/>
                    </a:lnTo>
                    <a:cubicBezTo>
                      <a:pt x="240148" y="7725"/>
                      <a:pt x="237976" y="3859"/>
                      <a:pt x="234411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orma libre 386">
                <a:extLst>
                  <a:ext uri="{FF2B5EF4-FFF2-40B4-BE49-F238E27FC236}">
                    <a16:creationId xmlns:a16="http://schemas.microsoft.com/office/drawing/2014/main" id="{6CD29CB0-E7B6-4131-B205-CE90B1BD3120}"/>
                  </a:ext>
                </a:extLst>
              </p:cNvPr>
              <p:cNvSpPr/>
              <p:nvPr/>
            </p:nvSpPr>
            <p:spPr>
              <a:xfrm>
                <a:off x="5432643" y="5919590"/>
                <a:ext cx="309200" cy="74933"/>
              </a:xfrm>
              <a:custGeom>
                <a:avLst/>
                <a:gdLst>
                  <a:gd name="connsiteX0" fmla="*/ 303464 w 309200"/>
                  <a:gd name="connsiteY0" fmla="*/ 1710 h 74933"/>
                  <a:gd name="connsiteX1" fmla="*/ 291792 w 309200"/>
                  <a:gd name="connsiteY1" fmla="*/ 1350 h 74933"/>
                  <a:gd name="connsiteX2" fmla="*/ 154600 w 309200"/>
                  <a:gd name="connsiteY2" fmla="*/ 27364 h 74933"/>
                  <a:gd name="connsiteX3" fmla="*/ 17409 w 309200"/>
                  <a:gd name="connsiteY3" fmla="*/ 1350 h 74933"/>
                  <a:gd name="connsiteX4" fmla="*/ 5737 w 309200"/>
                  <a:gd name="connsiteY4" fmla="*/ 1710 h 74933"/>
                  <a:gd name="connsiteX5" fmla="*/ 0 w 309200"/>
                  <a:gd name="connsiteY5" fmla="*/ 11884 h 74933"/>
                  <a:gd name="connsiteX6" fmla="*/ 0 w 309200"/>
                  <a:gd name="connsiteY6" fmla="*/ 15473 h 74933"/>
                  <a:gd name="connsiteX7" fmla="*/ 154600 w 309200"/>
                  <a:gd name="connsiteY7" fmla="*/ 74934 h 74933"/>
                  <a:gd name="connsiteX8" fmla="*/ 309201 w 309200"/>
                  <a:gd name="connsiteY8" fmla="*/ 15472 h 74933"/>
                  <a:gd name="connsiteX9" fmla="*/ 309201 w 309200"/>
                  <a:gd name="connsiteY9" fmla="*/ 11883 h 74933"/>
                  <a:gd name="connsiteX10" fmla="*/ 303464 w 309200"/>
                  <a:gd name="connsiteY10" fmla="*/ 1710 h 7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200" h="74933">
                    <a:moveTo>
                      <a:pt x="303464" y="1710"/>
                    </a:moveTo>
                    <a:cubicBezTo>
                      <a:pt x="299909" y="-427"/>
                      <a:pt x="295462" y="-577"/>
                      <a:pt x="291792" y="1350"/>
                    </a:cubicBezTo>
                    <a:cubicBezTo>
                      <a:pt x="259762" y="18120"/>
                      <a:pt x="211042" y="27364"/>
                      <a:pt x="154600" y="27364"/>
                    </a:cubicBezTo>
                    <a:cubicBezTo>
                      <a:pt x="98158" y="27364"/>
                      <a:pt x="49439" y="18120"/>
                      <a:pt x="17409" y="1350"/>
                    </a:cubicBezTo>
                    <a:cubicBezTo>
                      <a:pt x="13716" y="-577"/>
                      <a:pt x="9268" y="-427"/>
                      <a:pt x="5737" y="1710"/>
                    </a:cubicBezTo>
                    <a:cubicBezTo>
                      <a:pt x="2172" y="3859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54506"/>
                      <a:pt x="77776" y="74934"/>
                      <a:pt x="154600" y="74934"/>
                    </a:cubicBezTo>
                    <a:cubicBezTo>
                      <a:pt x="231425" y="74934"/>
                      <a:pt x="309201" y="54506"/>
                      <a:pt x="309201" y="15472"/>
                    </a:cubicBezTo>
                    <a:lnTo>
                      <a:pt x="309201" y="11883"/>
                    </a:lnTo>
                    <a:cubicBezTo>
                      <a:pt x="309201" y="7725"/>
                      <a:pt x="307029" y="3859"/>
                      <a:pt x="303464" y="1710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orma libre 387">
                <a:extLst>
                  <a:ext uri="{FF2B5EF4-FFF2-40B4-BE49-F238E27FC236}">
                    <a16:creationId xmlns:a16="http://schemas.microsoft.com/office/drawing/2014/main" id="{54746AC3-DB2D-489D-B935-53FC63E70784}"/>
                  </a:ext>
                </a:extLst>
              </p:cNvPr>
              <p:cNvSpPr/>
              <p:nvPr/>
            </p:nvSpPr>
            <p:spPr>
              <a:xfrm>
                <a:off x="5242364" y="5919590"/>
                <a:ext cx="38985" cy="32694"/>
              </a:xfrm>
              <a:custGeom>
                <a:avLst/>
                <a:gdLst>
                  <a:gd name="connsiteX0" fmla="*/ 12835 w 38985"/>
                  <a:gd name="connsiteY0" fmla="*/ 32695 h 32694"/>
                  <a:gd name="connsiteX1" fmla="*/ 14739 w 38985"/>
                  <a:gd name="connsiteY1" fmla="*/ 32544 h 32694"/>
                  <a:gd name="connsiteX2" fmla="*/ 28547 w 38985"/>
                  <a:gd name="connsiteY2" fmla="*/ 30628 h 32694"/>
                  <a:gd name="connsiteX3" fmla="*/ 38883 w 38985"/>
                  <a:gd name="connsiteY3" fmla="*/ 20373 h 32694"/>
                  <a:gd name="connsiteX4" fmla="*/ 31532 w 38985"/>
                  <a:gd name="connsiteY4" fmla="*/ 7796 h 32694"/>
                  <a:gd name="connsiteX5" fmla="*/ 17409 w 38985"/>
                  <a:gd name="connsiteY5" fmla="*/ 1350 h 32694"/>
                  <a:gd name="connsiteX6" fmla="*/ 5737 w 38985"/>
                  <a:gd name="connsiteY6" fmla="*/ 1710 h 32694"/>
                  <a:gd name="connsiteX7" fmla="*/ 0 w 38985"/>
                  <a:gd name="connsiteY7" fmla="*/ 11884 h 32694"/>
                  <a:gd name="connsiteX8" fmla="*/ 0 w 38985"/>
                  <a:gd name="connsiteY8" fmla="*/ 15473 h 32694"/>
                  <a:gd name="connsiteX9" fmla="*/ 1556 w 38985"/>
                  <a:gd name="connsiteY9" fmla="*/ 24543 h 32694"/>
                  <a:gd name="connsiteX10" fmla="*/ 12835 w 38985"/>
                  <a:gd name="connsiteY10" fmla="*/ 32695 h 3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985" h="32694">
                    <a:moveTo>
                      <a:pt x="12835" y="32695"/>
                    </a:moveTo>
                    <a:cubicBezTo>
                      <a:pt x="13462" y="32695"/>
                      <a:pt x="14100" y="32648"/>
                      <a:pt x="14739" y="32544"/>
                    </a:cubicBezTo>
                    <a:cubicBezTo>
                      <a:pt x="19280" y="31813"/>
                      <a:pt x="23902" y="31209"/>
                      <a:pt x="28547" y="30628"/>
                    </a:cubicBezTo>
                    <a:cubicBezTo>
                      <a:pt x="33935" y="29965"/>
                      <a:pt x="38187" y="25750"/>
                      <a:pt x="38883" y="20373"/>
                    </a:cubicBezTo>
                    <a:cubicBezTo>
                      <a:pt x="39591" y="14996"/>
                      <a:pt x="36572" y="9816"/>
                      <a:pt x="31532" y="7796"/>
                    </a:cubicBezTo>
                    <a:cubicBezTo>
                      <a:pt x="26607" y="5810"/>
                      <a:pt x="21858" y="3673"/>
                      <a:pt x="17409" y="1350"/>
                    </a:cubicBezTo>
                    <a:cubicBezTo>
                      <a:pt x="13716" y="-577"/>
                      <a:pt x="9292" y="-427"/>
                      <a:pt x="5737" y="1710"/>
                    </a:cubicBezTo>
                    <a:cubicBezTo>
                      <a:pt x="2172" y="3871"/>
                      <a:pt x="0" y="7726"/>
                      <a:pt x="0" y="11884"/>
                    </a:cubicBezTo>
                    <a:lnTo>
                      <a:pt x="0" y="15473"/>
                    </a:lnTo>
                    <a:cubicBezTo>
                      <a:pt x="0" y="18411"/>
                      <a:pt x="511" y="21384"/>
                      <a:pt x="1556" y="24543"/>
                    </a:cubicBezTo>
                    <a:cubicBezTo>
                      <a:pt x="3184" y="29466"/>
                      <a:pt x="7783" y="32695"/>
                      <a:pt x="12835" y="32695"/>
                    </a:cubicBezTo>
                    <a:close/>
                  </a:path>
                </a:pathLst>
              </a:custGeom>
              <a:grpFill/>
              <a:ln w="10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268761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5292" b="0" i="0" u="none" strike="noStrike" kern="0" cap="none" spc="0" normalizeH="0" baseline="0" noProof="0">
                  <a:ln>
                    <a:noFill/>
                  </a:ln>
                  <a:solidFill>
                    <a:srgbClr val="999999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Gráfico 66">
              <a:extLst>
                <a:ext uri="{FF2B5EF4-FFF2-40B4-BE49-F238E27FC236}">
                  <a16:creationId xmlns:a16="http://schemas.microsoft.com/office/drawing/2014/main" id="{961C23AC-43B7-4661-9E0A-6EE05A17CF38}"/>
                </a:ext>
              </a:extLst>
            </p:cNvPr>
            <p:cNvSpPr/>
            <p:nvPr/>
          </p:nvSpPr>
          <p:spPr>
            <a:xfrm>
              <a:off x="-598605" y="9476061"/>
              <a:ext cx="1071096" cy="1168467"/>
            </a:xfrm>
            <a:custGeom>
              <a:avLst/>
              <a:gdLst>
                <a:gd name="connsiteX0" fmla="*/ 351208 w 523262"/>
                <a:gd name="connsiteY0" fmla="*/ 408862 h 570831"/>
                <a:gd name="connsiteX1" fmla="*/ 451909 w 523262"/>
                <a:gd name="connsiteY1" fmla="*/ 190277 h 570831"/>
                <a:gd name="connsiteX2" fmla="*/ 261631 w 523262"/>
                <a:gd name="connsiteY2" fmla="*/ 0 h 570831"/>
                <a:gd name="connsiteX3" fmla="*/ 71354 w 523262"/>
                <a:gd name="connsiteY3" fmla="*/ 190277 h 570831"/>
                <a:gd name="connsiteX4" fmla="*/ 172054 w 523262"/>
                <a:gd name="connsiteY4" fmla="*/ 408862 h 570831"/>
                <a:gd name="connsiteX5" fmla="*/ 0 w 523262"/>
                <a:gd name="connsiteY5" fmla="*/ 487584 h 570831"/>
                <a:gd name="connsiteX6" fmla="*/ 261631 w 523262"/>
                <a:gd name="connsiteY6" fmla="*/ 570831 h 570831"/>
                <a:gd name="connsiteX7" fmla="*/ 523262 w 523262"/>
                <a:gd name="connsiteY7" fmla="*/ 487584 h 570831"/>
                <a:gd name="connsiteX8" fmla="*/ 351208 w 523262"/>
                <a:gd name="connsiteY8" fmla="*/ 408862 h 570831"/>
                <a:gd name="connsiteX9" fmla="*/ 166493 w 523262"/>
                <a:gd name="connsiteY9" fmla="*/ 190277 h 570831"/>
                <a:gd name="connsiteX10" fmla="*/ 261631 w 523262"/>
                <a:gd name="connsiteY10" fmla="*/ 95139 h 570831"/>
                <a:gd name="connsiteX11" fmla="*/ 356769 w 523262"/>
                <a:gd name="connsiteY11" fmla="*/ 190277 h 570831"/>
                <a:gd name="connsiteX12" fmla="*/ 261631 w 523262"/>
                <a:gd name="connsiteY12" fmla="*/ 285416 h 570831"/>
                <a:gd name="connsiteX13" fmla="*/ 166493 w 523262"/>
                <a:gd name="connsiteY13" fmla="*/ 190277 h 570831"/>
                <a:gd name="connsiteX14" fmla="*/ 261631 w 523262"/>
                <a:gd name="connsiteY14" fmla="*/ 523261 h 570831"/>
                <a:gd name="connsiteX15" fmla="*/ 50031 w 523262"/>
                <a:gd name="connsiteY15" fmla="*/ 487584 h 570831"/>
                <a:gd name="connsiteX16" fmla="*/ 210656 w 523262"/>
                <a:gd name="connsiteY16" fmla="*/ 453375 h 570831"/>
                <a:gd name="connsiteX17" fmla="*/ 253664 w 523262"/>
                <a:gd name="connsiteY17" fmla="*/ 496410 h 570831"/>
                <a:gd name="connsiteX18" fmla="*/ 261631 w 523262"/>
                <a:gd name="connsiteY18" fmla="*/ 499476 h 570831"/>
                <a:gd name="connsiteX19" fmla="*/ 269598 w 523262"/>
                <a:gd name="connsiteY19" fmla="*/ 496410 h 570831"/>
                <a:gd name="connsiteX20" fmla="*/ 312607 w 523262"/>
                <a:gd name="connsiteY20" fmla="*/ 453375 h 570831"/>
                <a:gd name="connsiteX21" fmla="*/ 473231 w 523262"/>
                <a:gd name="connsiteY21" fmla="*/ 487584 h 570831"/>
                <a:gd name="connsiteX22" fmla="*/ 261631 w 523262"/>
                <a:gd name="connsiteY22" fmla="*/ 523261 h 57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3262" h="570831">
                  <a:moveTo>
                    <a:pt x="351208" y="408862"/>
                  </a:moveTo>
                  <a:cubicBezTo>
                    <a:pt x="399766" y="348873"/>
                    <a:pt x="451909" y="266789"/>
                    <a:pt x="451909" y="190277"/>
                  </a:cubicBezTo>
                  <a:cubicBezTo>
                    <a:pt x="451909" y="85360"/>
                    <a:pt x="366548" y="0"/>
                    <a:pt x="261631" y="0"/>
                  </a:cubicBezTo>
                  <a:cubicBezTo>
                    <a:pt x="156714" y="0"/>
                    <a:pt x="71354" y="85360"/>
                    <a:pt x="71354" y="190277"/>
                  </a:cubicBezTo>
                  <a:cubicBezTo>
                    <a:pt x="71354" y="266789"/>
                    <a:pt x="123496" y="348873"/>
                    <a:pt x="172054" y="408862"/>
                  </a:cubicBezTo>
                  <a:cubicBezTo>
                    <a:pt x="95836" y="416291"/>
                    <a:pt x="0" y="435889"/>
                    <a:pt x="0" y="487584"/>
                  </a:cubicBezTo>
                  <a:cubicBezTo>
                    <a:pt x="0" y="568496"/>
                    <a:pt x="234850" y="570831"/>
                    <a:pt x="261631" y="570831"/>
                  </a:cubicBezTo>
                  <a:cubicBezTo>
                    <a:pt x="288412" y="570831"/>
                    <a:pt x="523262" y="568496"/>
                    <a:pt x="523262" y="487584"/>
                  </a:cubicBezTo>
                  <a:cubicBezTo>
                    <a:pt x="523262" y="435889"/>
                    <a:pt x="427426" y="416291"/>
                    <a:pt x="351208" y="408862"/>
                  </a:cubicBezTo>
                  <a:close/>
                  <a:moveTo>
                    <a:pt x="166493" y="190277"/>
                  </a:moveTo>
                  <a:cubicBezTo>
                    <a:pt x="166493" y="137819"/>
                    <a:pt x="209162" y="95139"/>
                    <a:pt x="261631" y="95139"/>
                  </a:cubicBezTo>
                  <a:cubicBezTo>
                    <a:pt x="314101" y="95139"/>
                    <a:pt x="356769" y="137819"/>
                    <a:pt x="356769" y="190277"/>
                  </a:cubicBezTo>
                  <a:cubicBezTo>
                    <a:pt x="356769" y="242736"/>
                    <a:pt x="314101" y="285416"/>
                    <a:pt x="261631" y="285416"/>
                  </a:cubicBezTo>
                  <a:cubicBezTo>
                    <a:pt x="209162" y="285416"/>
                    <a:pt x="166493" y="242736"/>
                    <a:pt x="166493" y="190277"/>
                  </a:cubicBezTo>
                  <a:close/>
                  <a:moveTo>
                    <a:pt x="261631" y="523261"/>
                  </a:moveTo>
                  <a:cubicBezTo>
                    <a:pt x="144706" y="523261"/>
                    <a:pt x="68009" y="501881"/>
                    <a:pt x="50031" y="487584"/>
                  </a:cubicBezTo>
                  <a:cubicBezTo>
                    <a:pt x="65240" y="475490"/>
                    <a:pt x="122597" y="458376"/>
                    <a:pt x="210656" y="453375"/>
                  </a:cubicBezTo>
                  <a:cubicBezTo>
                    <a:pt x="233897" y="478361"/>
                    <a:pt x="251427" y="494390"/>
                    <a:pt x="253664" y="496410"/>
                  </a:cubicBezTo>
                  <a:cubicBezTo>
                    <a:pt x="255941" y="498454"/>
                    <a:pt x="258774" y="499476"/>
                    <a:pt x="261631" y="499476"/>
                  </a:cubicBezTo>
                  <a:cubicBezTo>
                    <a:pt x="264488" y="499476"/>
                    <a:pt x="267322" y="498454"/>
                    <a:pt x="269598" y="496410"/>
                  </a:cubicBezTo>
                  <a:cubicBezTo>
                    <a:pt x="271836" y="494389"/>
                    <a:pt x="289365" y="478361"/>
                    <a:pt x="312607" y="453375"/>
                  </a:cubicBezTo>
                  <a:cubicBezTo>
                    <a:pt x="400665" y="458376"/>
                    <a:pt x="458024" y="475490"/>
                    <a:pt x="473231" y="487584"/>
                  </a:cubicBezTo>
                  <a:cubicBezTo>
                    <a:pt x="455253" y="501881"/>
                    <a:pt x="378557" y="523261"/>
                    <a:pt x="261631" y="523261"/>
                  </a:cubicBez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oup 46">
            <a:extLst>
              <a:ext uri="{FF2B5EF4-FFF2-40B4-BE49-F238E27FC236}">
                <a16:creationId xmlns:a16="http://schemas.microsoft.com/office/drawing/2014/main" id="{C518C2ED-B444-4EF2-A578-644719361B9E}"/>
              </a:ext>
            </a:extLst>
          </p:cNvPr>
          <p:cNvGrpSpPr/>
          <p:nvPr userDrawn="1"/>
        </p:nvGrpSpPr>
        <p:grpSpPr>
          <a:xfrm>
            <a:off x="1640089" y="3900599"/>
            <a:ext cx="1061215" cy="748521"/>
            <a:chOff x="6102350" y="5886450"/>
            <a:chExt cx="839788" cy="723900"/>
          </a:xfrm>
        </p:grpSpPr>
        <p:sp>
          <p:nvSpPr>
            <p:cNvPr id="129" name="Freeform 958">
              <a:extLst>
                <a:ext uri="{FF2B5EF4-FFF2-40B4-BE49-F238E27FC236}">
                  <a16:creationId xmlns:a16="http://schemas.microsoft.com/office/drawing/2014/main" id="{CD9E4564-245E-427F-B719-36020C3B0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6238" y="5976938"/>
              <a:ext cx="71437" cy="80962"/>
            </a:xfrm>
            <a:custGeom>
              <a:avLst/>
              <a:gdLst>
                <a:gd name="T0" fmla="*/ 187 w 200"/>
                <a:gd name="T1" fmla="*/ 62 h 225"/>
                <a:gd name="T2" fmla="*/ 187 w 200"/>
                <a:gd name="T3" fmla="*/ 62 h 225"/>
                <a:gd name="T4" fmla="*/ 12 w 200"/>
                <a:gd name="T5" fmla="*/ 224 h 225"/>
                <a:gd name="T6" fmla="*/ 0 w 200"/>
                <a:gd name="T7" fmla="*/ 124 h 225"/>
                <a:gd name="T8" fmla="*/ 12 w 200"/>
                <a:gd name="T9" fmla="*/ 49 h 225"/>
                <a:gd name="T10" fmla="*/ 100 w 200"/>
                <a:gd name="T11" fmla="*/ 25 h 225"/>
                <a:gd name="T12" fmla="*/ 162 w 200"/>
                <a:gd name="T13" fmla="*/ 12 h 225"/>
                <a:gd name="T14" fmla="*/ 187 w 200"/>
                <a:gd name="T15" fmla="*/ 62 h 225"/>
                <a:gd name="T16" fmla="*/ 187 w 200"/>
                <a:gd name="T17" fmla="*/ 62 h 225"/>
                <a:gd name="T18" fmla="*/ 187 w 200"/>
                <a:gd name="T19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25">
                  <a:moveTo>
                    <a:pt x="187" y="62"/>
                  </a:moveTo>
                  <a:lnTo>
                    <a:pt x="187" y="62"/>
                  </a:lnTo>
                  <a:cubicBezTo>
                    <a:pt x="12" y="224"/>
                    <a:pt x="12" y="224"/>
                    <a:pt x="12" y="2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87" y="0"/>
                    <a:pt x="199" y="37"/>
                    <a:pt x="187" y="62"/>
                  </a:cubicBezTo>
                  <a:close/>
                  <a:moveTo>
                    <a:pt x="187" y="62"/>
                  </a:moveTo>
                  <a:lnTo>
                    <a:pt x="187" y="62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960">
              <a:extLst>
                <a:ext uri="{FF2B5EF4-FFF2-40B4-BE49-F238E27FC236}">
                  <a16:creationId xmlns:a16="http://schemas.microsoft.com/office/drawing/2014/main" id="{1A2B465D-B291-44B2-B5F9-579F00821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210300"/>
              <a:ext cx="73025" cy="71438"/>
            </a:xfrm>
            <a:custGeom>
              <a:avLst/>
              <a:gdLst>
                <a:gd name="T0" fmla="*/ 200 w 201"/>
                <a:gd name="T1" fmla="*/ 13 h 200"/>
                <a:gd name="T2" fmla="*/ 200 w 201"/>
                <a:gd name="T3" fmla="*/ 13 h 200"/>
                <a:gd name="T4" fmla="*/ 138 w 201"/>
                <a:gd name="T5" fmla="*/ 150 h 200"/>
                <a:gd name="T6" fmla="*/ 25 w 201"/>
                <a:gd name="T7" fmla="*/ 137 h 200"/>
                <a:gd name="T8" fmla="*/ 25 w 201"/>
                <a:gd name="T9" fmla="*/ 137 h 200"/>
                <a:gd name="T10" fmla="*/ 0 w 201"/>
                <a:gd name="T11" fmla="*/ 13 h 200"/>
                <a:gd name="T12" fmla="*/ 88 w 201"/>
                <a:gd name="T13" fmla="*/ 0 h 200"/>
                <a:gd name="T14" fmla="*/ 200 w 201"/>
                <a:gd name="T15" fmla="*/ 13 h 200"/>
                <a:gd name="T16" fmla="*/ 200 w 201"/>
                <a:gd name="T17" fmla="*/ 13 h 200"/>
                <a:gd name="T18" fmla="*/ 200 w 201"/>
                <a:gd name="T19" fmla="*/ 1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200">
                  <a:moveTo>
                    <a:pt x="200" y="13"/>
                  </a:moveTo>
                  <a:lnTo>
                    <a:pt x="200" y="13"/>
                  </a:lnTo>
                  <a:cubicBezTo>
                    <a:pt x="138" y="150"/>
                    <a:pt x="138" y="150"/>
                    <a:pt x="138" y="150"/>
                  </a:cubicBezTo>
                  <a:cubicBezTo>
                    <a:pt x="113" y="199"/>
                    <a:pt x="38" y="187"/>
                    <a:pt x="25" y="137"/>
                  </a:cubicBezTo>
                  <a:lnTo>
                    <a:pt x="25" y="137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200" y="13"/>
                  </a:lnTo>
                  <a:close/>
                  <a:moveTo>
                    <a:pt x="200" y="13"/>
                  </a:moveTo>
                  <a:lnTo>
                    <a:pt x="200" y="13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BA3D79AD-3308-43A1-BDC3-8DE5D3DAB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8900" y="5994400"/>
              <a:ext cx="292100" cy="90488"/>
            </a:xfrm>
            <a:custGeom>
              <a:avLst/>
              <a:gdLst>
                <a:gd name="T0" fmla="*/ 810 w 811"/>
                <a:gd name="T1" fmla="*/ 0 h 251"/>
                <a:gd name="T2" fmla="*/ 810 w 811"/>
                <a:gd name="T3" fmla="*/ 0 h 251"/>
                <a:gd name="T4" fmla="*/ 810 w 811"/>
                <a:gd name="T5" fmla="*/ 175 h 251"/>
                <a:gd name="T6" fmla="*/ 698 w 811"/>
                <a:gd name="T7" fmla="*/ 200 h 251"/>
                <a:gd name="T8" fmla="*/ 436 w 811"/>
                <a:gd name="T9" fmla="*/ 250 h 251"/>
                <a:gd name="T10" fmla="*/ 0 w 811"/>
                <a:gd name="T11" fmla="*/ 250 h 251"/>
                <a:gd name="T12" fmla="*/ 0 w 811"/>
                <a:gd name="T13" fmla="*/ 75 h 251"/>
                <a:gd name="T14" fmla="*/ 436 w 811"/>
                <a:gd name="T15" fmla="*/ 75 h 251"/>
                <a:gd name="T16" fmla="*/ 698 w 811"/>
                <a:gd name="T17" fmla="*/ 26 h 251"/>
                <a:gd name="T18" fmla="*/ 810 w 811"/>
                <a:gd name="T19" fmla="*/ 0 h 251"/>
                <a:gd name="T20" fmla="*/ 810 w 811"/>
                <a:gd name="T21" fmla="*/ 0 h 251"/>
                <a:gd name="T22" fmla="*/ 810 w 811"/>
                <a:gd name="T2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1" h="251">
                  <a:moveTo>
                    <a:pt x="810" y="0"/>
                  </a:moveTo>
                  <a:lnTo>
                    <a:pt x="810" y="0"/>
                  </a:lnTo>
                  <a:cubicBezTo>
                    <a:pt x="810" y="175"/>
                    <a:pt x="810" y="175"/>
                    <a:pt x="810" y="175"/>
                  </a:cubicBezTo>
                  <a:cubicBezTo>
                    <a:pt x="698" y="200"/>
                    <a:pt x="698" y="200"/>
                    <a:pt x="698" y="200"/>
                  </a:cubicBezTo>
                  <a:cubicBezTo>
                    <a:pt x="611" y="213"/>
                    <a:pt x="523" y="250"/>
                    <a:pt x="436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6" y="75"/>
                    <a:pt x="436" y="75"/>
                    <a:pt x="436" y="75"/>
                  </a:cubicBezTo>
                  <a:cubicBezTo>
                    <a:pt x="523" y="75"/>
                    <a:pt x="611" y="38"/>
                    <a:pt x="698" y="26"/>
                  </a:cubicBezTo>
                  <a:lnTo>
                    <a:pt x="810" y="0"/>
                  </a:lnTo>
                  <a:close/>
                  <a:moveTo>
                    <a:pt x="810" y="0"/>
                  </a:moveTo>
                  <a:lnTo>
                    <a:pt x="810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965">
              <a:extLst>
                <a:ext uri="{FF2B5EF4-FFF2-40B4-BE49-F238E27FC236}">
                  <a16:creationId xmlns:a16="http://schemas.microsoft.com/office/drawing/2014/main" id="{05A8FF7E-4394-4475-93E3-B1396D61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413" y="59944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966">
              <a:extLst>
                <a:ext uri="{FF2B5EF4-FFF2-40B4-BE49-F238E27FC236}">
                  <a16:creationId xmlns:a16="http://schemas.microsoft.com/office/drawing/2014/main" id="{6ABA7656-385E-4F4E-B0E9-39CF7511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0" y="6473825"/>
              <a:ext cx="287338" cy="134938"/>
            </a:xfrm>
            <a:custGeom>
              <a:avLst/>
              <a:gdLst>
                <a:gd name="T0" fmla="*/ 785 w 799"/>
                <a:gd name="T1" fmla="*/ 0 h 375"/>
                <a:gd name="T2" fmla="*/ 785 w 799"/>
                <a:gd name="T3" fmla="*/ 0 h 375"/>
                <a:gd name="T4" fmla="*/ 798 w 799"/>
                <a:gd name="T5" fmla="*/ 187 h 375"/>
                <a:gd name="T6" fmla="*/ 785 w 799"/>
                <a:gd name="T7" fmla="*/ 374 h 375"/>
                <a:gd name="T8" fmla="*/ 37 w 799"/>
                <a:gd name="T9" fmla="*/ 374 h 375"/>
                <a:gd name="T10" fmla="*/ 0 w 799"/>
                <a:gd name="T11" fmla="*/ 336 h 375"/>
                <a:gd name="T12" fmla="*/ 0 w 799"/>
                <a:gd name="T13" fmla="*/ 37 h 375"/>
                <a:gd name="T14" fmla="*/ 37 w 799"/>
                <a:gd name="T15" fmla="*/ 0 h 375"/>
                <a:gd name="T16" fmla="*/ 785 w 799"/>
                <a:gd name="T17" fmla="*/ 0 h 375"/>
                <a:gd name="T18" fmla="*/ 785 w 799"/>
                <a:gd name="T19" fmla="*/ 0 h 375"/>
                <a:gd name="T20" fmla="*/ 785 w 799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9" h="375">
                  <a:moveTo>
                    <a:pt x="785" y="0"/>
                  </a:moveTo>
                  <a:lnTo>
                    <a:pt x="785" y="0"/>
                  </a:lnTo>
                  <a:cubicBezTo>
                    <a:pt x="798" y="187"/>
                    <a:pt x="798" y="187"/>
                    <a:pt x="798" y="187"/>
                  </a:cubicBezTo>
                  <a:cubicBezTo>
                    <a:pt x="785" y="374"/>
                    <a:pt x="785" y="374"/>
                    <a:pt x="785" y="374"/>
                  </a:cubicBezTo>
                  <a:cubicBezTo>
                    <a:pt x="37" y="374"/>
                    <a:pt x="37" y="374"/>
                    <a:pt x="37" y="374"/>
                  </a:cubicBezTo>
                  <a:cubicBezTo>
                    <a:pt x="25" y="374"/>
                    <a:pt x="0" y="361"/>
                    <a:pt x="0" y="3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2"/>
                    <a:pt x="25" y="0"/>
                    <a:pt x="37" y="0"/>
                  </a:cubicBezTo>
                  <a:lnTo>
                    <a:pt x="785" y="0"/>
                  </a:lnTo>
                  <a:close/>
                  <a:moveTo>
                    <a:pt x="785" y="0"/>
                  </a:moveTo>
                  <a:lnTo>
                    <a:pt x="785" y="0"/>
                  </a:lnTo>
                  <a:close/>
                </a:path>
              </a:pathLst>
            </a:custGeom>
            <a:solidFill>
              <a:srgbClr val="2C61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67">
              <a:extLst>
                <a:ext uri="{FF2B5EF4-FFF2-40B4-BE49-F238E27FC236}">
                  <a16:creationId xmlns:a16="http://schemas.microsoft.com/office/drawing/2014/main" id="{C6EB3AB7-FAB4-492C-A15C-4848C8C30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  <a:gd name="T12" fmla="*/ 125 w 139"/>
                <a:gd name="T13" fmla="*/ 0 h 375"/>
                <a:gd name="T14" fmla="*/ 125 w 139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close/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968">
              <a:extLst>
                <a:ext uri="{FF2B5EF4-FFF2-40B4-BE49-F238E27FC236}">
                  <a16:creationId xmlns:a16="http://schemas.microsoft.com/office/drawing/2014/main" id="{93236A77-F22A-45EB-8717-24CFD8CF2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8888" y="6473825"/>
              <a:ext cx="50800" cy="134938"/>
            </a:xfrm>
            <a:custGeom>
              <a:avLst/>
              <a:gdLst>
                <a:gd name="T0" fmla="*/ 125 w 139"/>
                <a:gd name="T1" fmla="*/ 0 h 375"/>
                <a:gd name="T2" fmla="*/ 138 w 139"/>
                <a:gd name="T3" fmla="*/ 187 h 375"/>
                <a:gd name="T4" fmla="*/ 125 w 139"/>
                <a:gd name="T5" fmla="*/ 374 h 375"/>
                <a:gd name="T6" fmla="*/ 0 w 139"/>
                <a:gd name="T7" fmla="*/ 374 h 375"/>
                <a:gd name="T8" fmla="*/ 0 w 139"/>
                <a:gd name="T9" fmla="*/ 0 h 375"/>
                <a:gd name="T10" fmla="*/ 125 w 139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75">
                  <a:moveTo>
                    <a:pt x="125" y="0"/>
                  </a:moveTo>
                  <a:lnTo>
                    <a:pt x="138" y="187"/>
                  </a:lnTo>
                  <a:lnTo>
                    <a:pt x="125" y="374"/>
                  </a:lnTo>
                  <a:lnTo>
                    <a:pt x="0" y="374"/>
                  </a:lnTo>
                  <a:lnTo>
                    <a:pt x="0" y="0"/>
                  </a:lnTo>
                  <a:lnTo>
                    <a:pt x="125" y="0"/>
                  </a:lnTo>
                </a:path>
              </a:pathLst>
            </a:custGeom>
            <a:solidFill>
              <a:srgbClr val="2C6187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969">
              <a:extLst>
                <a:ext uri="{FF2B5EF4-FFF2-40B4-BE49-F238E27FC236}">
                  <a16:creationId xmlns:a16="http://schemas.microsoft.com/office/drawing/2014/main" id="{C9950CB4-681B-46FA-8ABA-F3E571F1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73825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67C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970">
              <a:extLst>
                <a:ext uri="{FF2B5EF4-FFF2-40B4-BE49-F238E27FC236}">
                  <a16:creationId xmlns:a16="http://schemas.microsoft.com/office/drawing/2014/main" id="{A8958133-CE00-4734-A3FC-1E0F10E3B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6411913"/>
              <a:ext cx="292100" cy="198437"/>
            </a:xfrm>
            <a:custGeom>
              <a:avLst/>
              <a:gdLst>
                <a:gd name="T0" fmla="*/ 773 w 812"/>
                <a:gd name="T1" fmla="*/ 0 h 550"/>
                <a:gd name="T2" fmla="*/ 773 w 812"/>
                <a:gd name="T3" fmla="*/ 0 h 550"/>
                <a:gd name="T4" fmla="*/ 811 w 812"/>
                <a:gd name="T5" fmla="*/ 274 h 550"/>
                <a:gd name="T6" fmla="*/ 773 w 812"/>
                <a:gd name="T7" fmla="*/ 549 h 550"/>
                <a:gd name="T8" fmla="*/ 0 w 812"/>
                <a:gd name="T9" fmla="*/ 549 h 550"/>
                <a:gd name="T10" fmla="*/ 0 w 812"/>
                <a:gd name="T11" fmla="*/ 37 h 550"/>
                <a:gd name="T12" fmla="*/ 38 w 812"/>
                <a:gd name="T13" fmla="*/ 0 h 550"/>
                <a:gd name="T14" fmla="*/ 773 w 812"/>
                <a:gd name="T15" fmla="*/ 0 h 550"/>
                <a:gd name="T16" fmla="*/ 773 w 812"/>
                <a:gd name="T17" fmla="*/ 0 h 550"/>
                <a:gd name="T18" fmla="*/ 773 w 812"/>
                <a:gd name="T1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2" h="550">
                  <a:moveTo>
                    <a:pt x="773" y="0"/>
                  </a:moveTo>
                  <a:lnTo>
                    <a:pt x="773" y="0"/>
                  </a:lnTo>
                  <a:cubicBezTo>
                    <a:pt x="811" y="274"/>
                    <a:pt x="811" y="274"/>
                    <a:pt x="811" y="274"/>
                  </a:cubicBezTo>
                  <a:cubicBezTo>
                    <a:pt x="773" y="549"/>
                    <a:pt x="773" y="549"/>
                    <a:pt x="773" y="549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3"/>
                    <a:pt x="13" y="0"/>
                    <a:pt x="38" y="0"/>
                  </a:cubicBezTo>
                  <a:lnTo>
                    <a:pt x="773" y="0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close/>
                </a:path>
              </a:pathLst>
            </a:custGeom>
            <a:solidFill>
              <a:srgbClr val="FF8E5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971">
              <a:extLst>
                <a:ext uri="{FF2B5EF4-FFF2-40B4-BE49-F238E27FC236}">
                  <a16:creationId xmlns:a16="http://schemas.microsoft.com/office/drawing/2014/main" id="{CA201201-81BA-461B-993F-BBE03C534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  <a:gd name="T12" fmla="*/ 124 w 163"/>
                <a:gd name="T13" fmla="*/ 0 h 550"/>
                <a:gd name="T14" fmla="*/ 124 w 163"/>
                <a:gd name="T15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lose/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972">
              <a:extLst>
                <a:ext uri="{FF2B5EF4-FFF2-40B4-BE49-F238E27FC236}">
                  <a16:creationId xmlns:a16="http://schemas.microsoft.com/office/drawing/2014/main" id="{E7BB657F-D441-44AE-83F8-42CF9152C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288" y="6411913"/>
              <a:ext cx="58737" cy="198437"/>
            </a:xfrm>
            <a:custGeom>
              <a:avLst/>
              <a:gdLst>
                <a:gd name="T0" fmla="*/ 124 w 163"/>
                <a:gd name="T1" fmla="*/ 0 h 550"/>
                <a:gd name="T2" fmla="*/ 162 w 163"/>
                <a:gd name="T3" fmla="*/ 274 h 550"/>
                <a:gd name="T4" fmla="*/ 124 w 163"/>
                <a:gd name="T5" fmla="*/ 549 h 550"/>
                <a:gd name="T6" fmla="*/ 0 w 163"/>
                <a:gd name="T7" fmla="*/ 549 h 550"/>
                <a:gd name="T8" fmla="*/ 0 w 163"/>
                <a:gd name="T9" fmla="*/ 0 h 550"/>
                <a:gd name="T10" fmla="*/ 124 w 163"/>
                <a:gd name="T11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550">
                  <a:moveTo>
                    <a:pt x="124" y="0"/>
                  </a:moveTo>
                  <a:lnTo>
                    <a:pt x="162" y="274"/>
                  </a:lnTo>
                  <a:lnTo>
                    <a:pt x="124" y="549"/>
                  </a:lnTo>
                  <a:lnTo>
                    <a:pt x="0" y="549"/>
                  </a:lnTo>
                  <a:lnTo>
                    <a:pt x="0" y="0"/>
                  </a:lnTo>
                  <a:lnTo>
                    <a:pt x="124" y="0"/>
                  </a:lnTo>
                </a:path>
              </a:pathLst>
            </a:custGeom>
            <a:solidFill>
              <a:srgbClr val="FF8E5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973">
              <a:extLst>
                <a:ext uri="{FF2B5EF4-FFF2-40B4-BE49-F238E27FC236}">
                  <a16:creationId xmlns:a16="http://schemas.microsoft.com/office/drawing/2014/main" id="{EA930E19-717E-4485-9E89-A35215726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411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473C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974">
              <a:extLst>
                <a:ext uri="{FF2B5EF4-FFF2-40B4-BE49-F238E27FC236}">
                  <a16:creationId xmlns:a16="http://schemas.microsoft.com/office/drawing/2014/main" id="{FD4E5FD2-A668-4573-951A-3CE5C4FA8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2738" y="6340475"/>
              <a:ext cx="279400" cy="269875"/>
            </a:xfrm>
            <a:custGeom>
              <a:avLst/>
              <a:gdLst>
                <a:gd name="T0" fmla="*/ 773 w 774"/>
                <a:gd name="T1" fmla="*/ 37 h 749"/>
                <a:gd name="T2" fmla="*/ 773 w 774"/>
                <a:gd name="T3" fmla="*/ 37 h 749"/>
                <a:gd name="T4" fmla="*/ 773 w 774"/>
                <a:gd name="T5" fmla="*/ 710 h 749"/>
                <a:gd name="T6" fmla="*/ 736 w 774"/>
                <a:gd name="T7" fmla="*/ 748 h 749"/>
                <a:gd name="T8" fmla="*/ 0 w 774"/>
                <a:gd name="T9" fmla="*/ 748 h 749"/>
                <a:gd name="T10" fmla="*/ 0 w 774"/>
                <a:gd name="T11" fmla="*/ 37 h 749"/>
                <a:gd name="T12" fmla="*/ 38 w 774"/>
                <a:gd name="T13" fmla="*/ 0 h 749"/>
                <a:gd name="T14" fmla="*/ 736 w 774"/>
                <a:gd name="T15" fmla="*/ 0 h 749"/>
                <a:gd name="T16" fmla="*/ 773 w 774"/>
                <a:gd name="T17" fmla="*/ 37 h 749"/>
                <a:gd name="T18" fmla="*/ 773 w 774"/>
                <a:gd name="T19" fmla="*/ 37 h 749"/>
                <a:gd name="T20" fmla="*/ 773 w 774"/>
                <a:gd name="T21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4" h="749">
                  <a:moveTo>
                    <a:pt x="773" y="37"/>
                  </a:moveTo>
                  <a:lnTo>
                    <a:pt x="773" y="37"/>
                  </a:lnTo>
                  <a:cubicBezTo>
                    <a:pt x="773" y="710"/>
                    <a:pt x="773" y="710"/>
                    <a:pt x="773" y="710"/>
                  </a:cubicBezTo>
                  <a:cubicBezTo>
                    <a:pt x="773" y="735"/>
                    <a:pt x="761" y="748"/>
                    <a:pt x="736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13" y="0"/>
                    <a:pt x="38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61" y="0"/>
                    <a:pt x="773" y="25"/>
                    <a:pt x="773" y="37"/>
                  </a:cubicBezTo>
                  <a:close/>
                  <a:moveTo>
                    <a:pt x="773" y="37"/>
                  </a:moveTo>
                  <a:lnTo>
                    <a:pt x="773" y="37"/>
                  </a:lnTo>
                  <a:close/>
                </a:path>
              </a:pathLst>
            </a:custGeom>
            <a:solidFill>
              <a:srgbClr val="A8DC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975">
              <a:extLst>
                <a:ext uri="{FF2B5EF4-FFF2-40B4-BE49-F238E27FC236}">
                  <a16:creationId xmlns:a16="http://schemas.microsoft.com/office/drawing/2014/main" id="{31B0917D-304E-492B-91ED-DA1DBA924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6340475"/>
              <a:ext cx="49212" cy="269875"/>
            </a:xfrm>
            <a:custGeom>
              <a:avLst/>
              <a:gdLst>
                <a:gd name="T0" fmla="*/ 137 w 138"/>
                <a:gd name="T1" fmla="*/ 37 h 749"/>
                <a:gd name="T2" fmla="*/ 137 w 138"/>
                <a:gd name="T3" fmla="*/ 37 h 749"/>
                <a:gd name="T4" fmla="*/ 137 w 138"/>
                <a:gd name="T5" fmla="*/ 710 h 749"/>
                <a:gd name="T6" fmla="*/ 100 w 138"/>
                <a:gd name="T7" fmla="*/ 748 h 749"/>
                <a:gd name="T8" fmla="*/ 0 w 138"/>
                <a:gd name="T9" fmla="*/ 748 h 749"/>
                <a:gd name="T10" fmla="*/ 38 w 138"/>
                <a:gd name="T11" fmla="*/ 710 h 749"/>
                <a:gd name="T12" fmla="*/ 38 w 138"/>
                <a:gd name="T13" fmla="*/ 37 h 749"/>
                <a:gd name="T14" fmla="*/ 0 w 138"/>
                <a:gd name="T15" fmla="*/ 0 h 749"/>
                <a:gd name="T16" fmla="*/ 100 w 138"/>
                <a:gd name="T17" fmla="*/ 0 h 749"/>
                <a:gd name="T18" fmla="*/ 137 w 138"/>
                <a:gd name="T19" fmla="*/ 37 h 749"/>
                <a:gd name="T20" fmla="*/ 137 w 138"/>
                <a:gd name="T21" fmla="*/ 37 h 749"/>
                <a:gd name="T22" fmla="*/ 137 w 138"/>
                <a:gd name="T23" fmla="*/ 3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749">
                  <a:moveTo>
                    <a:pt x="137" y="37"/>
                  </a:moveTo>
                  <a:lnTo>
                    <a:pt x="137" y="37"/>
                  </a:lnTo>
                  <a:cubicBezTo>
                    <a:pt x="137" y="710"/>
                    <a:pt x="137" y="710"/>
                    <a:pt x="137" y="710"/>
                  </a:cubicBezTo>
                  <a:cubicBezTo>
                    <a:pt x="137" y="735"/>
                    <a:pt x="125" y="748"/>
                    <a:pt x="100" y="748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3" y="748"/>
                    <a:pt x="38" y="735"/>
                    <a:pt x="38" y="71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25"/>
                    <a:pt x="13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5" y="0"/>
                    <a:pt x="137" y="25"/>
                    <a:pt x="137" y="37"/>
                  </a:cubicBezTo>
                  <a:close/>
                  <a:moveTo>
                    <a:pt x="137" y="37"/>
                  </a:moveTo>
                  <a:lnTo>
                    <a:pt x="137" y="37"/>
                  </a:lnTo>
                  <a:close/>
                </a:path>
              </a:pathLst>
            </a:custGeom>
            <a:solidFill>
              <a:srgbClr val="A8DCA8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76">
              <a:extLst>
                <a:ext uri="{FF2B5EF4-FFF2-40B4-BE49-F238E27FC236}">
                  <a16:creationId xmlns:a16="http://schemas.microsoft.com/office/drawing/2014/main" id="{F6AE4A46-361E-431D-A1A4-96F4047D9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6021388"/>
              <a:ext cx="309563" cy="201612"/>
            </a:xfrm>
            <a:custGeom>
              <a:avLst/>
              <a:gdLst>
                <a:gd name="T0" fmla="*/ 861 w 862"/>
                <a:gd name="T1" fmla="*/ 0 h 562"/>
                <a:gd name="T2" fmla="*/ 861 w 862"/>
                <a:gd name="T3" fmla="*/ 0 h 562"/>
                <a:gd name="T4" fmla="*/ 798 w 862"/>
                <a:gd name="T5" fmla="*/ 537 h 562"/>
                <a:gd name="T6" fmla="*/ 611 w 862"/>
                <a:gd name="T7" fmla="*/ 561 h 562"/>
                <a:gd name="T8" fmla="*/ 424 w 862"/>
                <a:gd name="T9" fmla="*/ 537 h 562"/>
                <a:gd name="T10" fmla="*/ 462 w 862"/>
                <a:gd name="T11" fmla="*/ 200 h 562"/>
                <a:gd name="T12" fmla="*/ 262 w 862"/>
                <a:gd name="T13" fmla="*/ 387 h 562"/>
                <a:gd name="T14" fmla="*/ 200 w 862"/>
                <a:gd name="T15" fmla="*/ 537 h 562"/>
                <a:gd name="T16" fmla="*/ 0 w 862"/>
                <a:gd name="T17" fmla="*/ 537 h 562"/>
                <a:gd name="T18" fmla="*/ 113 w 862"/>
                <a:gd name="T19" fmla="*/ 275 h 562"/>
                <a:gd name="T20" fmla="*/ 424 w 862"/>
                <a:gd name="T21" fmla="*/ 38 h 562"/>
                <a:gd name="T22" fmla="*/ 574 w 862"/>
                <a:gd name="T23" fmla="*/ 0 h 562"/>
                <a:gd name="T24" fmla="*/ 861 w 862"/>
                <a:gd name="T25" fmla="*/ 0 h 562"/>
                <a:gd name="T26" fmla="*/ 861 w 862"/>
                <a:gd name="T27" fmla="*/ 0 h 562"/>
                <a:gd name="T28" fmla="*/ 861 w 862"/>
                <a:gd name="T29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2" h="562">
                  <a:moveTo>
                    <a:pt x="861" y="0"/>
                  </a:moveTo>
                  <a:lnTo>
                    <a:pt x="861" y="0"/>
                  </a:lnTo>
                  <a:cubicBezTo>
                    <a:pt x="798" y="537"/>
                    <a:pt x="798" y="537"/>
                    <a:pt x="798" y="537"/>
                  </a:cubicBezTo>
                  <a:cubicBezTo>
                    <a:pt x="611" y="561"/>
                    <a:pt x="611" y="561"/>
                    <a:pt x="611" y="561"/>
                  </a:cubicBezTo>
                  <a:cubicBezTo>
                    <a:pt x="424" y="537"/>
                    <a:pt x="424" y="537"/>
                    <a:pt x="424" y="537"/>
                  </a:cubicBezTo>
                  <a:cubicBezTo>
                    <a:pt x="462" y="200"/>
                    <a:pt x="462" y="200"/>
                    <a:pt x="462" y="200"/>
                  </a:cubicBezTo>
                  <a:cubicBezTo>
                    <a:pt x="387" y="250"/>
                    <a:pt x="300" y="287"/>
                    <a:pt x="262" y="387"/>
                  </a:cubicBezTo>
                  <a:cubicBezTo>
                    <a:pt x="200" y="537"/>
                    <a:pt x="200" y="537"/>
                    <a:pt x="200" y="537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113" y="275"/>
                    <a:pt x="113" y="275"/>
                    <a:pt x="113" y="275"/>
                  </a:cubicBezTo>
                  <a:cubicBezTo>
                    <a:pt x="162" y="162"/>
                    <a:pt x="324" y="100"/>
                    <a:pt x="424" y="38"/>
                  </a:cubicBezTo>
                  <a:cubicBezTo>
                    <a:pt x="462" y="13"/>
                    <a:pt x="524" y="0"/>
                    <a:pt x="574" y="0"/>
                  </a:cubicBezTo>
                  <a:lnTo>
                    <a:pt x="861" y="0"/>
                  </a:lnTo>
                  <a:close/>
                  <a:moveTo>
                    <a:pt x="861" y="0"/>
                  </a:moveTo>
                  <a:lnTo>
                    <a:pt x="861" y="0"/>
                  </a:lnTo>
                  <a:close/>
                </a:path>
              </a:pathLst>
            </a:custGeom>
            <a:solidFill>
              <a:srgbClr val="27AB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980">
              <a:extLst>
                <a:ext uri="{FF2B5EF4-FFF2-40B4-BE49-F238E27FC236}">
                  <a16:creationId xmlns:a16="http://schemas.microsoft.com/office/drawing/2014/main" id="{8F6E84F7-AE56-4682-98AD-1667357B7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100" y="6021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528FD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981">
              <a:extLst>
                <a:ext uri="{FF2B5EF4-FFF2-40B4-BE49-F238E27FC236}">
                  <a16:creationId xmlns:a16="http://schemas.microsoft.com/office/drawing/2014/main" id="{2079E4AD-4611-45DB-9123-57162A12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215063"/>
              <a:ext cx="363537" cy="225425"/>
            </a:xfrm>
            <a:custGeom>
              <a:avLst/>
              <a:gdLst>
                <a:gd name="T0" fmla="*/ 1010 w 1011"/>
                <a:gd name="T1" fmla="*/ 174 h 624"/>
                <a:gd name="T2" fmla="*/ 1010 w 1011"/>
                <a:gd name="T3" fmla="*/ 174 h 624"/>
                <a:gd name="T4" fmla="*/ 1010 w 1011"/>
                <a:gd name="T5" fmla="*/ 423 h 624"/>
                <a:gd name="T6" fmla="*/ 923 w 1011"/>
                <a:gd name="T7" fmla="*/ 436 h 624"/>
                <a:gd name="T8" fmla="*/ 823 w 1011"/>
                <a:gd name="T9" fmla="*/ 423 h 624"/>
                <a:gd name="T10" fmla="*/ 823 w 1011"/>
                <a:gd name="T11" fmla="*/ 249 h 624"/>
                <a:gd name="T12" fmla="*/ 760 w 1011"/>
                <a:gd name="T13" fmla="*/ 186 h 624"/>
                <a:gd name="T14" fmla="*/ 486 w 1011"/>
                <a:gd name="T15" fmla="*/ 186 h 624"/>
                <a:gd name="T16" fmla="*/ 424 w 1011"/>
                <a:gd name="T17" fmla="*/ 349 h 624"/>
                <a:gd name="T18" fmla="*/ 399 w 1011"/>
                <a:gd name="T19" fmla="*/ 374 h 624"/>
                <a:gd name="T20" fmla="*/ 224 w 1011"/>
                <a:gd name="T21" fmla="*/ 598 h 624"/>
                <a:gd name="T22" fmla="*/ 112 w 1011"/>
                <a:gd name="T23" fmla="*/ 623 h 624"/>
                <a:gd name="T24" fmla="*/ 0 w 1011"/>
                <a:gd name="T25" fmla="*/ 598 h 624"/>
                <a:gd name="T26" fmla="*/ 12 w 1011"/>
                <a:gd name="T27" fmla="*/ 573 h 624"/>
                <a:gd name="T28" fmla="*/ 174 w 1011"/>
                <a:gd name="T29" fmla="*/ 399 h 624"/>
                <a:gd name="T30" fmla="*/ 212 w 1011"/>
                <a:gd name="T31" fmla="*/ 324 h 624"/>
                <a:gd name="T32" fmla="*/ 361 w 1011"/>
                <a:gd name="T33" fmla="*/ 0 h 624"/>
                <a:gd name="T34" fmla="*/ 835 w 1011"/>
                <a:gd name="T35" fmla="*/ 0 h 624"/>
                <a:gd name="T36" fmla="*/ 1010 w 1011"/>
                <a:gd name="T37" fmla="*/ 174 h 624"/>
                <a:gd name="T38" fmla="*/ 1010 w 1011"/>
                <a:gd name="T39" fmla="*/ 174 h 624"/>
                <a:gd name="T40" fmla="*/ 1010 w 1011"/>
                <a:gd name="T41" fmla="*/ 17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1" h="624">
                  <a:moveTo>
                    <a:pt x="1010" y="174"/>
                  </a:moveTo>
                  <a:lnTo>
                    <a:pt x="1010" y="174"/>
                  </a:lnTo>
                  <a:cubicBezTo>
                    <a:pt x="1010" y="423"/>
                    <a:pt x="1010" y="423"/>
                    <a:pt x="1010" y="423"/>
                  </a:cubicBezTo>
                  <a:cubicBezTo>
                    <a:pt x="923" y="436"/>
                    <a:pt x="923" y="436"/>
                    <a:pt x="923" y="436"/>
                  </a:cubicBezTo>
                  <a:cubicBezTo>
                    <a:pt x="823" y="423"/>
                    <a:pt x="823" y="423"/>
                    <a:pt x="823" y="423"/>
                  </a:cubicBezTo>
                  <a:cubicBezTo>
                    <a:pt x="823" y="249"/>
                    <a:pt x="823" y="249"/>
                    <a:pt x="823" y="249"/>
                  </a:cubicBezTo>
                  <a:cubicBezTo>
                    <a:pt x="823" y="212"/>
                    <a:pt x="798" y="186"/>
                    <a:pt x="760" y="186"/>
                  </a:cubicBezTo>
                  <a:cubicBezTo>
                    <a:pt x="486" y="186"/>
                    <a:pt x="486" y="186"/>
                    <a:pt x="486" y="186"/>
                  </a:cubicBezTo>
                  <a:cubicBezTo>
                    <a:pt x="424" y="349"/>
                    <a:pt x="424" y="349"/>
                    <a:pt x="424" y="349"/>
                  </a:cubicBezTo>
                  <a:cubicBezTo>
                    <a:pt x="411" y="361"/>
                    <a:pt x="411" y="374"/>
                    <a:pt x="399" y="374"/>
                  </a:cubicBezTo>
                  <a:cubicBezTo>
                    <a:pt x="224" y="598"/>
                    <a:pt x="224" y="598"/>
                    <a:pt x="224" y="598"/>
                  </a:cubicBezTo>
                  <a:cubicBezTo>
                    <a:pt x="112" y="623"/>
                    <a:pt x="112" y="623"/>
                    <a:pt x="112" y="623"/>
                  </a:cubicBezTo>
                  <a:cubicBezTo>
                    <a:pt x="0" y="598"/>
                    <a:pt x="0" y="598"/>
                    <a:pt x="0" y="598"/>
                  </a:cubicBezTo>
                  <a:cubicBezTo>
                    <a:pt x="12" y="585"/>
                    <a:pt x="12" y="585"/>
                    <a:pt x="12" y="573"/>
                  </a:cubicBezTo>
                  <a:cubicBezTo>
                    <a:pt x="174" y="399"/>
                    <a:pt x="174" y="399"/>
                    <a:pt x="174" y="399"/>
                  </a:cubicBezTo>
                  <a:cubicBezTo>
                    <a:pt x="187" y="374"/>
                    <a:pt x="199" y="349"/>
                    <a:pt x="212" y="324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935" y="0"/>
                    <a:pt x="1010" y="87"/>
                    <a:pt x="1010" y="174"/>
                  </a:cubicBezTo>
                  <a:close/>
                  <a:moveTo>
                    <a:pt x="1010" y="174"/>
                  </a:moveTo>
                  <a:lnTo>
                    <a:pt x="1010" y="174"/>
                  </a:lnTo>
                  <a:close/>
                </a:path>
              </a:pathLst>
            </a:custGeom>
            <a:solidFill>
              <a:srgbClr val="27ABB9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983">
              <a:extLst>
                <a:ext uri="{FF2B5EF4-FFF2-40B4-BE49-F238E27FC236}">
                  <a16:creationId xmlns:a16="http://schemas.microsoft.com/office/drawing/2014/main" id="{4517106B-1C0A-4328-90B5-C4EBA84CF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6365875"/>
              <a:ext cx="112712" cy="46038"/>
            </a:xfrm>
            <a:custGeom>
              <a:avLst/>
              <a:gdLst>
                <a:gd name="T0" fmla="*/ 311 w 312"/>
                <a:gd name="T1" fmla="*/ 125 h 126"/>
                <a:gd name="T2" fmla="*/ 311 w 312"/>
                <a:gd name="T3" fmla="*/ 125 h 126"/>
                <a:gd name="T4" fmla="*/ 50 w 312"/>
                <a:gd name="T5" fmla="*/ 125 h 126"/>
                <a:gd name="T6" fmla="*/ 0 w 312"/>
                <a:gd name="T7" fmla="*/ 63 h 126"/>
                <a:gd name="T8" fmla="*/ 0 w 312"/>
                <a:gd name="T9" fmla="*/ 0 h 126"/>
                <a:gd name="T10" fmla="*/ 187 w 312"/>
                <a:gd name="T11" fmla="*/ 0 h 126"/>
                <a:gd name="T12" fmla="*/ 311 w 312"/>
                <a:gd name="T13" fmla="*/ 125 h 126"/>
                <a:gd name="T14" fmla="*/ 311 w 312"/>
                <a:gd name="T15" fmla="*/ 125 h 126"/>
                <a:gd name="T16" fmla="*/ 311 w 312"/>
                <a:gd name="T17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26">
                  <a:moveTo>
                    <a:pt x="311" y="125"/>
                  </a:moveTo>
                  <a:lnTo>
                    <a:pt x="311" y="125"/>
                  </a:lnTo>
                  <a:cubicBezTo>
                    <a:pt x="50" y="125"/>
                    <a:pt x="50" y="125"/>
                    <a:pt x="50" y="125"/>
                  </a:cubicBezTo>
                  <a:cubicBezTo>
                    <a:pt x="25" y="125"/>
                    <a:pt x="0" y="100"/>
                    <a:pt x="0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49" y="0"/>
                    <a:pt x="311" y="50"/>
                    <a:pt x="311" y="125"/>
                  </a:cubicBezTo>
                  <a:close/>
                  <a:moveTo>
                    <a:pt x="311" y="125"/>
                  </a:moveTo>
                  <a:lnTo>
                    <a:pt x="3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984">
              <a:extLst>
                <a:ext uri="{FF2B5EF4-FFF2-40B4-BE49-F238E27FC236}">
                  <a16:creationId xmlns:a16="http://schemas.microsoft.com/office/drawing/2014/main" id="{17E5F5E2-3F57-44AA-92C0-6EE5D2050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6365875"/>
              <a:ext cx="76200" cy="46038"/>
            </a:xfrm>
            <a:custGeom>
              <a:avLst/>
              <a:gdLst>
                <a:gd name="T0" fmla="*/ 211 w 212"/>
                <a:gd name="T1" fmla="*/ 125 h 126"/>
                <a:gd name="T2" fmla="*/ 211 w 212"/>
                <a:gd name="T3" fmla="*/ 125 h 126"/>
                <a:gd name="T4" fmla="*/ 124 w 212"/>
                <a:gd name="T5" fmla="*/ 125 h 126"/>
                <a:gd name="T6" fmla="*/ 0 w 212"/>
                <a:gd name="T7" fmla="*/ 0 h 126"/>
                <a:gd name="T8" fmla="*/ 87 w 212"/>
                <a:gd name="T9" fmla="*/ 0 h 126"/>
                <a:gd name="T10" fmla="*/ 211 w 212"/>
                <a:gd name="T11" fmla="*/ 125 h 126"/>
                <a:gd name="T12" fmla="*/ 211 w 212"/>
                <a:gd name="T13" fmla="*/ 125 h 126"/>
                <a:gd name="T14" fmla="*/ 211 w 212"/>
                <a:gd name="T15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26">
                  <a:moveTo>
                    <a:pt x="211" y="125"/>
                  </a:moveTo>
                  <a:lnTo>
                    <a:pt x="211" y="125"/>
                  </a:lnTo>
                  <a:cubicBezTo>
                    <a:pt x="124" y="125"/>
                    <a:pt x="124" y="125"/>
                    <a:pt x="124" y="125"/>
                  </a:cubicBezTo>
                  <a:cubicBezTo>
                    <a:pt x="124" y="50"/>
                    <a:pt x="62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49" y="0"/>
                    <a:pt x="211" y="50"/>
                    <a:pt x="211" y="125"/>
                  </a:cubicBezTo>
                  <a:close/>
                  <a:moveTo>
                    <a:pt x="211" y="125"/>
                  </a:moveTo>
                  <a:lnTo>
                    <a:pt x="211" y="125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986">
              <a:extLst>
                <a:ext uri="{FF2B5EF4-FFF2-40B4-BE49-F238E27FC236}">
                  <a16:creationId xmlns:a16="http://schemas.microsoft.com/office/drawing/2014/main" id="{6EA70E17-19AD-4D71-B417-B2FC0D7D8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763" y="6429375"/>
              <a:ext cx="112712" cy="46038"/>
            </a:xfrm>
            <a:custGeom>
              <a:avLst/>
              <a:gdLst>
                <a:gd name="T0" fmla="*/ 311 w 312"/>
                <a:gd name="T1" fmla="*/ 87 h 126"/>
                <a:gd name="T2" fmla="*/ 311 w 312"/>
                <a:gd name="T3" fmla="*/ 87 h 126"/>
                <a:gd name="T4" fmla="*/ 311 w 312"/>
                <a:gd name="T5" fmla="*/ 125 h 126"/>
                <a:gd name="T6" fmla="*/ 62 w 312"/>
                <a:gd name="T7" fmla="*/ 125 h 126"/>
                <a:gd name="T8" fmla="*/ 0 w 312"/>
                <a:gd name="T9" fmla="*/ 62 h 126"/>
                <a:gd name="T10" fmla="*/ 0 w 312"/>
                <a:gd name="T11" fmla="*/ 13 h 126"/>
                <a:gd name="T12" fmla="*/ 0 w 312"/>
                <a:gd name="T13" fmla="*/ 0 h 126"/>
                <a:gd name="T14" fmla="*/ 224 w 312"/>
                <a:gd name="T15" fmla="*/ 0 h 126"/>
                <a:gd name="T16" fmla="*/ 311 w 312"/>
                <a:gd name="T17" fmla="*/ 87 h 126"/>
                <a:gd name="T18" fmla="*/ 311 w 312"/>
                <a:gd name="T19" fmla="*/ 87 h 126"/>
                <a:gd name="T20" fmla="*/ 311 w 312"/>
                <a:gd name="T21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126">
                  <a:moveTo>
                    <a:pt x="311" y="87"/>
                  </a:moveTo>
                  <a:lnTo>
                    <a:pt x="311" y="87"/>
                  </a:lnTo>
                  <a:cubicBezTo>
                    <a:pt x="311" y="125"/>
                    <a:pt x="311" y="125"/>
                    <a:pt x="311" y="125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25" y="125"/>
                    <a:pt x="0" y="100"/>
                    <a:pt x="0" y="62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0"/>
                  </a:lnTo>
                  <a:cubicBezTo>
                    <a:pt x="224" y="0"/>
                    <a:pt x="224" y="0"/>
                    <a:pt x="224" y="0"/>
                  </a:cubicBezTo>
                  <a:cubicBezTo>
                    <a:pt x="274" y="0"/>
                    <a:pt x="311" y="37"/>
                    <a:pt x="311" y="87"/>
                  </a:cubicBezTo>
                  <a:close/>
                  <a:moveTo>
                    <a:pt x="311" y="87"/>
                  </a:moveTo>
                  <a:lnTo>
                    <a:pt x="311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987">
              <a:extLst>
                <a:ext uri="{FF2B5EF4-FFF2-40B4-BE49-F238E27FC236}">
                  <a16:creationId xmlns:a16="http://schemas.microsoft.com/office/drawing/2014/main" id="{5334E9B2-1A89-4690-93A5-206A6A4B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5" y="6429375"/>
              <a:ext cx="63500" cy="46038"/>
            </a:xfrm>
            <a:custGeom>
              <a:avLst/>
              <a:gdLst>
                <a:gd name="T0" fmla="*/ 174 w 175"/>
                <a:gd name="T1" fmla="*/ 87 h 126"/>
                <a:gd name="T2" fmla="*/ 174 w 175"/>
                <a:gd name="T3" fmla="*/ 87 h 126"/>
                <a:gd name="T4" fmla="*/ 174 w 175"/>
                <a:gd name="T5" fmla="*/ 125 h 126"/>
                <a:gd name="T6" fmla="*/ 87 w 175"/>
                <a:gd name="T7" fmla="*/ 125 h 126"/>
                <a:gd name="T8" fmla="*/ 0 w 175"/>
                <a:gd name="T9" fmla="*/ 0 h 126"/>
                <a:gd name="T10" fmla="*/ 87 w 175"/>
                <a:gd name="T11" fmla="*/ 0 h 126"/>
                <a:gd name="T12" fmla="*/ 174 w 175"/>
                <a:gd name="T13" fmla="*/ 87 h 126"/>
                <a:gd name="T14" fmla="*/ 174 w 175"/>
                <a:gd name="T15" fmla="*/ 87 h 126"/>
                <a:gd name="T16" fmla="*/ 174 w 175"/>
                <a:gd name="T17" fmla="*/ 8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26">
                  <a:moveTo>
                    <a:pt x="174" y="87"/>
                  </a:moveTo>
                  <a:lnTo>
                    <a:pt x="174" y="87"/>
                  </a:lnTo>
                  <a:cubicBezTo>
                    <a:pt x="174" y="125"/>
                    <a:pt x="174" y="125"/>
                    <a:pt x="174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62"/>
                    <a:pt x="75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7" y="0"/>
                    <a:pt x="174" y="37"/>
                    <a:pt x="174" y="87"/>
                  </a:cubicBezTo>
                  <a:close/>
                  <a:moveTo>
                    <a:pt x="174" y="87"/>
                  </a:moveTo>
                  <a:lnTo>
                    <a:pt x="174" y="87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988">
              <a:extLst>
                <a:ext uri="{FF2B5EF4-FFF2-40B4-BE49-F238E27FC236}">
                  <a16:creationId xmlns:a16="http://schemas.microsoft.com/office/drawing/2014/main" id="{AFF8D054-139B-4245-820C-BD0B63D86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927725"/>
              <a:ext cx="85725" cy="93663"/>
            </a:xfrm>
            <a:custGeom>
              <a:avLst/>
              <a:gdLst>
                <a:gd name="T0" fmla="*/ 236 w 237"/>
                <a:gd name="T1" fmla="*/ 24 h 262"/>
                <a:gd name="T2" fmla="*/ 236 w 237"/>
                <a:gd name="T3" fmla="*/ 24 h 262"/>
                <a:gd name="T4" fmla="*/ 236 w 237"/>
                <a:gd name="T5" fmla="*/ 149 h 262"/>
                <a:gd name="T6" fmla="*/ 112 w 237"/>
                <a:gd name="T7" fmla="*/ 261 h 262"/>
                <a:gd name="T8" fmla="*/ 74 w 237"/>
                <a:gd name="T9" fmla="*/ 249 h 262"/>
                <a:gd name="T10" fmla="*/ 0 w 237"/>
                <a:gd name="T11" fmla="*/ 149 h 262"/>
                <a:gd name="T12" fmla="*/ 0 w 237"/>
                <a:gd name="T13" fmla="*/ 24 h 262"/>
                <a:gd name="T14" fmla="*/ 124 w 237"/>
                <a:gd name="T15" fmla="*/ 0 h 262"/>
                <a:gd name="T16" fmla="*/ 236 w 237"/>
                <a:gd name="T17" fmla="*/ 24 h 262"/>
                <a:gd name="T18" fmla="*/ 236 w 237"/>
                <a:gd name="T19" fmla="*/ 24 h 262"/>
                <a:gd name="T20" fmla="*/ 236 w 237"/>
                <a:gd name="T21" fmla="*/ 2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262">
                  <a:moveTo>
                    <a:pt x="236" y="24"/>
                  </a:moveTo>
                  <a:lnTo>
                    <a:pt x="236" y="24"/>
                  </a:lnTo>
                  <a:cubicBezTo>
                    <a:pt x="236" y="149"/>
                    <a:pt x="236" y="149"/>
                    <a:pt x="236" y="149"/>
                  </a:cubicBezTo>
                  <a:cubicBezTo>
                    <a:pt x="236" y="212"/>
                    <a:pt x="186" y="261"/>
                    <a:pt x="112" y="261"/>
                  </a:cubicBezTo>
                  <a:cubicBezTo>
                    <a:pt x="99" y="261"/>
                    <a:pt x="87" y="261"/>
                    <a:pt x="74" y="249"/>
                  </a:cubicBezTo>
                  <a:cubicBezTo>
                    <a:pt x="37" y="236"/>
                    <a:pt x="0" y="199"/>
                    <a:pt x="0" y="14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24" y="0"/>
                    <a:pt x="124" y="0"/>
                    <a:pt x="124" y="0"/>
                  </a:cubicBezTo>
                  <a:lnTo>
                    <a:pt x="236" y="24"/>
                  </a:lnTo>
                  <a:close/>
                  <a:moveTo>
                    <a:pt x="236" y="24"/>
                  </a:moveTo>
                  <a:lnTo>
                    <a:pt x="236" y="24"/>
                  </a:lnTo>
                  <a:close/>
                </a:path>
              </a:pathLst>
            </a:custGeom>
            <a:solidFill>
              <a:srgbClr val="27ABB9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990">
              <a:extLst>
                <a:ext uri="{FF2B5EF4-FFF2-40B4-BE49-F238E27FC236}">
                  <a16:creationId xmlns:a16="http://schemas.microsoft.com/office/drawing/2014/main" id="{4C8FB67F-99B0-4780-BFDA-14029201C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6675" y="5886450"/>
              <a:ext cx="107950" cy="49213"/>
            </a:xfrm>
            <a:custGeom>
              <a:avLst/>
              <a:gdLst>
                <a:gd name="T0" fmla="*/ 299 w 300"/>
                <a:gd name="T1" fmla="*/ 63 h 138"/>
                <a:gd name="T2" fmla="*/ 299 w 300"/>
                <a:gd name="T3" fmla="*/ 63 h 138"/>
                <a:gd name="T4" fmla="*/ 236 w 300"/>
                <a:gd name="T5" fmla="*/ 137 h 138"/>
                <a:gd name="T6" fmla="*/ 0 w 300"/>
                <a:gd name="T7" fmla="*/ 137 h 138"/>
                <a:gd name="T8" fmla="*/ 0 w 300"/>
                <a:gd name="T9" fmla="*/ 63 h 138"/>
                <a:gd name="T10" fmla="*/ 74 w 300"/>
                <a:gd name="T11" fmla="*/ 0 h 138"/>
                <a:gd name="T12" fmla="*/ 236 w 300"/>
                <a:gd name="T13" fmla="*/ 0 h 138"/>
                <a:gd name="T14" fmla="*/ 299 w 300"/>
                <a:gd name="T15" fmla="*/ 63 h 138"/>
                <a:gd name="T16" fmla="*/ 299 w 300"/>
                <a:gd name="T17" fmla="*/ 63 h 138"/>
                <a:gd name="T18" fmla="*/ 299 w 300"/>
                <a:gd name="T19" fmla="*/ 6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138">
                  <a:moveTo>
                    <a:pt x="299" y="63"/>
                  </a:moveTo>
                  <a:lnTo>
                    <a:pt x="299" y="63"/>
                  </a:lnTo>
                  <a:cubicBezTo>
                    <a:pt x="299" y="100"/>
                    <a:pt x="274" y="137"/>
                    <a:pt x="236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5"/>
                    <a:pt x="24" y="0"/>
                    <a:pt x="7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74" y="0"/>
                    <a:pt x="299" y="25"/>
                    <a:pt x="299" y="63"/>
                  </a:cubicBezTo>
                  <a:close/>
                  <a:moveTo>
                    <a:pt x="299" y="63"/>
                  </a:moveTo>
                  <a:lnTo>
                    <a:pt x="299" y="63"/>
                  </a:lnTo>
                  <a:close/>
                </a:path>
              </a:pathLst>
            </a:custGeom>
            <a:solidFill>
              <a:srgbClr val="27ABB9">
                <a:lumMod val="40000"/>
                <a:lumOff val="6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V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9">
            <a:extLst>
              <a:ext uri="{FF2B5EF4-FFF2-40B4-BE49-F238E27FC236}">
                <a16:creationId xmlns:a16="http://schemas.microsoft.com/office/drawing/2014/main" id="{AE6984CB-0343-47F9-84BD-3D557B756EAE}"/>
              </a:ext>
            </a:extLst>
          </p:cNvPr>
          <p:cNvGrpSpPr/>
          <p:nvPr userDrawn="1"/>
        </p:nvGrpSpPr>
        <p:grpSpPr>
          <a:xfrm>
            <a:off x="1625534" y="2389132"/>
            <a:ext cx="1269531" cy="890148"/>
            <a:chOff x="2430458" y="5722074"/>
            <a:chExt cx="3955689" cy="3951307"/>
          </a:xfrm>
        </p:grpSpPr>
        <p:sp>
          <p:nvSpPr>
            <p:cNvPr id="153" name="Freeform 115">
              <a:extLst>
                <a:ext uri="{FF2B5EF4-FFF2-40B4-BE49-F238E27FC236}">
                  <a16:creationId xmlns:a16="http://schemas.microsoft.com/office/drawing/2014/main" id="{CAAEE9DA-CD81-4F91-BFBE-51617DF2E56C}"/>
                </a:ext>
              </a:extLst>
            </p:cNvPr>
            <p:cNvSpPr/>
            <p:nvPr/>
          </p:nvSpPr>
          <p:spPr>
            <a:xfrm>
              <a:off x="2810590" y="6102748"/>
              <a:ext cx="3195424" cy="3191883"/>
            </a:xfrm>
            <a:custGeom>
              <a:avLst/>
              <a:gdLst>
                <a:gd name="connsiteX0" fmla="*/ 630883 w 1261872"/>
                <a:gd name="connsiteY0" fmla="*/ 1260356 h 1260474"/>
                <a:gd name="connsiteX1" fmla="*/ 1261820 w 1261872"/>
                <a:gd name="connsiteY1" fmla="*/ 630119 h 1260474"/>
                <a:gd name="connsiteX2" fmla="*/ 630883 w 1261872"/>
                <a:gd name="connsiteY2" fmla="*/ -118 h 1260474"/>
                <a:gd name="connsiteX3" fmla="*/ -53 w 1261872"/>
                <a:gd name="connsiteY3" fmla="*/ 630119 h 1260474"/>
                <a:gd name="connsiteX4" fmla="*/ 630883 w 1261872"/>
                <a:gd name="connsiteY4" fmla="*/ 1260356 h 126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872" h="1260474">
                  <a:moveTo>
                    <a:pt x="630883" y="1260356"/>
                  </a:moveTo>
                  <a:cubicBezTo>
                    <a:pt x="979337" y="1260356"/>
                    <a:pt x="1261820" y="978186"/>
                    <a:pt x="1261820" y="630119"/>
                  </a:cubicBezTo>
                  <a:cubicBezTo>
                    <a:pt x="1261820" y="282051"/>
                    <a:pt x="979337" y="-118"/>
                    <a:pt x="630883" y="-118"/>
                  </a:cubicBezTo>
                  <a:cubicBezTo>
                    <a:pt x="282430" y="-118"/>
                    <a:pt x="-53" y="282051"/>
                    <a:pt x="-53" y="630119"/>
                  </a:cubicBezTo>
                  <a:cubicBezTo>
                    <a:pt x="-53" y="978186"/>
                    <a:pt x="282430" y="1260356"/>
                    <a:pt x="630883" y="12603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16">
              <a:extLst>
                <a:ext uri="{FF2B5EF4-FFF2-40B4-BE49-F238E27FC236}">
                  <a16:creationId xmlns:a16="http://schemas.microsoft.com/office/drawing/2014/main" id="{AE0EBD67-6E55-4F59-BDD2-6FE5726BDB01}"/>
                </a:ext>
              </a:extLst>
            </p:cNvPr>
            <p:cNvSpPr/>
            <p:nvPr/>
          </p:nvSpPr>
          <p:spPr>
            <a:xfrm>
              <a:off x="4422049" y="6122986"/>
              <a:ext cx="1514739" cy="1446081"/>
            </a:xfrm>
            <a:custGeom>
              <a:avLst/>
              <a:gdLst>
                <a:gd name="connsiteX0" fmla="*/ 138 w 598170"/>
                <a:gd name="connsiteY0" fmla="*/ 415188 h 571057"/>
                <a:gd name="connsiteX1" fmla="*/ 200163 w 598170"/>
                <a:gd name="connsiteY1" fmla="*/ 570939 h 571057"/>
                <a:gd name="connsiteX2" fmla="*/ 598118 w 598170"/>
                <a:gd name="connsiteY2" fmla="*/ 450772 h 571057"/>
                <a:gd name="connsiteX3" fmla="*/ -53 w 598170"/>
                <a:gd name="connsiteY3" fmla="*/ -118 h 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170" h="571057">
                  <a:moveTo>
                    <a:pt x="138" y="415188"/>
                  </a:moveTo>
                  <a:cubicBezTo>
                    <a:pt x="93616" y="418166"/>
                    <a:pt x="174455" y="481113"/>
                    <a:pt x="200163" y="570939"/>
                  </a:cubicBezTo>
                  <a:lnTo>
                    <a:pt x="598118" y="450772"/>
                  </a:lnTo>
                  <a:cubicBezTo>
                    <a:pt x="519298" y="185699"/>
                    <a:pt x="276753" y="2879"/>
                    <a:pt x="-53" y="-118"/>
                  </a:cubicBezTo>
                  <a:close/>
                </a:path>
              </a:pathLst>
            </a:custGeom>
            <a:solidFill>
              <a:srgbClr val="01B2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17">
              <a:extLst>
                <a:ext uri="{FF2B5EF4-FFF2-40B4-BE49-F238E27FC236}">
                  <a16:creationId xmlns:a16="http://schemas.microsoft.com/office/drawing/2014/main" id="{58E15A5C-FF85-4372-BD20-CFEE17F1FFDE}"/>
                </a:ext>
              </a:extLst>
            </p:cNvPr>
            <p:cNvSpPr/>
            <p:nvPr/>
          </p:nvSpPr>
          <p:spPr>
            <a:xfrm>
              <a:off x="4817377" y="7298742"/>
              <a:ext cx="1185767" cy="1463908"/>
            </a:xfrm>
            <a:custGeom>
              <a:avLst/>
              <a:gdLst>
                <a:gd name="connsiteX0" fmla="*/ 52621 w 468259"/>
                <a:gd name="connsiteY0" fmla="*/ 165623 h 578097"/>
                <a:gd name="connsiteX1" fmla="*/ -53 w 468259"/>
                <a:gd name="connsiteY1" fmla="*/ 306342 h 578097"/>
                <a:gd name="connsiteX2" fmla="*/ 314272 w 468259"/>
                <a:gd name="connsiteY2" fmla="*/ 577979 h 578097"/>
                <a:gd name="connsiteX3" fmla="*/ 446003 w 468259"/>
                <a:gd name="connsiteY3" fmla="*/ -118 h 578097"/>
                <a:gd name="connsiteX4" fmla="*/ 47668 w 468259"/>
                <a:gd name="connsiteY4" fmla="*/ 120239 h 578097"/>
                <a:gd name="connsiteX5" fmla="*/ 52621 w 468259"/>
                <a:gd name="connsiteY5" fmla="*/ 165623 h 5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259" h="578097">
                  <a:moveTo>
                    <a:pt x="52621" y="165623"/>
                  </a:moveTo>
                  <a:cubicBezTo>
                    <a:pt x="52659" y="217343"/>
                    <a:pt x="33942" y="267333"/>
                    <a:pt x="-53" y="306342"/>
                  </a:cubicBezTo>
                  <a:lnTo>
                    <a:pt x="314272" y="577979"/>
                  </a:lnTo>
                  <a:cubicBezTo>
                    <a:pt x="451880" y="419250"/>
                    <a:pt x="501277" y="202472"/>
                    <a:pt x="446003" y="-118"/>
                  </a:cubicBezTo>
                  <a:lnTo>
                    <a:pt x="47668" y="120239"/>
                  </a:lnTo>
                  <a:cubicBezTo>
                    <a:pt x="50963" y="135139"/>
                    <a:pt x="52630" y="150362"/>
                    <a:pt x="52621" y="165623"/>
                  </a:cubicBezTo>
                  <a:close/>
                </a:path>
              </a:pathLst>
            </a:custGeom>
            <a:solidFill>
              <a:srgbClr val="4BB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18">
              <a:extLst>
                <a:ext uri="{FF2B5EF4-FFF2-40B4-BE49-F238E27FC236}">
                  <a16:creationId xmlns:a16="http://schemas.microsoft.com/office/drawing/2014/main" id="{2EBD0393-932A-4E91-ABEC-61E1F557CF4D}"/>
                </a:ext>
              </a:extLst>
            </p:cNvPr>
            <p:cNvSpPr/>
            <p:nvPr/>
          </p:nvSpPr>
          <p:spPr>
            <a:xfrm>
              <a:off x="2874507" y="6123226"/>
              <a:ext cx="1513290" cy="1446321"/>
            </a:xfrm>
            <a:custGeom>
              <a:avLst/>
              <a:gdLst>
                <a:gd name="connsiteX0" fmla="*/ 397521 w 597598"/>
                <a:gd name="connsiteY0" fmla="*/ 571034 h 571152"/>
                <a:gd name="connsiteX1" fmla="*/ 597546 w 597598"/>
                <a:gd name="connsiteY1" fmla="*/ 415188 h 571152"/>
                <a:gd name="connsiteX2" fmla="*/ 597546 w 597598"/>
                <a:gd name="connsiteY2" fmla="*/ -118 h 571152"/>
                <a:gd name="connsiteX3" fmla="*/ -53 w 597598"/>
                <a:gd name="connsiteY3" fmla="*/ 450772 h 57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598" h="571152">
                  <a:moveTo>
                    <a:pt x="397521" y="571034"/>
                  </a:moveTo>
                  <a:cubicBezTo>
                    <a:pt x="423162" y="481160"/>
                    <a:pt x="504030" y="418146"/>
                    <a:pt x="597546" y="415188"/>
                  </a:cubicBezTo>
                  <a:lnTo>
                    <a:pt x="597546" y="-118"/>
                  </a:lnTo>
                  <a:cubicBezTo>
                    <a:pt x="320950" y="3126"/>
                    <a:pt x="78700" y="185899"/>
                    <a:pt x="-53" y="450772"/>
                  </a:cubicBezTo>
                  <a:close/>
                </a:path>
              </a:pathLst>
            </a:custGeom>
            <a:solidFill>
              <a:srgbClr val="0289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19">
              <a:extLst>
                <a:ext uri="{FF2B5EF4-FFF2-40B4-BE49-F238E27FC236}">
                  <a16:creationId xmlns:a16="http://schemas.microsoft.com/office/drawing/2014/main" id="{6EB19B83-4EDD-4E96-9D40-A3AFBC9995C1}"/>
                </a:ext>
              </a:extLst>
            </p:cNvPr>
            <p:cNvSpPr/>
            <p:nvPr/>
          </p:nvSpPr>
          <p:spPr>
            <a:xfrm>
              <a:off x="2808148" y="7299224"/>
              <a:ext cx="1185286" cy="1463428"/>
            </a:xfrm>
            <a:custGeom>
              <a:avLst/>
              <a:gdLst>
                <a:gd name="connsiteX0" fmla="*/ 468017 w 468069"/>
                <a:gd name="connsiteY0" fmla="*/ 306152 h 577907"/>
                <a:gd name="connsiteX1" fmla="*/ 420392 w 468069"/>
                <a:gd name="connsiteY1" fmla="*/ 120240 h 577907"/>
                <a:gd name="connsiteX2" fmla="*/ 22057 w 468069"/>
                <a:gd name="connsiteY2" fmla="*/ -118 h 577907"/>
                <a:gd name="connsiteX3" fmla="*/ 153883 w 468069"/>
                <a:gd name="connsiteY3" fmla="*/ 577789 h 57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69" h="577907">
                  <a:moveTo>
                    <a:pt x="468017" y="306152"/>
                  </a:moveTo>
                  <a:cubicBezTo>
                    <a:pt x="423707" y="255135"/>
                    <a:pt x="406057" y="186241"/>
                    <a:pt x="420392" y="120240"/>
                  </a:cubicBezTo>
                  <a:lnTo>
                    <a:pt x="22057" y="-118"/>
                  </a:lnTo>
                  <a:cubicBezTo>
                    <a:pt x="-33064" y="202425"/>
                    <a:pt x="16351" y="419088"/>
                    <a:pt x="153883" y="577789"/>
                  </a:cubicBezTo>
                  <a:close/>
                </a:path>
              </a:pathLst>
            </a:custGeom>
            <a:solidFill>
              <a:srgbClr val="FF7A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20">
              <a:extLst>
                <a:ext uri="{FF2B5EF4-FFF2-40B4-BE49-F238E27FC236}">
                  <a16:creationId xmlns:a16="http://schemas.microsoft.com/office/drawing/2014/main" id="{7395C673-3C99-4EA9-BB2F-4FCD0863AAE3}"/>
                </a:ext>
              </a:extLst>
            </p:cNvPr>
            <p:cNvSpPr/>
            <p:nvPr/>
          </p:nvSpPr>
          <p:spPr>
            <a:xfrm>
              <a:off x="2430458" y="5722074"/>
              <a:ext cx="3955689" cy="3951307"/>
            </a:xfrm>
            <a:custGeom>
              <a:avLst/>
              <a:gdLst>
                <a:gd name="connsiteX0" fmla="*/ 780998 w 1562100"/>
                <a:gd name="connsiteY0" fmla="*/ -118 h 1560370"/>
                <a:gd name="connsiteX1" fmla="*/ -53 w 1562100"/>
                <a:gd name="connsiteY1" fmla="*/ 780067 h 1560370"/>
                <a:gd name="connsiteX2" fmla="*/ 780998 w 1562100"/>
                <a:gd name="connsiteY2" fmla="*/ 1560252 h 1560370"/>
                <a:gd name="connsiteX3" fmla="*/ 1562048 w 1562100"/>
                <a:gd name="connsiteY3" fmla="*/ 780067 h 1560370"/>
                <a:gd name="connsiteX4" fmla="*/ 780998 w 1562100"/>
                <a:gd name="connsiteY4" fmla="*/ -118 h 1560370"/>
                <a:gd name="connsiteX5" fmla="*/ 780998 w 1562100"/>
                <a:gd name="connsiteY5" fmla="*/ 1403358 h 1560370"/>
                <a:gd name="connsiteX6" fmla="*/ 157396 w 1562100"/>
                <a:gd name="connsiteY6" fmla="*/ 780447 h 1560370"/>
                <a:gd name="connsiteX7" fmla="*/ 780998 w 1562100"/>
                <a:gd name="connsiteY7" fmla="*/ 157536 h 1560370"/>
                <a:gd name="connsiteX8" fmla="*/ 1404599 w 1562100"/>
                <a:gd name="connsiteY8" fmla="*/ 780447 h 1560370"/>
                <a:gd name="connsiteX9" fmla="*/ 781283 w 1562100"/>
                <a:gd name="connsiteY9" fmla="*/ 1403644 h 1560370"/>
                <a:gd name="connsiteX10" fmla="*/ 780998 w 1562100"/>
                <a:gd name="connsiteY10" fmla="*/ 1403644 h 156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2100" h="1560370">
                  <a:moveTo>
                    <a:pt x="780998" y="-118"/>
                  </a:moveTo>
                  <a:cubicBezTo>
                    <a:pt x="349639" y="-118"/>
                    <a:pt x="-53" y="349185"/>
                    <a:pt x="-53" y="780067"/>
                  </a:cubicBezTo>
                  <a:cubicBezTo>
                    <a:pt x="-53" y="1210948"/>
                    <a:pt x="349639" y="1560252"/>
                    <a:pt x="780998" y="1560252"/>
                  </a:cubicBezTo>
                  <a:cubicBezTo>
                    <a:pt x="1212356" y="1560252"/>
                    <a:pt x="1562048" y="1210948"/>
                    <a:pt x="1562048" y="780067"/>
                  </a:cubicBezTo>
                  <a:cubicBezTo>
                    <a:pt x="1562048" y="349185"/>
                    <a:pt x="1212356" y="-118"/>
                    <a:pt x="780998" y="-118"/>
                  </a:cubicBezTo>
                  <a:close/>
                  <a:moveTo>
                    <a:pt x="780998" y="1403358"/>
                  </a:moveTo>
                  <a:cubicBezTo>
                    <a:pt x="436593" y="1403358"/>
                    <a:pt x="157396" y="1124471"/>
                    <a:pt x="157396" y="780447"/>
                  </a:cubicBezTo>
                  <a:cubicBezTo>
                    <a:pt x="157396" y="436424"/>
                    <a:pt x="436593" y="157536"/>
                    <a:pt x="780998" y="157536"/>
                  </a:cubicBezTo>
                  <a:cubicBezTo>
                    <a:pt x="1125403" y="157536"/>
                    <a:pt x="1404599" y="436424"/>
                    <a:pt x="1404599" y="780447"/>
                  </a:cubicBezTo>
                  <a:cubicBezTo>
                    <a:pt x="1404761" y="1124471"/>
                    <a:pt x="1125688" y="1403482"/>
                    <a:pt x="781283" y="1403644"/>
                  </a:cubicBezTo>
                  <a:cubicBezTo>
                    <a:pt x="781188" y="1403644"/>
                    <a:pt x="781093" y="1403644"/>
                    <a:pt x="780998" y="1403644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1">
              <a:extLst>
                <a:ext uri="{FF2B5EF4-FFF2-40B4-BE49-F238E27FC236}">
                  <a16:creationId xmlns:a16="http://schemas.microsoft.com/office/drawing/2014/main" id="{22245F87-BE78-40E6-A8B0-AA8B8148DF8D}"/>
                </a:ext>
              </a:extLst>
            </p:cNvPr>
            <p:cNvSpPr/>
            <p:nvPr/>
          </p:nvSpPr>
          <p:spPr>
            <a:xfrm>
              <a:off x="3997777" y="6435959"/>
              <a:ext cx="561271" cy="1326577"/>
            </a:xfrm>
            <a:custGeom>
              <a:avLst/>
              <a:gdLst>
                <a:gd name="connsiteX0" fmla="*/ 0 w 221646"/>
                <a:gd name="connsiteY0" fmla="*/ 9610 h 523865"/>
                <a:gd name="connsiteX1" fmla="*/ 100298 w 221646"/>
                <a:gd name="connsiteY1" fmla="*/ 523866 h 523865"/>
                <a:gd name="connsiteX2" fmla="*/ 221647 w 221646"/>
                <a:gd name="connsiteY2" fmla="*/ 489138 h 523865"/>
                <a:gd name="connsiteX3" fmla="*/ 33814 w 221646"/>
                <a:gd name="connsiteY3" fmla="*/ 0 h 523865"/>
                <a:gd name="connsiteX4" fmla="*/ 0 w 221646"/>
                <a:gd name="connsiteY4" fmla="*/ 9610 h 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646" h="523865">
                  <a:moveTo>
                    <a:pt x="0" y="9610"/>
                  </a:moveTo>
                  <a:lnTo>
                    <a:pt x="100298" y="523866"/>
                  </a:lnTo>
                  <a:lnTo>
                    <a:pt x="221647" y="489138"/>
                  </a:lnTo>
                  <a:lnTo>
                    <a:pt x="33814" y="0"/>
                  </a:lnTo>
                  <a:lnTo>
                    <a:pt x="0" y="9610"/>
                  </a:ln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654D7E46-5427-4E82-8949-42AC87267903}"/>
                </a:ext>
              </a:extLst>
            </p:cNvPr>
            <p:cNvSpPr/>
            <p:nvPr/>
          </p:nvSpPr>
          <p:spPr>
            <a:xfrm>
              <a:off x="4096562" y="7409586"/>
              <a:ext cx="617631" cy="616944"/>
            </a:xfrm>
            <a:custGeom>
              <a:avLst/>
              <a:gdLst>
                <a:gd name="connsiteX0" fmla="*/ 239163 w 243902"/>
                <a:gd name="connsiteY0" fmla="*/ 88360 h 243631"/>
                <a:gd name="connsiteX1" fmla="*/ 155276 w 243902"/>
                <a:gd name="connsiteY1" fmla="*/ 238831 h 243631"/>
                <a:gd name="connsiteX2" fmla="*/ 4638 w 243902"/>
                <a:gd name="connsiteY2" fmla="*/ 155037 h 243631"/>
                <a:gd name="connsiteX3" fmla="*/ 88287 w 243902"/>
                <a:gd name="connsiteY3" fmla="*/ 4633 h 243631"/>
                <a:gd name="connsiteX4" fmla="*/ 239096 w 243902"/>
                <a:gd name="connsiteY4" fmla="*/ 88122 h 243631"/>
                <a:gd name="connsiteX5" fmla="*/ 239163 w 243902"/>
                <a:gd name="connsiteY5" fmla="*/ 88360 h 24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02" h="243631">
                  <a:moveTo>
                    <a:pt x="239163" y="88360"/>
                  </a:moveTo>
                  <a:cubicBezTo>
                    <a:pt x="257593" y="153049"/>
                    <a:pt x="220036" y="220420"/>
                    <a:pt x="155276" y="238831"/>
                  </a:cubicBezTo>
                  <a:cubicBezTo>
                    <a:pt x="90515" y="257241"/>
                    <a:pt x="23069" y="219726"/>
                    <a:pt x="4638" y="155037"/>
                  </a:cubicBezTo>
                  <a:cubicBezTo>
                    <a:pt x="-13774" y="90434"/>
                    <a:pt x="23650" y="23148"/>
                    <a:pt x="88287" y="4633"/>
                  </a:cubicBezTo>
                  <a:cubicBezTo>
                    <a:pt x="153009" y="-13911"/>
                    <a:pt x="220532" y="23471"/>
                    <a:pt x="239096" y="88122"/>
                  </a:cubicBezTo>
                  <a:cubicBezTo>
                    <a:pt x="239115" y="88198"/>
                    <a:pt x="239144" y="88284"/>
                    <a:pt x="239163" y="88360"/>
                  </a:cubicBezTo>
                  <a:close/>
                </a:path>
              </a:pathLst>
            </a:custGeom>
            <a:solidFill>
              <a:srgbClr val="3F3E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26876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92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22965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scopo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5B44F0-271B-45CC-91D2-7D50BF2E18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7527" y="2571231"/>
            <a:ext cx="10265638" cy="580928"/>
          </a:xfrm>
          <a:noFill/>
        </p:spPr>
        <p:txBody>
          <a:bodyPr wrap="square" rtlCol="0">
            <a:spAutoFit/>
          </a:bodyPr>
          <a:lstStyle>
            <a:lvl1pPr>
              <a:defRPr lang="pt-BR" sz="3528" b="1" dirty="0">
                <a:solidFill>
                  <a:srgbClr val="353E48"/>
                </a:solidFill>
                <a:latin typeface="Trebuchet"/>
                <a:ea typeface="Lato" charset="0"/>
                <a:cs typeface="Lato" charset="0"/>
              </a:defRPr>
            </a:lvl1pPr>
          </a:lstStyle>
          <a:p>
            <a:pPr marL="0" lvl="0" defTabSz="1343808"/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484FB6-ACEE-4243-85EA-A8CBCE8E1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37527" y="3253841"/>
            <a:ext cx="10265638" cy="37734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2058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8640"/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395CA4-1FB1-4D0B-A0BF-999DBC955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0DF2F-8429-4D37-B97D-E4190ADE4EA3}" type="datetime1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25774C-4955-4DDF-9DC2-298E1978E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170">
            <a:extLst>
              <a:ext uri="{FF2B5EF4-FFF2-40B4-BE49-F238E27FC236}">
                <a16:creationId xmlns:a16="http://schemas.microsoft.com/office/drawing/2014/main" id="{C69E9B0E-7CE8-4E01-AC82-F030DBBB9C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-1001025"/>
            <a:ext cx="3879539" cy="3725113"/>
          </a:xfrm>
          <a:custGeom>
            <a:avLst/>
            <a:gdLst>
              <a:gd name="T0" fmla="*/ 386932365 w 3038"/>
              <a:gd name="T1" fmla="*/ 165421609 h 3029"/>
              <a:gd name="T2" fmla="*/ 386932365 w 3038"/>
              <a:gd name="T3" fmla="*/ 165421609 h 3029"/>
              <a:gd name="T4" fmla="*/ 358285057 w 3038"/>
              <a:gd name="T5" fmla="*/ 165421609 h 3029"/>
              <a:gd name="T6" fmla="*/ 333008041 w 3038"/>
              <a:gd name="T7" fmla="*/ 104749880 h 3029"/>
              <a:gd name="T8" fmla="*/ 353877862 w 3038"/>
              <a:gd name="T9" fmla="*/ 83748128 h 3029"/>
              <a:gd name="T10" fmla="*/ 353877862 w 3038"/>
              <a:gd name="T11" fmla="*/ 76099082 h 3029"/>
              <a:gd name="T12" fmla="*/ 317582678 w 3038"/>
              <a:gd name="T13" fmla="*/ 39669976 h 3029"/>
              <a:gd name="T14" fmla="*/ 309805190 w 3038"/>
              <a:gd name="T15" fmla="*/ 39669976 h 3029"/>
              <a:gd name="T16" fmla="*/ 288935369 w 3038"/>
              <a:gd name="T17" fmla="*/ 59505145 h 3029"/>
              <a:gd name="T18" fmla="*/ 228270819 w 3038"/>
              <a:gd name="T19" fmla="*/ 34225198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225198 h 3029"/>
              <a:gd name="T30" fmla="*/ 104737582 w 3038"/>
              <a:gd name="T31" fmla="*/ 59505145 h 3029"/>
              <a:gd name="T32" fmla="*/ 83738148 w 3038"/>
              <a:gd name="T33" fmla="*/ 39669976 h 3029"/>
              <a:gd name="T34" fmla="*/ 76090273 w 3038"/>
              <a:gd name="T35" fmla="*/ 39669976 h 3029"/>
              <a:gd name="T36" fmla="*/ 39665477 w 3038"/>
              <a:gd name="T37" fmla="*/ 76099082 h 3029"/>
              <a:gd name="T38" fmla="*/ 39665477 w 3038"/>
              <a:gd name="T39" fmla="*/ 83748128 h 3029"/>
              <a:gd name="T40" fmla="*/ 59498035 w 3038"/>
              <a:gd name="T41" fmla="*/ 104749880 h 3029"/>
              <a:gd name="T42" fmla="*/ 35258281 w 3038"/>
              <a:gd name="T43" fmla="*/ 165421609 h 3029"/>
              <a:gd name="T44" fmla="*/ 5444098 w 3038"/>
              <a:gd name="T45" fmla="*/ 165421609 h 3029"/>
              <a:gd name="T46" fmla="*/ 0 w 3038"/>
              <a:gd name="T47" fmla="*/ 170866747 h 3029"/>
              <a:gd name="T48" fmla="*/ 0 w 3038"/>
              <a:gd name="T49" fmla="*/ 222723206 h 3029"/>
              <a:gd name="T50" fmla="*/ 5444098 w 3038"/>
              <a:gd name="T51" fmla="*/ 228297605 h 3029"/>
              <a:gd name="T52" fmla="*/ 35258281 w 3038"/>
              <a:gd name="T53" fmla="*/ 228297605 h 3029"/>
              <a:gd name="T54" fmla="*/ 59498035 w 3038"/>
              <a:gd name="T55" fmla="*/ 288840073 h 3029"/>
              <a:gd name="T56" fmla="*/ 39665477 w 3038"/>
              <a:gd name="T57" fmla="*/ 309841825 h 3029"/>
              <a:gd name="T58" fmla="*/ 39665477 w 3038"/>
              <a:gd name="T59" fmla="*/ 317620132 h 3029"/>
              <a:gd name="T60" fmla="*/ 76090273 w 3038"/>
              <a:gd name="T61" fmla="*/ 353919617 h 3029"/>
              <a:gd name="T62" fmla="*/ 83738148 w 3038"/>
              <a:gd name="T63" fmla="*/ 353919617 h 3029"/>
              <a:gd name="T64" fmla="*/ 104737582 w 3038"/>
              <a:gd name="T65" fmla="*/ 333047485 h 3029"/>
              <a:gd name="T66" fmla="*/ 165402132 w 3038"/>
              <a:gd name="T67" fmla="*/ 358327432 h 3029"/>
              <a:gd name="T68" fmla="*/ 165402132 w 3038"/>
              <a:gd name="T69" fmla="*/ 387107851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7107851 h 3029"/>
              <a:gd name="T76" fmla="*/ 228270819 w 3038"/>
              <a:gd name="T77" fmla="*/ 358327432 h 3029"/>
              <a:gd name="T78" fmla="*/ 288935369 w 3038"/>
              <a:gd name="T79" fmla="*/ 333047485 h 3029"/>
              <a:gd name="T80" fmla="*/ 309805190 w 3038"/>
              <a:gd name="T81" fmla="*/ 353919617 h 3029"/>
              <a:gd name="T82" fmla="*/ 317582678 w 3038"/>
              <a:gd name="T83" fmla="*/ 353919617 h 3029"/>
              <a:gd name="T84" fmla="*/ 353877862 w 3038"/>
              <a:gd name="T85" fmla="*/ 317620132 h 3029"/>
              <a:gd name="T86" fmla="*/ 353877862 w 3038"/>
              <a:gd name="T87" fmla="*/ 309841825 h 3029"/>
              <a:gd name="T88" fmla="*/ 333008041 w 3038"/>
              <a:gd name="T89" fmla="*/ 288840073 h 3029"/>
              <a:gd name="T90" fmla="*/ 358285057 w 3038"/>
              <a:gd name="T91" fmla="*/ 228297605 h 3029"/>
              <a:gd name="T92" fmla="*/ 386932365 w 3038"/>
              <a:gd name="T93" fmla="*/ 228297605 h 3029"/>
              <a:gd name="T94" fmla="*/ 393672951 w 3038"/>
              <a:gd name="T95" fmla="*/ 222723206 h 3029"/>
              <a:gd name="T96" fmla="*/ 393672951 w 3038"/>
              <a:gd name="T97" fmla="*/ 170866747 h 3029"/>
              <a:gd name="T98" fmla="*/ 386932365 w 3038"/>
              <a:gd name="T99" fmla="*/ 165421609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28345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89"/>
                  <a:pt x="2407" y="289"/>
                  <a:pt x="2390" y="306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59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89"/>
                  <a:pt x="604" y="289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6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8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4"/>
                  <a:pt x="25" y="1761"/>
                  <a:pt x="42" y="1761"/>
                </a:cubicBezTo>
                <a:cubicBezTo>
                  <a:pt x="272" y="1761"/>
                  <a:pt x="272" y="1761"/>
                  <a:pt x="272" y="1761"/>
                </a:cubicBezTo>
                <a:cubicBezTo>
                  <a:pt x="306" y="1931"/>
                  <a:pt x="366" y="2093"/>
                  <a:pt x="459" y="2228"/>
                </a:cubicBezTo>
                <a:cubicBezTo>
                  <a:pt x="306" y="2390"/>
                  <a:pt x="306" y="2390"/>
                  <a:pt x="306" y="2390"/>
                </a:cubicBezTo>
                <a:cubicBezTo>
                  <a:pt x="289" y="2399"/>
                  <a:pt x="289" y="2433"/>
                  <a:pt x="306" y="2450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9"/>
                  <a:pt x="808" y="2569"/>
                  <a:pt x="808" y="2569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6"/>
                  <a:pt x="1276" y="2986"/>
                  <a:pt x="1276" y="2986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6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9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50"/>
                  <a:pt x="2730" y="2450"/>
                  <a:pt x="2730" y="2450"/>
                </a:cubicBezTo>
                <a:cubicBezTo>
                  <a:pt x="2747" y="2433"/>
                  <a:pt x="2747" y="2399"/>
                  <a:pt x="2730" y="2390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3"/>
                  <a:pt x="2730" y="1931"/>
                  <a:pt x="2764" y="1761"/>
                </a:cubicBezTo>
                <a:cubicBezTo>
                  <a:pt x="2985" y="1761"/>
                  <a:pt x="2985" y="1761"/>
                  <a:pt x="2985" y="1761"/>
                </a:cubicBezTo>
                <a:cubicBezTo>
                  <a:pt x="3011" y="1761"/>
                  <a:pt x="3037" y="1744"/>
                  <a:pt x="3037" y="1718"/>
                </a:cubicBezTo>
                <a:cubicBezTo>
                  <a:pt x="3037" y="1318"/>
                  <a:pt x="3037" y="1318"/>
                  <a:pt x="3037" y="1318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7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7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8" name="Freeform 171">
            <a:extLst>
              <a:ext uri="{FF2B5EF4-FFF2-40B4-BE49-F238E27FC236}">
                <a16:creationId xmlns:a16="http://schemas.microsoft.com/office/drawing/2014/main" id="{D6F0CBF4-56DE-4795-9534-0C0D44C331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891352"/>
            <a:ext cx="3868273" cy="3725119"/>
          </a:xfrm>
          <a:custGeom>
            <a:avLst/>
            <a:gdLst>
              <a:gd name="T0" fmla="*/ 387107851 w 3029"/>
              <a:gd name="T1" fmla="*/ 164276553 h 3030"/>
              <a:gd name="T2" fmla="*/ 387107851 w 3029"/>
              <a:gd name="T3" fmla="*/ 164276553 h 3030"/>
              <a:gd name="T4" fmla="*/ 358457052 w 3029"/>
              <a:gd name="T5" fmla="*/ 164276553 h 3030"/>
              <a:gd name="T6" fmla="*/ 333047485 w 3029"/>
              <a:gd name="T7" fmla="*/ 103644589 h 3030"/>
              <a:gd name="T8" fmla="*/ 354049237 w 3029"/>
              <a:gd name="T9" fmla="*/ 82786165 h 3030"/>
              <a:gd name="T10" fmla="*/ 354049237 w 3029"/>
              <a:gd name="T11" fmla="*/ 75012578 h 3030"/>
              <a:gd name="T12" fmla="*/ 316583168 w 3029"/>
              <a:gd name="T13" fmla="*/ 38607700 h 3030"/>
              <a:gd name="T14" fmla="*/ 308804501 w 3029"/>
              <a:gd name="T15" fmla="*/ 38607700 h 3030"/>
              <a:gd name="T16" fmla="*/ 288969693 w 3029"/>
              <a:gd name="T17" fmla="*/ 59595702 h 3030"/>
              <a:gd name="T18" fmla="*/ 228297605 w 3029"/>
              <a:gd name="T19" fmla="*/ 34202775 h 3030"/>
              <a:gd name="T20" fmla="*/ 228297605 w 3029"/>
              <a:gd name="T21" fmla="*/ 5570765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5 h 3030"/>
              <a:gd name="T28" fmla="*/ 164384645 w 3029"/>
              <a:gd name="T29" fmla="*/ 34202775 h 3030"/>
              <a:gd name="T30" fmla="*/ 103712556 w 3029"/>
              <a:gd name="T31" fmla="*/ 59595702 h 3030"/>
              <a:gd name="T32" fmla="*/ 83877748 w 3029"/>
              <a:gd name="T33" fmla="*/ 38607700 h 3030"/>
              <a:gd name="T34" fmla="*/ 76099082 w 3029"/>
              <a:gd name="T35" fmla="*/ 38607700 h 3030"/>
              <a:gd name="T36" fmla="*/ 38633013 w 3029"/>
              <a:gd name="T37" fmla="*/ 75012578 h 3030"/>
              <a:gd name="T38" fmla="*/ 38633013 w 3029"/>
              <a:gd name="T39" fmla="*/ 82786165 h 3030"/>
              <a:gd name="T40" fmla="*/ 59505145 w 3029"/>
              <a:gd name="T41" fmla="*/ 103644589 h 3030"/>
              <a:gd name="T42" fmla="*/ 34225198 w 3029"/>
              <a:gd name="T43" fmla="*/ 164276553 h 3030"/>
              <a:gd name="T44" fmla="*/ 5574399 w 3029"/>
              <a:gd name="T45" fmla="*/ 164276553 h 3030"/>
              <a:gd name="T46" fmla="*/ 0 w 3029"/>
              <a:gd name="T47" fmla="*/ 169847317 h 3030"/>
              <a:gd name="T48" fmla="*/ 0 w 3029"/>
              <a:gd name="T49" fmla="*/ 221539854 h 3030"/>
              <a:gd name="T50" fmla="*/ 5574399 w 3029"/>
              <a:gd name="T51" fmla="*/ 227110979 h 3030"/>
              <a:gd name="T52" fmla="*/ 34225198 w 3029"/>
              <a:gd name="T53" fmla="*/ 227110979 h 3030"/>
              <a:gd name="T54" fmla="*/ 59505145 w 3029"/>
              <a:gd name="T55" fmla="*/ 287742943 h 3030"/>
              <a:gd name="T56" fmla="*/ 38633013 w 3029"/>
              <a:gd name="T57" fmla="*/ 308601366 h 3030"/>
              <a:gd name="T58" fmla="*/ 38633013 w 3029"/>
              <a:gd name="T59" fmla="*/ 316374593 h 3030"/>
              <a:gd name="T60" fmla="*/ 76099082 w 3029"/>
              <a:gd name="T61" fmla="*/ 352650253 h 3030"/>
              <a:gd name="T62" fmla="*/ 83877748 w 3029"/>
              <a:gd name="T63" fmla="*/ 352650253 h 3030"/>
              <a:gd name="T64" fmla="*/ 103712556 w 3029"/>
              <a:gd name="T65" fmla="*/ 332828092 h 3030"/>
              <a:gd name="T66" fmla="*/ 164384645 w 3029"/>
              <a:gd name="T67" fmla="*/ 357055178 h 3030"/>
              <a:gd name="T68" fmla="*/ 164384645 w 3029"/>
              <a:gd name="T69" fmla="*/ 386853029 h 3030"/>
              <a:gd name="T70" fmla="*/ 169829424 w 3029"/>
              <a:gd name="T71" fmla="*/ 392423794 h 3030"/>
              <a:gd name="T72" fmla="*/ 222723206 w 3029"/>
              <a:gd name="T73" fmla="*/ 392423794 h 3030"/>
              <a:gd name="T74" fmla="*/ 228297605 w 3029"/>
              <a:gd name="T75" fmla="*/ 386853029 h 3030"/>
              <a:gd name="T76" fmla="*/ 228297605 w 3029"/>
              <a:gd name="T77" fmla="*/ 357055178 h 3030"/>
              <a:gd name="T78" fmla="*/ 288969693 w 3029"/>
              <a:gd name="T79" fmla="*/ 332828092 h 3030"/>
              <a:gd name="T80" fmla="*/ 308804501 w 3029"/>
              <a:gd name="T81" fmla="*/ 352650253 h 3030"/>
              <a:gd name="T82" fmla="*/ 316583168 w 3029"/>
              <a:gd name="T83" fmla="*/ 352650253 h 3030"/>
              <a:gd name="T84" fmla="*/ 354049237 w 3029"/>
              <a:gd name="T85" fmla="*/ 316374593 h 3030"/>
              <a:gd name="T86" fmla="*/ 354049237 w 3029"/>
              <a:gd name="T87" fmla="*/ 308601366 h 3030"/>
              <a:gd name="T88" fmla="*/ 333047485 w 3029"/>
              <a:gd name="T89" fmla="*/ 287742943 h 3030"/>
              <a:gd name="T90" fmla="*/ 358457052 w 3029"/>
              <a:gd name="T91" fmla="*/ 227110979 h 3030"/>
              <a:gd name="T92" fmla="*/ 387107851 w 3029"/>
              <a:gd name="T93" fmla="*/ 227110979 h 3030"/>
              <a:gd name="T94" fmla="*/ 392552629 w 3029"/>
              <a:gd name="T95" fmla="*/ 221539854 h 3030"/>
              <a:gd name="T96" fmla="*/ 392552629 w 3029"/>
              <a:gd name="T97" fmla="*/ 169847317 h 3030"/>
              <a:gd name="T98" fmla="*/ 387107851 w 3029"/>
              <a:gd name="T99" fmla="*/ 164276553 h 3030"/>
              <a:gd name="T100" fmla="*/ 196276315 w 3029"/>
              <a:gd name="T101" fmla="*/ 325184443 h 3030"/>
              <a:gd name="T102" fmla="*/ 196276315 w 3029"/>
              <a:gd name="T103" fmla="*/ 325184443 h 3030"/>
              <a:gd name="T104" fmla="*/ 67283451 w 3029"/>
              <a:gd name="T105" fmla="*/ 196276866 h 3030"/>
              <a:gd name="T106" fmla="*/ 196276315 w 3029"/>
              <a:gd name="T107" fmla="*/ 67368929 h 3030"/>
              <a:gd name="T108" fmla="*/ 325398799 w 3029"/>
              <a:gd name="T109" fmla="*/ 196276866 h 3030"/>
              <a:gd name="T110" fmla="*/ 196276315 w 3029"/>
              <a:gd name="T111" fmla="*/ 325184443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9"/>
                  <a:pt x="2731" y="639"/>
                  <a:pt x="2731" y="639"/>
                </a:cubicBezTo>
                <a:cubicBezTo>
                  <a:pt x="2739" y="622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8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8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2"/>
                  <a:pt x="298" y="639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1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5"/>
                  <a:pt x="459" y="2221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2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40"/>
                  <a:pt x="630" y="2740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40"/>
                  <a:pt x="2424" y="2740"/>
                  <a:pt x="2442" y="2722"/>
                </a:cubicBezTo>
                <a:cubicBezTo>
                  <a:pt x="2731" y="2442"/>
                  <a:pt x="2731" y="2442"/>
                  <a:pt x="2731" y="2442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1"/>
                  <a:pt x="2569" y="2221"/>
                  <a:pt x="2569" y="2221"/>
                </a:cubicBezTo>
                <a:cubicBezTo>
                  <a:pt x="2663" y="2085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1"/>
                  <a:pt x="3028" y="1311"/>
                  <a:pt x="3028" y="1311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5"/>
                </a:cubicBezTo>
                <a:cubicBezTo>
                  <a:pt x="519" y="962"/>
                  <a:pt x="961" y="520"/>
                  <a:pt x="1514" y="520"/>
                </a:cubicBezTo>
                <a:cubicBezTo>
                  <a:pt x="2067" y="520"/>
                  <a:pt x="2510" y="962"/>
                  <a:pt x="2510" y="1515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9" name="Freeform 172">
            <a:extLst>
              <a:ext uri="{FF2B5EF4-FFF2-40B4-BE49-F238E27FC236}">
                <a16:creationId xmlns:a16="http://schemas.microsoft.com/office/drawing/2014/main" id="{B0F8542D-0C63-44C0-9FBD-6212F9CEB2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97499" y="4920118"/>
            <a:ext cx="3868273" cy="3725113"/>
          </a:xfrm>
          <a:custGeom>
            <a:avLst/>
            <a:gdLst>
              <a:gd name="T0" fmla="*/ 387107851 w 3029"/>
              <a:gd name="T1" fmla="*/ 164276042 h 3030"/>
              <a:gd name="T2" fmla="*/ 387107851 w 3029"/>
              <a:gd name="T3" fmla="*/ 164276042 h 3030"/>
              <a:gd name="T4" fmla="*/ 358457052 w 3029"/>
              <a:gd name="T5" fmla="*/ 164276042 h 3030"/>
              <a:gd name="T6" fmla="*/ 333047485 w 3029"/>
              <a:gd name="T7" fmla="*/ 103644134 h 3030"/>
              <a:gd name="T8" fmla="*/ 354049237 w 3029"/>
              <a:gd name="T9" fmla="*/ 82656152 h 3030"/>
              <a:gd name="T10" fmla="*/ 354049237 w 3029"/>
              <a:gd name="T11" fmla="*/ 75012509 h 3030"/>
              <a:gd name="T12" fmla="*/ 316583168 w 3029"/>
              <a:gd name="T13" fmla="*/ 38607665 h 3030"/>
              <a:gd name="T14" fmla="*/ 308804501 w 3029"/>
              <a:gd name="T15" fmla="*/ 38607665 h 3030"/>
              <a:gd name="T16" fmla="*/ 288969693 w 3029"/>
              <a:gd name="T17" fmla="*/ 59595287 h 3030"/>
              <a:gd name="T18" fmla="*/ 228297605 w 3029"/>
              <a:gd name="T19" fmla="*/ 34202744 h 3030"/>
              <a:gd name="T20" fmla="*/ 228297605 w 3029"/>
              <a:gd name="T21" fmla="*/ 5570760 h 3030"/>
              <a:gd name="T22" fmla="*/ 222723206 w 3029"/>
              <a:gd name="T23" fmla="*/ 0 h 3030"/>
              <a:gd name="T24" fmla="*/ 169829424 w 3029"/>
              <a:gd name="T25" fmla="*/ 0 h 3030"/>
              <a:gd name="T26" fmla="*/ 164384645 w 3029"/>
              <a:gd name="T27" fmla="*/ 5570760 h 3030"/>
              <a:gd name="T28" fmla="*/ 164384645 w 3029"/>
              <a:gd name="T29" fmla="*/ 34202744 h 3030"/>
              <a:gd name="T30" fmla="*/ 103712556 w 3029"/>
              <a:gd name="T31" fmla="*/ 59595287 h 3030"/>
              <a:gd name="T32" fmla="*/ 83877748 w 3029"/>
              <a:gd name="T33" fmla="*/ 38607665 h 3030"/>
              <a:gd name="T34" fmla="*/ 76099082 w 3029"/>
              <a:gd name="T35" fmla="*/ 38607665 h 3030"/>
              <a:gd name="T36" fmla="*/ 38633013 w 3029"/>
              <a:gd name="T37" fmla="*/ 75012509 h 3030"/>
              <a:gd name="T38" fmla="*/ 38633013 w 3029"/>
              <a:gd name="T39" fmla="*/ 82656152 h 3030"/>
              <a:gd name="T40" fmla="*/ 59505145 w 3029"/>
              <a:gd name="T41" fmla="*/ 103644134 h 3030"/>
              <a:gd name="T42" fmla="*/ 34225198 w 3029"/>
              <a:gd name="T43" fmla="*/ 164276042 h 3030"/>
              <a:gd name="T44" fmla="*/ 5574399 w 3029"/>
              <a:gd name="T45" fmla="*/ 164276042 h 3030"/>
              <a:gd name="T46" fmla="*/ 0 w 3029"/>
              <a:gd name="T47" fmla="*/ 169717584 h 3030"/>
              <a:gd name="T48" fmla="*/ 0 w 3029"/>
              <a:gd name="T49" fmla="*/ 221539651 h 3030"/>
              <a:gd name="T50" fmla="*/ 5574399 w 3029"/>
              <a:gd name="T51" fmla="*/ 227110411 h 3030"/>
              <a:gd name="T52" fmla="*/ 34225198 w 3029"/>
              <a:gd name="T53" fmla="*/ 227110411 h 3030"/>
              <a:gd name="T54" fmla="*/ 59505145 w 3029"/>
              <a:gd name="T55" fmla="*/ 287612741 h 3030"/>
              <a:gd name="T56" fmla="*/ 38633013 w 3029"/>
              <a:gd name="T57" fmla="*/ 308600723 h 3030"/>
              <a:gd name="T58" fmla="*/ 38633013 w 3029"/>
              <a:gd name="T59" fmla="*/ 316244726 h 3030"/>
              <a:gd name="T60" fmla="*/ 76099082 w 3029"/>
              <a:gd name="T61" fmla="*/ 352649570 h 3030"/>
              <a:gd name="T62" fmla="*/ 83877748 w 3029"/>
              <a:gd name="T63" fmla="*/ 352649570 h 3030"/>
              <a:gd name="T64" fmla="*/ 103712556 w 3029"/>
              <a:gd name="T65" fmla="*/ 332827787 h 3030"/>
              <a:gd name="T66" fmla="*/ 164384645 w 3029"/>
              <a:gd name="T67" fmla="*/ 357054491 h 3030"/>
              <a:gd name="T68" fmla="*/ 164384645 w 3029"/>
              <a:gd name="T69" fmla="*/ 386852314 h 3030"/>
              <a:gd name="T70" fmla="*/ 169829424 w 3029"/>
              <a:gd name="T71" fmla="*/ 392423074 h 3030"/>
              <a:gd name="T72" fmla="*/ 222723206 w 3029"/>
              <a:gd name="T73" fmla="*/ 392423074 h 3030"/>
              <a:gd name="T74" fmla="*/ 228297605 w 3029"/>
              <a:gd name="T75" fmla="*/ 386852314 h 3030"/>
              <a:gd name="T76" fmla="*/ 228297605 w 3029"/>
              <a:gd name="T77" fmla="*/ 357054491 h 3030"/>
              <a:gd name="T78" fmla="*/ 288969693 w 3029"/>
              <a:gd name="T79" fmla="*/ 332827787 h 3030"/>
              <a:gd name="T80" fmla="*/ 308804501 w 3029"/>
              <a:gd name="T81" fmla="*/ 352649570 h 3030"/>
              <a:gd name="T82" fmla="*/ 316583168 w 3029"/>
              <a:gd name="T83" fmla="*/ 352649570 h 3030"/>
              <a:gd name="T84" fmla="*/ 354049237 w 3029"/>
              <a:gd name="T85" fmla="*/ 316244726 h 3030"/>
              <a:gd name="T86" fmla="*/ 354049237 w 3029"/>
              <a:gd name="T87" fmla="*/ 308600723 h 3030"/>
              <a:gd name="T88" fmla="*/ 333047485 w 3029"/>
              <a:gd name="T89" fmla="*/ 287612741 h 3030"/>
              <a:gd name="T90" fmla="*/ 358457052 w 3029"/>
              <a:gd name="T91" fmla="*/ 227110411 h 3030"/>
              <a:gd name="T92" fmla="*/ 387107851 w 3029"/>
              <a:gd name="T93" fmla="*/ 227110411 h 3030"/>
              <a:gd name="T94" fmla="*/ 392552629 w 3029"/>
              <a:gd name="T95" fmla="*/ 221539651 h 3030"/>
              <a:gd name="T96" fmla="*/ 392552629 w 3029"/>
              <a:gd name="T97" fmla="*/ 169717584 h 3030"/>
              <a:gd name="T98" fmla="*/ 387107851 w 3029"/>
              <a:gd name="T99" fmla="*/ 164276042 h 3030"/>
              <a:gd name="T100" fmla="*/ 196276315 w 3029"/>
              <a:gd name="T101" fmla="*/ 325183785 h 3030"/>
              <a:gd name="T102" fmla="*/ 196276315 w 3029"/>
              <a:gd name="T103" fmla="*/ 325183785 h 3030"/>
              <a:gd name="T104" fmla="*/ 67283451 w 3029"/>
              <a:gd name="T105" fmla="*/ 196146748 h 3030"/>
              <a:gd name="T106" fmla="*/ 196276315 w 3029"/>
              <a:gd name="T107" fmla="*/ 67239289 h 3030"/>
              <a:gd name="T108" fmla="*/ 325398799 w 3029"/>
              <a:gd name="T109" fmla="*/ 196146748 h 3030"/>
              <a:gd name="T110" fmla="*/ 196276315 w 3029"/>
              <a:gd name="T111" fmla="*/ 325183785 h 303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29" h="3030">
                <a:moveTo>
                  <a:pt x="2986" y="1268"/>
                </a:moveTo>
                <a:lnTo>
                  <a:pt x="2986" y="1268"/>
                </a:lnTo>
                <a:cubicBezTo>
                  <a:pt x="2765" y="1268"/>
                  <a:pt x="2765" y="1268"/>
                  <a:pt x="2765" y="1268"/>
                </a:cubicBezTo>
                <a:cubicBezTo>
                  <a:pt x="2731" y="1098"/>
                  <a:pt x="2663" y="936"/>
                  <a:pt x="2569" y="800"/>
                </a:cubicBezTo>
                <a:cubicBezTo>
                  <a:pt x="2731" y="638"/>
                  <a:pt x="2731" y="638"/>
                  <a:pt x="2731" y="638"/>
                </a:cubicBezTo>
                <a:cubicBezTo>
                  <a:pt x="2739" y="621"/>
                  <a:pt x="2739" y="596"/>
                  <a:pt x="2731" y="579"/>
                </a:cubicBezTo>
                <a:cubicBezTo>
                  <a:pt x="2442" y="298"/>
                  <a:pt x="2442" y="298"/>
                  <a:pt x="2442" y="298"/>
                </a:cubicBezTo>
                <a:cubicBezTo>
                  <a:pt x="2424" y="281"/>
                  <a:pt x="2399" y="281"/>
                  <a:pt x="2382" y="298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84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36" y="0"/>
                  <a:pt x="1718" y="0"/>
                </a:cubicBezTo>
                <a:cubicBezTo>
                  <a:pt x="1310" y="0"/>
                  <a:pt x="1310" y="0"/>
                  <a:pt x="1310" y="0"/>
                </a:cubicBezTo>
                <a:cubicBezTo>
                  <a:pt x="1293" y="0"/>
                  <a:pt x="1268" y="17"/>
                  <a:pt x="1268" y="43"/>
                </a:cubicBezTo>
                <a:cubicBezTo>
                  <a:pt x="1268" y="264"/>
                  <a:pt x="1268" y="264"/>
                  <a:pt x="1268" y="264"/>
                </a:cubicBezTo>
                <a:cubicBezTo>
                  <a:pt x="1098" y="298"/>
                  <a:pt x="945" y="366"/>
                  <a:pt x="800" y="460"/>
                </a:cubicBezTo>
                <a:cubicBezTo>
                  <a:pt x="647" y="298"/>
                  <a:pt x="647" y="298"/>
                  <a:pt x="647" y="298"/>
                </a:cubicBezTo>
                <a:cubicBezTo>
                  <a:pt x="630" y="281"/>
                  <a:pt x="604" y="281"/>
                  <a:pt x="587" y="298"/>
                </a:cubicBezTo>
                <a:cubicBezTo>
                  <a:pt x="298" y="579"/>
                  <a:pt x="298" y="579"/>
                  <a:pt x="298" y="579"/>
                </a:cubicBezTo>
                <a:cubicBezTo>
                  <a:pt x="289" y="596"/>
                  <a:pt x="289" y="621"/>
                  <a:pt x="298" y="638"/>
                </a:cubicBezTo>
                <a:cubicBezTo>
                  <a:pt x="459" y="800"/>
                  <a:pt x="459" y="800"/>
                  <a:pt x="459" y="800"/>
                </a:cubicBezTo>
                <a:cubicBezTo>
                  <a:pt x="366" y="936"/>
                  <a:pt x="298" y="1098"/>
                  <a:pt x="264" y="1268"/>
                </a:cubicBezTo>
                <a:cubicBezTo>
                  <a:pt x="43" y="1268"/>
                  <a:pt x="43" y="1268"/>
                  <a:pt x="43" y="1268"/>
                </a:cubicBezTo>
                <a:cubicBezTo>
                  <a:pt x="17" y="1268"/>
                  <a:pt x="0" y="1285"/>
                  <a:pt x="0" y="1310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736"/>
                  <a:pt x="17" y="1753"/>
                  <a:pt x="43" y="1753"/>
                </a:cubicBezTo>
                <a:cubicBezTo>
                  <a:pt x="264" y="1753"/>
                  <a:pt x="264" y="1753"/>
                  <a:pt x="264" y="1753"/>
                </a:cubicBezTo>
                <a:cubicBezTo>
                  <a:pt x="298" y="1923"/>
                  <a:pt x="366" y="2084"/>
                  <a:pt x="459" y="2220"/>
                </a:cubicBezTo>
                <a:cubicBezTo>
                  <a:pt x="298" y="2382"/>
                  <a:pt x="298" y="2382"/>
                  <a:pt x="298" y="2382"/>
                </a:cubicBezTo>
                <a:cubicBezTo>
                  <a:pt x="289" y="2399"/>
                  <a:pt x="289" y="2425"/>
                  <a:pt x="298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9"/>
                  <a:pt x="630" y="2739"/>
                  <a:pt x="647" y="2722"/>
                </a:cubicBezTo>
                <a:cubicBezTo>
                  <a:pt x="800" y="2569"/>
                  <a:pt x="800" y="2569"/>
                  <a:pt x="800" y="2569"/>
                </a:cubicBezTo>
                <a:cubicBezTo>
                  <a:pt x="945" y="2663"/>
                  <a:pt x="1098" y="2731"/>
                  <a:pt x="1268" y="2756"/>
                </a:cubicBezTo>
                <a:cubicBezTo>
                  <a:pt x="1268" y="2986"/>
                  <a:pt x="1268" y="2986"/>
                  <a:pt x="1268" y="2986"/>
                </a:cubicBezTo>
                <a:cubicBezTo>
                  <a:pt x="1268" y="3003"/>
                  <a:pt x="1293" y="3029"/>
                  <a:pt x="1310" y="3029"/>
                </a:cubicBezTo>
                <a:cubicBezTo>
                  <a:pt x="1718" y="3029"/>
                  <a:pt x="1718" y="3029"/>
                  <a:pt x="1718" y="3029"/>
                </a:cubicBezTo>
                <a:cubicBezTo>
                  <a:pt x="1736" y="3029"/>
                  <a:pt x="1761" y="3003"/>
                  <a:pt x="1761" y="2986"/>
                </a:cubicBezTo>
                <a:cubicBezTo>
                  <a:pt x="1761" y="2756"/>
                  <a:pt x="1761" y="2756"/>
                  <a:pt x="1761" y="2756"/>
                </a:cubicBezTo>
                <a:cubicBezTo>
                  <a:pt x="1931" y="2731"/>
                  <a:pt x="2084" y="2663"/>
                  <a:pt x="2229" y="2569"/>
                </a:cubicBezTo>
                <a:cubicBezTo>
                  <a:pt x="2382" y="2722"/>
                  <a:pt x="2382" y="2722"/>
                  <a:pt x="2382" y="2722"/>
                </a:cubicBezTo>
                <a:cubicBezTo>
                  <a:pt x="2399" y="2739"/>
                  <a:pt x="2424" y="2739"/>
                  <a:pt x="2442" y="2722"/>
                </a:cubicBezTo>
                <a:cubicBezTo>
                  <a:pt x="2731" y="2441"/>
                  <a:pt x="2731" y="2441"/>
                  <a:pt x="2731" y="2441"/>
                </a:cubicBezTo>
                <a:cubicBezTo>
                  <a:pt x="2739" y="2425"/>
                  <a:pt x="2739" y="2399"/>
                  <a:pt x="2731" y="2382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3" y="2084"/>
                  <a:pt x="2731" y="1923"/>
                  <a:pt x="2765" y="1753"/>
                </a:cubicBezTo>
                <a:cubicBezTo>
                  <a:pt x="2986" y="1753"/>
                  <a:pt x="2986" y="1753"/>
                  <a:pt x="2986" y="1753"/>
                </a:cubicBezTo>
                <a:cubicBezTo>
                  <a:pt x="3011" y="1753"/>
                  <a:pt x="3028" y="1736"/>
                  <a:pt x="3028" y="1710"/>
                </a:cubicBezTo>
                <a:cubicBezTo>
                  <a:pt x="3028" y="1310"/>
                  <a:pt x="3028" y="1310"/>
                  <a:pt x="3028" y="1310"/>
                </a:cubicBezTo>
                <a:cubicBezTo>
                  <a:pt x="3028" y="1285"/>
                  <a:pt x="3011" y="1268"/>
                  <a:pt x="2986" y="1268"/>
                </a:cubicBezTo>
                <a:close/>
                <a:moveTo>
                  <a:pt x="1514" y="2510"/>
                </a:moveTo>
                <a:lnTo>
                  <a:pt x="1514" y="2510"/>
                </a:lnTo>
                <a:cubicBezTo>
                  <a:pt x="961" y="2510"/>
                  <a:pt x="519" y="2059"/>
                  <a:pt x="519" y="1514"/>
                </a:cubicBezTo>
                <a:cubicBezTo>
                  <a:pt x="519" y="962"/>
                  <a:pt x="961" y="519"/>
                  <a:pt x="1514" y="519"/>
                </a:cubicBezTo>
                <a:cubicBezTo>
                  <a:pt x="2067" y="519"/>
                  <a:pt x="2510" y="962"/>
                  <a:pt x="2510" y="1514"/>
                </a:cubicBezTo>
                <a:cubicBezTo>
                  <a:pt x="2510" y="2059"/>
                  <a:pt x="2067" y="2510"/>
                  <a:pt x="1514" y="2510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0" name="Freeform 173">
            <a:extLst>
              <a:ext uri="{FF2B5EF4-FFF2-40B4-BE49-F238E27FC236}">
                <a16:creationId xmlns:a16="http://schemas.microsoft.com/office/drawing/2014/main" id="{3EE37673-DE62-4542-87FF-72250AED50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2930137"/>
            <a:ext cx="3879539" cy="3725119"/>
          </a:xfrm>
          <a:custGeom>
            <a:avLst/>
            <a:gdLst>
              <a:gd name="T0" fmla="*/ 386932365 w 3038"/>
              <a:gd name="T1" fmla="*/ 165531498 h 3028"/>
              <a:gd name="T2" fmla="*/ 386932365 w 3038"/>
              <a:gd name="T3" fmla="*/ 165531498 h 3028"/>
              <a:gd name="T4" fmla="*/ 358285057 w 3038"/>
              <a:gd name="T5" fmla="*/ 165531498 h 3028"/>
              <a:gd name="T6" fmla="*/ 333008041 w 3038"/>
              <a:gd name="T7" fmla="*/ 104819147 h 3028"/>
              <a:gd name="T8" fmla="*/ 353877862 w 3038"/>
              <a:gd name="T9" fmla="*/ 83933260 h 3028"/>
              <a:gd name="T10" fmla="*/ 353877862 w 3038"/>
              <a:gd name="T11" fmla="*/ 76149495 h 3028"/>
              <a:gd name="T12" fmla="*/ 317582678 w 3038"/>
              <a:gd name="T13" fmla="*/ 39696440 h 3028"/>
              <a:gd name="T14" fmla="*/ 309805190 w 3038"/>
              <a:gd name="T15" fmla="*/ 39696440 h 3028"/>
              <a:gd name="T16" fmla="*/ 288935369 w 3038"/>
              <a:gd name="T17" fmla="*/ 59674324 h 3028"/>
              <a:gd name="T18" fmla="*/ 228270819 w 3038"/>
              <a:gd name="T19" fmla="*/ 34247697 h 3028"/>
              <a:gd name="T20" fmla="*/ 228270819 w 3038"/>
              <a:gd name="T21" fmla="*/ 5578406 h 3028"/>
              <a:gd name="T22" fmla="*/ 222696749 w 3038"/>
              <a:gd name="T23" fmla="*/ 0 h 3028"/>
              <a:gd name="T24" fmla="*/ 170846589 w 3038"/>
              <a:gd name="T25" fmla="*/ 0 h 3028"/>
              <a:gd name="T26" fmla="*/ 165402132 w 3038"/>
              <a:gd name="T27" fmla="*/ 5578406 h 3028"/>
              <a:gd name="T28" fmla="*/ 165402132 w 3038"/>
              <a:gd name="T29" fmla="*/ 34247697 h 3028"/>
              <a:gd name="T30" fmla="*/ 104737582 w 3038"/>
              <a:gd name="T31" fmla="*/ 59674324 h 3028"/>
              <a:gd name="T32" fmla="*/ 83738148 w 3038"/>
              <a:gd name="T33" fmla="*/ 39696440 h 3028"/>
              <a:gd name="T34" fmla="*/ 76090273 w 3038"/>
              <a:gd name="T35" fmla="*/ 39696440 h 3028"/>
              <a:gd name="T36" fmla="*/ 39665477 w 3038"/>
              <a:gd name="T37" fmla="*/ 76149495 h 3028"/>
              <a:gd name="T38" fmla="*/ 39665477 w 3038"/>
              <a:gd name="T39" fmla="*/ 83933260 h 3028"/>
              <a:gd name="T40" fmla="*/ 59498035 w 3038"/>
              <a:gd name="T41" fmla="*/ 104819147 h 3028"/>
              <a:gd name="T42" fmla="*/ 35258281 w 3038"/>
              <a:gd name="T43" fmla="*/ 165531498 h 3028"/>
              <a:gd name="T44" fmla="*/ 5444098 w 3038"/>
              <a:gd name="T45" fmla="*/ 165531498 h 3028"/>
              <a:gd name="T46" fmla="*/ 0 w 3038"/>
              <a:gd name="T47" fmla="*/ 171109544 h 3028"/>
              <a:gd name="T48" fmla="*/ 0 w 3038"/>
              <a:gd name="T49" fmla="*/ 222870440 h 3028"/>
              <a:gd name="T50" fmla="*/ 5444098 w 3038"/>
              <a:gd name="T51" fmla="*/ 228319183 h 3028"/>
              <a:gd name="T52" fmla="*/ 35258281 w 3038"/>
              <a:gd name="T53" fmla="*/ 228319183 h 3028"/>
              <a:gd name="T54" fmla="*/ 59498035 w 3038"/>
              <a:gd name="T55" fmla="*/ 289031174 h 3028"/>
              <a:gd name="T56" fmla="*/ 39665477 w 3038"/>
              <a:gd name="T57" fmla="*/ 308879394 h 3028"/>
              <a:gd name="T58" fmla="*/ 39665477 w 3038"/>
              <a:gd name="T59" fmla="*/ 317700825 h 3028"/>
              <a:gd name="T60" fmla="*/ 76090273 w 3038"/>
              <a:gd name="T61" fmla="*/ 354154241 h 3028"/>
              <a:gd name="T62" fmla="*/ 83738148 w 3038"/>
              <a:gd name="T63" fmla="*/ 354154241 h 3028"/>
              <a:gd name="T64" fmla="*/ 104737582 w 3038"/>
              <a:gd name="T65" fmla="*/ 333138330 h 3028"/>
              <a:gd name="T66" fmla="*/ 165402132 w 3038"/>
              <a:gd name="T67" fmla="*/ 358564956 h 3028"/>
              <a:gd name="T68" fmla="*/ 165402132 w 3038"/>
              <a:gd name="T69" fmla="*/ 387234248 h 3028"/>
              <a:gd name="T70" fmla="*/ 170846589 w 3038"/>
              <a:gd name="T71" fmla="*/ 392682990 h 3028"/>
              <a:gd name="T72" fmla="*/ 222696749 w 3038"/>
              <a:gd name="T73" fmla="*/ 392682990 h 3028"/>
              <a:gd name="T74" fmla="*/ 228270819 w 3038"/>
              <a:gd name="T75" fmla="*/ 387234248 h 3028"/>
              <a:gd name="T76" fmla="*/ 228270819 w 3038"/>
              <a:gd name="T77" fmla="*/ 358564956 h 3028"/>
              <a:gd name="T78" fmla="*/ 288935369 w 3038"/>
              <a:gd name="T79" fmla="*/ 333138330 h 3028"/>
              <a:gd name="T80" fmla="*/ 309805190 w 3038"/>
              <a:gd name="T81" fmla="*/ 354154241 h 3028"/>
              <a:gd name="T82" fmla="*/ 317582678 w 3038"/>
              <a:gd name="T83" fmla="*/ 354154241 h 3028"/>
              <a:gd name="T84" fmla="*/ 353877862 w 3038"/>
              <a:gd name="T85" fmla="*/ 317700825 h 3028"/>
              <a:gd name="T86" fmla="*/ 353877862 w 3038"/>
              <a:gd name="T87" fmla="*/ 308879394 h 3028"/>
              <a:gd name="T88" fmla="*/ 333008041 w 3038"/>
              <a:gd name="T89" fmla="*/ 289031174 h 3028"/>
              <a:gd name="T90" fmla="*/ 358285057 w 3038"/>
              <a:gd name="T91" fmla="*/ 228319183 h 3028"/>
              <a:gd name="T92" fmla="*/ 386932365 w 3038"/>
              <a:gd name="T93" fmla="*/ 228319183 h 3028"/>
              <a:gd name="T94" fmla="*/ 393672951 w 3038"/>
              <a:gd name="T95" fmla="*/ 222870440 h 3028"/>
              <a:gd name="T96" fmla="*/ 393672951 w 3038"/>
              <a:gd name="T97" fmla="*/ 171109544 h 3028"/>
              <a:gd name="T98" fmla="*/ 386932365 w 3038"/>
              <a:gd name="T99" fmla="*/ 165531498 h 3028"/>
              <a:gd name="T100" fmla="*/ 196253218 w 3038"/>
              <a:gd name="T101" fmla="*/ 325484590 h 3028"/>
              <a:gd name="T102" fmla="*/ 196253218 w 3038"/>
              <a:gd name="T103" fmla="*/ 325484590 h 3028"/>
              <a:gd name="T104" fmla="*/ 67275523 w 3038"/>
              <a:gd name="T105" fmla="*/ 196406507 h 3028"/>
              <a:gd name="T106" fmla="*/ 196253218 w 3038"/>
              <a:gd name="T107" fmla="*/ 67328064 h 3028"/>
              <a:gd name="T108" fmla="*/ 325230553 w 3038"/>
              <a:gd name="T109" fmla="*/ 196406507 h 3028"/>
              <a:gd name="T110" fmla="*/ 196253218 w 3038"/>
              <a:gd name="T111" fmla="*/ 325484590 h 302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8">
                <a:moveTo>
                  <a:pt x="2985" y="1276"/>
                </a:moveTo>
                <a:lnTo>
                  <a:pt x="2985" y="1276"/>
                </a:lnTo>
                <a:cubicBezTo>
                  <a:pt x="2764" y="1276"/>
                  <a:pt x="2764" y="1276"/>
                  <a:pt x="2764" y="1276"/>
                </a:cubicBezTo>
                <a:cubicBezTo>
                  <a:pt x="2730" y="1106"/>
                  <a:pt x="2662" y="944"/>
                  <a:pt x="2569" y="808"/>
                </a:cubicBezTo>
                <a:cubicBezTo>
                  <a:pt x="2730" y="647"/>
                  <a:pt x="2730" y="647"/>
                  <a:pt x="2730" y="647"/>
                </a:cubicBezTo>
                <a:cubicBezTo>
                  <a:pt x="2747" y="630"/>
                  <a:pt x="2747" y="604"/>
                  <a:pt x="2730" y="587"/>
                </a:cubicBezTo>
                <a:cubicBezTo>
                  <a:pt x="2450" y="306"/>
                  <a:pt x="2450" y="306"/>
                  <a:pt x="2450" y="306"/>
                </a:cubicBezTo>
                <a:cubicBezTo>
                  <a:pt x="2433" y="290"/>
                  <a:pt x="2407" y="290"/>
                  <a:pt x="2390" y="306"/>
                </a:cubicBezTo>
                <a:cubicBezTo>
                  <a:pt x="2229" y="460"/>
                  <a:pt x="2229" y="460"/>
                  <a:pt x="2229" y="460"/>
                </a:cubicBezTo>
                <a:cubicBezTo>
                  <a:pt x="2092" y="366"/>
                  <a:pt x="1931" y="298"/>
                  <a:pt x="1761" y="264"/>
                </a:cubicBezTo>
                <a:cubicBezTo>
                  <a:pt x="1761" y="43"/>
                  <a:pt x="1761" y="43"/>
                  <a:pt x="1761" y="43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3"/>
                </a:cubicBezTo>
                <a:cubicBezTo>
                  <a:pt x="1276" y="264"/>
                  <a:pt x="1276" y="264"/>
                  <a:pt x="1276" y="264"/>
                </a:cubicBezTo>
                <a:cubicBezTo>
                  <a:pt x="1106" y="298"/>
                  <a:pt x="944" y="366"/>
                  <a:pt x="808" y="460"/>
                </a:cubicBezTo>
                <a:cubicBezTo>
                  <a:pt x="646" y="306"/>
                  <a:pt x="646" y="306"/>
                  <a:pt x="646" y="306"/>
                </a:cubicBezTo>
                <a:cubicBezTo>
                  <a:pt x="629" y="290"/>
                  <a:pt x="604" y="290"/>
                  <a:pt x="587" y="306"/>
                </a:cubicBezTo>
                <a:cubicBezTo>
                  <a:pt x="306" y="587"/>
                  <a:pt x="306" y="587"/>
                  <a:pt x="306" y="587"/>
                </a:cubicBezTo>
                <a:cubicBezTo>
                  <a:pt x="289" y="604"/>
                  <a:pt x="289" y="630"/>
                  <a:pt x="306" y="647"/>
                </a:cubicBezTo>
                <a:cubicBezTo>
                  <a:pt x="459" y="808"/>
                  <a:pt x="459" y="808"/>
                  <a:pt x="459" y="808"/>
                </a:cubicBezTo>
                <a:cubicBezTo>
                  <a:pt x="366" y="944"/>
                  <a:pt x="306" y="1106"/>
                  <a:pt x="272" y="1276"/>
                </a:cubicBezTo>
                <a:cubicBezTo>
                  <a:pt x="42" y="1276"/>
                  <a:pt x="42" y="1276"/>
                  <a:pt x="42" y="1276"/>
                </a:cubicBezTo>
                <a:cubicBezTo>
                  <a:pt x="25" y="1276"/>
                  <a:pt x="0" y="1293"/>
                  <a:pt x="0" y="1319"/>
                </a:cubicBezTo>
                <a:cubicBezTo>
                  <a:pt x="0" y="1718"/>
                  <a:pt x="0" y="1718"/>
                  <a:pt x="0" y="1718"/>
                </a:cubicBezTo>
                <a:cubicBezTo>
                  <a:pt x="0" y="1743"/>
                  <a:pt x="25" y="1760"/>
                  <a:pt x="42" y="1760"/>
                </a:cubicBezTo>
                <a:cubicBezTo>
                  <a:pt x="272" y="1760"/>
                  <a:pt x="272" y="1760"/>
                  <a:pt x="272" y="1760"/>
                </a:cubicBezTo>
                <a:cubicBezTo>
                  <a:pt x="306" y="1930"/>
                  <a:pt x="366" y="2092"/>
                  <a:pt x="459" y="2228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32"/>
                  <a:pt x="306" y="2449"/>
                </a:cubicBezTo>
                <a:cubicBezTo>
                  <a:pt x="587" y="2730"/>
                  <a:pt x="587" y="2730"/>
                  <a:pt x="587" y="2730"/>
                </a:cubicBezTo>
                <a:cubicBezTo>
                  <a:pt x="604" y="2747"/>
                  <a:pt x="629" y="2747"/>
                  <a:pt x="646" y="2730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1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0"/>
                  <a:pt x="1293" y="3027"/>
                  <a:pt x="1318" y="3027"/>
                </a:cubicBezTo>
                <a:cubicBezTo>
                  <a:pt x="1718" y="3027"/>
                  <a:pt x="1718" y="3027"/>
                  <a:pt x="1718" y="3027"/>
                </a:cubicBezTo>
                <a:cubicBezTo>
                  <a:pt x="1744" y="3027"/>
                  <a:pt x="1761" y="3010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1"/>
                  <a:pt x="2229" y="2568"/>
                </a:cubicBezTo>
                <a:cubicBezTo>
                  <a:pt x="2390" y="2730"/>
                  <a:pt x="2390" y="2730"/>
                  <a:pt x="2390" y="2730"/>
                </a:cubicBezTo>
                <a:cubicBezTo>
                  <a:pt x="2407" y="2747"/>
                  <a:pt x="2433" y="2747"/>
                  <a:pt x="2450" y="2730"/>
                </a:cubicBezTo>
                <a:cubicBezTo>
                  <a:pt x="2730" y="2449"/>
                  <a:pt x="2730" y="2449"/>
                  <a:pt x="2730" y="2449"/>
                </a:cubicBezTo>
                <a:cubicBezTo>
                  <a:pt x="2747" y="2432"/>
                  <a:pt x="2747" y="2398"/>
                  <a:pt x="2730" y="2381"/>
                </a:cubicBezTo>
                <a:cubicBezTo>
                  <a:pt x="2569" y="2228"/>
                  <a:pt x="2569" y="2228"/>
                  <a:pt x="2569" y="2228"/>
                </a:cubicBezTo>
                <a:cubicBezTo>
                  <a:pt x="2662" y="2092"/>
                  <a:pt x="2730" y="1930"/>
                  <a:pt x="2764" y="1760"/>
                </a:cubicBezTo>
                <a:cubicBezTo>
                  <a:pt x="2985" y="1760"/>
                  <a:pt x="2985" y="1760"/>
                  <a:pt x="2985" y="1760"/>
                </a:cubicBezTo>
                <a:cubicBezTo>
                  <a:pt x="3011" y="1760"/>
                  <a:pt x="3037" y="1743"/>
                  <a:pt x="3037" y="1718"/>
                </a:cubicBezTo>
                <a:cubicBezTo>
                  <a:pt x="3037" y="1319"/>
                  <a:pt x="3037" y="1319"/>
                  <a:pt x="3037" y="1319"/>
                </a:cubicBezTo>
                <a:cubicBezTo>
                  <a:pt x="3037" y="1293"/>
                  <a:pt x="3011" y="1276"/>
                  <a:pt x="2985" y="1276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66"/>
                  <a:pt x="519" y="1514"/>
                </a:cubicBezTo>
                <a:cubicBezTo>
                  <a:pt x="519" y="970"/>
                  <a:pt x="970" y="519"/>
                  <a:pt x="1514" y="519"/>
                </a:cubicBezTo>
                <a:cubicBezTo>
                  <a:pt x="2067" y="519"/>
                  <a:pt x="2509" y="970"/>
                  <a:pt x="2509" y="1514"/>
                </a:cubicBezTo>
                <a:cubicBezTo>
                  <a:pt x="2509" y="2066"/>
                  <a:pt x="2067" y="2509"/>
                  <a:pt x="1514" y="2509"/>
                </a:cubicBezTo>
                <a:close/>
              </a:path>
            </a:pathLst>
          </a:custGeom>
          <a:gradFill>
            <a:gsLst>
              <a:gs pos="0">
                <a:srgbClr val="004165"/>
              </a:gs>
              <a:gs pos="100000">
                <a:srgbClr val="008542"/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1" name="Freeform 174">
            <a:extLst>
              <a:ext uri="{FF2B5EF4-FFF2-40B4-BE49-F238E27FC236}">
                <a16:creationId xmlns:a16="http://schemas.microsoft.com/office/drawing/2014/main" id="{6193DDB7-F3B3-494F-88CB-2724563DA2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983838" y="6969747"/>
            <a:ext cx="3879539" cy="3725113"/>
          </a:xfrm>
          <a:custGeom>
            <a:avLst/>
            <a:gdLst>
              <a:gd name="T0" fmla="*/ 386932365 w 3038"/>
              <a:gd name="T1" fmla="*/ 164255025 h 3029"/>
              <a:gd name="T2" fmla="*/ 386932365 w 3038"/>
              <a:gd name="T3" fmla="*/ 164255025 h 3029"/>
              <a:gd name="T4" fmla="*/ 358285057 w 3038"/>
              <a:gd name="T5" fmla="*/ 164255025 h 3029"/>
              <a:gd name="T6" fmla="*/ 333008041 w 3038"/>
              <a:gd name="T7" fmla="*/ 103582936 h 3029"/>
              <a:gd name="T8" fmla="*/ 353877862 w 3038"/>
              <a:gd name="T9" fmla="*/ 83748128 h 3029"/>
              <a:gd name="T10" fmla="*/ 353877862 w 3038"/>
              <a:gd name="T11" fmla="*/ 75969461 h 3029"/>
              <a:gd name="T12" fmla="*/ 317582678 w 3038"/>
              <a:gd name="T13" fmla="*/ 38503392 h 3029"/>
              <a:gd name="T14" fmla="*/ 309805190 w 3038"/>
              <a:gd name="T15" fmla="*/ 38503392 h 3029"/>
              <a:gd name="T16" fmla="*/ 288935369 w 3038"/>
              <a:gd name="T17" fmla="*/ 59505145 h 3029"/>
              <a:gd name="T18" fmla="*/ 228270819 w 3038"/>
              <a:gd name="T19" fmla="*/ 34095577 h 3029"/>
              <a:gd name="T20" fmla="*/ 228270819 w 3038"/>
              <a:gd name="T21" fmla="*/ 5444779 h 3029"/>
              <a:gd name="T22" fmla="*/ 222696749 w 3038"/>
              <a:gd name="T23" fmla="*/ 0 h 3029"/>
              <a:gd name="T24" fmla="*/ 170846589 w 3038"/>
              <a:gd name="T25" fmla="*/ 0 h 3029"/>
              <a:gd name="T26" fmla="*/ 165402132 w 3038"/>
              <a:gd name="T27" fmla="*/ 5444779 h 3029"/>
              <a:gd name="T28" fmla="*/ 165402132 w 3038"/>
              <a:gd name="T29" fmla="*/ 34095577 h 3029"/>
              <a:gd name="T30" fmla="*/ 104737582 w 3038"/>
              <a:gd name="T31" fmla="*/ 59505145 h 3029"/>
              <a:gd name="T32" fmla="*/ 83738148 w 3038"/>
              <a:gd name="T33" fmla="*/ 38503392 h 3029"/>
              <a:gd name="T34" fmla="*/ 76090273 w 3038"/>
              <a:gd name="T35" fmla="*/ 38503392 h 3029"/>
              <a:gd name="T36" fmla="*/ 39665477 w 3038"/>
              <a:gd name="T37" fmla="*/ 75969461 h 3029"/>
              <a:gd name="T38" fmla="*/ 39665477 w 3038"/>
              <a:gd name="T39" fmla="*/ 83748128 h 3029"/>
              <a:gd name="T40" fmla="*/ 59498035 w 3038"/>
              <a:gd name="T41" fmla="*/ 103582936 h 3029"/>
              <a:gd name="T42" fmla="*/ 35258281 w 3038"/>
              <a:gd name="T43" fmla="*/ 164255025 h 3029"/>
              <a:gd name="T44" fmla="*/ 5444098 w 3038"/>
              <a:gd name="T45" fmla="*/ 164255025 h 3029"/>
              <a:gd name="T46" fmla="*/ 0 w 3038"/>
              <a:gd name="T47" fmla="*/ 169699803 h 3029"/>
              <a:gd name="T48" fmla="*/ 0 w 3038"/>
              <a:gd name="T49" fmla="*/ 221556262 h 3029"/>
              <a:gd name="T50" fmla="*/ 5444098 w 3038"/>
              <a:gd name="T51" fmla="*/ 227130661 h 3029"/>
              <a:gd name="T52" fmla="*/ 35258281 w 3038"/>
              <a:gd name="T53" fmla="*/ 227130661 h 3029"/>
              <a:gd name="T54" fmla="*/ 59498035 w 3038"/>
              <a:gd name="T55" fmla="*/ 287802749 h 3029"/>
              <a:gd name="T56" fmla="*/ 39665477 w 3038"/>
              <a:gd name="T57" fmla="*/ 308674881 h 3029"/>
              <a:gd name="T58" fmla="*/ 39665477 w 3038"/>
              <a:gd name="T59" fmla="*/ 316453548 h 3029"/>
              <a:gd name="T60" fmla="*/ 76090273 w 3038"/>
              <a:gd name="T61" fmla="*/ 352882653 h 3029"/>
              <a:gd name="T62" fmla="*/ 83738148 w 3038"/>
              <a:gd name="T63" fmla="*/ 352882653 h 3029"/>
              <a:gd name="T64" fmla="*/ 104737582 w 3038"/>
              <a:gd name="T65" fmla="*/ 332917864 h 3029"/>
              <a:gd name="T66" fmla="*/ 165402132 w 3038"/>
              <a:gd name="T67" fmla="*/ 358327432 h 3029"/>
              <a:gd name="T68" fmla="*/ 165402132 w 3038"/>
              <a:gd name="T69" fmla="*/ 386978230 h 3029"/>
              <a:gd name="T70" fmla="*/ 170846589 w 3038"/>
              <a:gd name="T71" fmla="*/ 392552629 h 3029"/>
              <a:gd name="T72" fmla="*/ 222696749 w 3038"/>
              <a:gd name="T73" fmla="*/ 392552629 h 3029"/>
              <a:gd name="T74" fmla="*/ 228270819 w 3038"/>
              <a:gd name="T75" fmla="*/ 386978230 h 3029"/>
              <a:gd name="T76" fmla="*/ 228270819 w 3038"/>
              <a:gd name="T77" fmla="*/ 358327432 h 3029"/>
              <a:gd name="T78" fmla="*/ 288935369 w 3038"/>
              <a:gd name="T79" fmla="*/ 332917864 h 3029"/>
              <a:gd name="T80" fmla="*/ 309805190 w 3038"/>
              <a:gd name="T81" fmla="*/ 352882653 h 3029"/>
              <a:gd name="T82" fmla="*/ 317582678 w 3038"/>
              <a:gd name="T83" fmla="*/ 352882653 h 3029"/>
              <a:gd name="T84" fmla="*/ 353877862 w 3038"/>
              <a:gd name="T85" fmla="*/ 316453548 h 3029"/>
              <a:gd name="T86" fmla="*/ 353877862 w 3038"/>
              <a:gd name="T87" fmla="*/ 308674881 h 3029"/>
              <a:gd name="T88" fmla="*/ 333008041 w 3038"/>
              <a:gd name="T89" fmla="*/ 287802749 h 3029"/>
              <a:gd name="T90" fmla="*/ 358285057 w 3038"/>
              <a:gd name="T91" fmla="*/ 227130661 h 3029"/>
              <a:gd name="T92" fmla="*/ 386932365 w 3038"/>
              <a:gd name="T93" fmla="*/ 227130661 h 3029"/>
              <a:gd name="T94" fmla="*/ 393672951 w 3038"/>
              <a:gd name="T95" fmla="*/ 221556262 h 3029"/>
              <a:gd name="T96" fmla="*/ 393672951 w 3038"/>
              <a:gd name="T97" fmla="*/ 169699803 h 3029"/>
              <a:gd name="T98" fmla="*/ 386932365 w 3038"/>
              <a:gd name="T99" fmla="*/ 164255025 h 3029"/>
              <a:gd name="T100" fmla="*/ 196253218 w 3038"/>
              <a:gd name="T101" fmla="*/ 325268818 h 3029"/>
              <a:gd name="T102" fmla="*/ 196253218 w 3038"/>
              <a:gd name="T103" fmla="*/ 325268818 h 3029"/>
              <a:gd name="T104" fmla="*/ 67275523 w 3038"/>
              <a:gd name="T105" fmla="*/ 196276315 h 3029"/>
              <a:gd name="T106" fmla="*/ 196253218 w 3038"/>
              <a:gd name="T107" fmla="*/ 67153831 h 3029"/>
              <a:gd name="T108" fmla="*/ 325230553 w 3038"/>
              <a:gd name="T109" fmla="*/ 196276315 h 3029"/>
              <a:gd name="T110" fmla="*/ 196253218 w 3038"/>
              <a:gd name="T111" fmla="*/ 325268818 h 302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38" h="3029">
                <a:moveTo>
                  <a:pt x="2985" y="1267"/>
                </a:moveTo>
                <a:lnTo>
                  <a:pt x="2985" y="1267"/>
                </a:lnTo>
                <a:cubicBezTo>
                  <a:pt x="2764" y="1267"/>
                  <a:pt x="2764" y="1267"/>
                  <a:pt x="2764" y="1267"/>
                </a:cubicBezTo>
                <a:cubicBezTo>
                  <a:pt x="2730" y="1097"/>
                  <a:pt x="2662" y="944"/>
                  <a:pt x="2569" y="799"/>
                </a:cubicBezTo>
                <a:cubicBezTo>
                  <a:pt x="2730" y="646"/>
                  <a:pt x="2730" y="646"/>
                  <a:pt x="2730" y="646"/>
                </a:cubicBezTo>
                <a:cubicBezTo>
                  <a:pt x="2747" y="629"/>
                  <a:pt x="2747" y="603"/>
                  <a:pt x="2730" y="586"/>
                </a:cubicBezTo>
                <a:cubicBezTo>
                  <a:pt x="2450" y="297"/>
                  <a:pt x="2450" y="297"/>
                  <a:pt x="2450" y="297"/>
                </a:cubicBezTo>
                <a:cubicBezTo>
                  <a:pt x="2433" y="280"/>
                  <a:pt x="2407" y="280"/>
                  <a:pt x="2390" y="297"/>
                </a:cubicBezTo>
                <a:cubicBezTo>
                  <a:pt x="2229" y="459"/>
                  <a:pt x="2229" y="459"/>
                  <a:pt x="2229" y="459"/>
                </a:cubicBezTo>
                <a:cubicBezTo>
                  <a:pt x="2092" y="365"/>
                  <a:pt x="1931" y="297"/>
                  <a:pt x="1761" y="263"/>
                </a:cubicBezTo>
                <a:cubicBezTo>
                  <a:pt x="1761" y="42"/>
                  <a:pt x="1761" y="42"/>
                  <a:pt x="1761" y="42"/>
                </a:cubicBezTo>
                <a:cubicBezTo>
                  <a:pt x="1761" y="17"/>
                  <a:pt x="1744" y="0"/>
                  <a:pt x="1718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293" y="0"/>
                  <a:pt x="1276" y="17"/>
                  <a:pt x="1276" y="42"/>
                </a:cubicBezTo>
                <a:cubicBezTo>
                  <a:pt x="1276" y="263"/>
                  <a:pt x="1276" y="263"/>
                  <a:pt x="1276" y="263"/>
                </a:cubicBezTo>
                <a:cubicBezTo>
                  <a:pt x="1106" y="297"/>
                  <a:pt x="944" y="365"/>
                  <a:pt x="808" y="459"/>
                </a:cubicBezTo>
                <a:cubicBezTo>
                  <a:pt x="646" y="297"/>
                  <a:pt x="646" y="297"/>
                  <a:pt x="646" y="297"/>
                </a:cubicBezTo>
                <a:cubicBezTo>
                  <a:pt x="629" y="280"/>
                  <a:pt x="604" y="280"/>
                  <a:pt x="587" y="297"/>
                </a:cubicBezTo>
                <a:cubicBezTo>
                  <a:pt x="306" y="586"/>
                  <a:pt x="306" y="586"/>
                  <a:pt x="306" y="586"/>
                </a:cubicBezTo>
                <a:cubicBezTo>
                  <a:pt x="289" y="603"/>
                  <a:pt x="289" y="629"/>
                  <a:pt x="306" y="646"/>
                </a:cubicBezTo>
                <a:cubicBezTo>
                  <a:pt x="459" y="799"/>
                  <a:pt x="459" y="799"/>
                  <a:pt x="459" y="799"/>
                </a:cubicBezTo>
                <a:cubicBezTo>
                  <a:pt x="366" y="944"/>
                  <a:pt x="306" y="1097"/>
                  <a:pt x="272" y="1267"/>
                </a:cubicBezTo>
                <a:cubicBezTo>
                  <a:pt x="42" y="1267"/>
                  <a:pt x="42" y="1267"/>
                  <a:pt x="42" y="1267"/>
                </a:cubicBezTo>
                <a:cubicBezTo>
                  <a:pt x="25" y="1267"/>
                  <a:pt x="0" y="1293"/>
                  <a:pt x="0" y="1309"/>
                </a:cubicBezTo>
                <a:cubicBezTo>
                  <a:pt x="0" y="1709"/>
                  <a:pt x="0" y="1709"/>
                  <a:pt x="0" y="1709"/>
                </a:cubicBezTo>
                <a:cubicBezTo>
                  <a:pt x="0" y="1735"/>
                  <a:pt x="25" y="1752"/>
                  <a:pt x="42" y="1752"/>
                </a:cubicBezTo>
                <a:cubicBezTo>
                  <a:pt x="272" y="1752"/>
                  <a:pt x="272" y="1752"/>
                  <a:pt x="272" y="1752"/>
                </a:cubicBezTo>
                <a:cubicBezTo>
                  <a:pt x="306" y="1922"/>
                  <a:pt x="366" y="2084"/>
                  <a:pt x="459" y="2220"/>
                </a:cubicBezTo>
                <a:cubicBezTo>
                  <a:pt x="306" y="2381"/>
                  <a:pt x="306" y="2381"/>
                  <a:pt x="306" y="2381"/>
                </a:cubicBezTo>
                <a:cubicBezTo>
                  <a:pt x="289" y="2398"/>
                  <a:pt x="289" y="2424"/>
                  <a:pt x="306" y="2441"/>
                </a:cubicBezTo>
                <a:cubicBezTo>
                  <a:pt x="587" y="2722"/>
                  <a:pt x="587" y="2722"/>
                  <a:pt x="587" y="2722"/>
                </a:cubicBezTo>
                <a:cubicBezTo>
                  <a:pt x="604" y="2738"/>
                  <a:pt x="629" y="2738"/>
                  <a:pt x="646" y="2722"/>
                </a:cubicBezTo>
                <a:cubicBezTo>
                  <a:pt x="808" y="2568"/>
                  <a:pt x="808" y="2568"/>
                  <a:pt x="808" y="2568"/>
                </a:cubicBezTo>
                <a:cubicBezTo>
                  <a:pt x="944" y="2662"/>
                  <a:pt x="1106" y="2730"/>
                  <a:pt x="1276" y="2764"/>
                </a:cubicBezTo>
                <a:cubicBezTo>
                  <a:pt x="1276" y="2985"/>
                  <a:pt x="1276" y="2985"/>
                  <a:pt x="1276" y="2985"/>
                </a:cubicBezTo>
                <a:cubicBezTo>
                  <a:pt x="1276" y="3011"/>
                  <a:pt x="1293" y="3028"/>
                  <a:pt x="1318" y="3028"/>
                </a:cubicBezTo>
                <a:cubicBezTo>
                  <a:pt x="1718" y="3028"/>
                  <a:pt x="1718" y="3028"/>
                  <a:pt x="1718" y="3028"/>
                </a:cubicBezTo>
                <a:cubicBezTo>
                  <a:pt x="1744" y="3028"/>
                  <a:pt x="1761" y="3011"/>
                  <a:pt x="1761" y="2985"/>
                </a:cubicBezTo>
                <a:cubicBezTo>
                  <a:pt x="1761" y="2764"/>
                  <a:pt x="1761" y="2764"/>
                  <a:pt x="1761" y="2764"/>
                </a:cubicBezTo>
                <a:cubicBezTo>
                  <a:pt x="1931" y="2730"/>
                  <a:pt x="2092" y="2662"/>
                  <a:pt x="2229" y="2568"/>
                </a:cubicBezTo>
                <a:cubicBezTo>
                  <a:pt x="2390" y="2722"/>
                  <a:pt x="2390" y="2722"/>
                  <a:pt x="2390" y="2722"/>
                </a:cubicBezTo>
                <a:cubicBezTo>
                  <a:pt x="2407" y="2738"/>
                  <a:pt x="2433" y="2738"/>
                  <a:pt x="2450" y="2722"/>
                </a:cubicBezTo>
                <a:cubicBezTo>
                  <a:pt x="2730" y="2441"/>
                  <a:pt x="2730" y="2441"/>
                  <a:pt x="2730" y="2441"/>
                </a:cubicBezTo>
                <a:cubicBezTo>
                  <a:pt x="2747" y="2424"/>
                  <a:pt x="2747" y="2398"/>
                  <a:pt x="2730" y="2381"/>
                </a:cubicBezTo>
                <a:cubicBezTo>
                  <a:pt x="2569" y="2220"/>
                  <a:pt x="2569" y="2220"/>
                  <a:pt x="2569" y="2220"/>
                </a:cubicBezTo>
                <a:cubicBezTo>
                  <a:pt x="2662" y="2084"/>
                  <a:pt x="2730" y="1922"/>
                  <a:pt x="2764" y="1752"/>
                </a:cubicBezTo>
                <a:cubicBezTo>
                  <a:pt x="2985" y="1752"/>
                  <a:pt x="2985" y="1752"/>
                  <a:pt x="2985" y="1752"/>
                </a:cubicBezTo>
                <a:cubicBezTo>
                  <a:pt x="3011" y="1752"/>
                  <a:pt x="3037" y="1735"/>
                  <a:pt x="3037" y="1709"/>
                </a:cubicBezTo>
                <a:cubicBezTo>
                  <a:pt x="3037" y="1309"/>
                  <a:pt x="3037" y="1309"/>
                  <a:pt x="3037" y="1309"/>
                </a:cubicBezTo>
                <a:cubicBezTo>
                  <a:pt x="3037" y="1293"/>
                  <a:pt x="3011" y="1267"/>
                  <a:pt x="2985" y="1267"/>
                </a:cubicBezTo>
                <a:close/>
                <a:moveTo>
                  <a:pt x="1514" y="2509"/>
                </a:moveTo>
                <a:lnTo>
                  <a:pt x="1514" y="2509"/>
                </a:lnTo>
                <a:cubicBezTo>
                  <a:pt x="970" y="2509"/>
                  <a:pt x="519" y="2058"/>
                  <a:pt x="519" y="1514"/>
                </a:cubicBezTo>
                <a:cubicBezTo>
                  <a:pt x="519" y="961"/>
                  <a:pt x="970" y="518"/>
                  <a:pt x="1514" y="518"/>
                </a:cubicBezTo>
                <a:cubicBezTo>
                  <a:pt x="2067" y="518"/>
                  <a:pt x="2509" y="961"/>
                  <a:pt x="2509" y="1514"/>
                </a:cubicBezTo>
                <a:cubicBezTo>
                  <a:pt x="2509" y="2058"/>
                  <a:pt x="2067" y="2509"/>
                  <a:pt x="1514" y="2509"/>
                </a:cubicBezTo>
                <a:close/>
              </a:path>
            </a:pathLst>
          </a:custGeom>
          <a:solidFill>
            <a:srgbClr val="202B4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2" name="Freeform 396">
            <a:extLst>
              <a:ext uri="{FF2B5EF4-FFF2-40B4-BE49-F238E27FC236}">
                <a16:creationId xmlns:a16="http://schemas.microsoft.com/office/drawing/2014/main" id="{64432B7C-C6CB-4097-9778-D63AC1A5E8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26843" y="338281"/>
            <a:ext cx="1154290" cy="1046505"/>
          </a:xfrm>
          <a:custGeom>
            <a:avLst/>
            <a:gdLst>
              <a:gd name="T0" fmla="*/ 111571192 w 903"/>
              <a:gd name="T1" fmla="*/ 0 h 851"/>
              <a:gd name="T2" fmla="*/ 111571192 w 903"/>
              <a:gd name="T3" fmla="*/ 0 h 851"/>
              <a:gd name="T4" fmla="*/ 111571192 w 903"/>
              <a:gd name="T5" fmla="*/ 0 h 851"/>
              <a:gd name="T6" fmla="*/ 59616959 w 903"/>
              <a:gd name="T7" fmla="*/ 6610924 h 851"/>
              <a:gd name="T8" fmla="*/ 59616959 w 903"/>
              <a:gd name="T9" fmla="*/ 6610924 h 851"/>
              <a:gd name="T10" fmla="*/ 57538919 w 903"/>
              <a:gd name="T11" fmla="*/ 6610924 h 851"/>
              <a:gd name="T12" fmla="*/ 6624067 w 903"/>
              <a:gd name="T13" fmla="*/ 0 h 851"/>
              <a:gd name="T14" fmla="*/ 6624067 w 903"/>
              <a:gd name="T15" fmla="*/ 0 h 851"/>
              <a:gd name="T16" fmla="*/ 1169123 w 903"/>
              <a:gd name="T17" fmla="*/ 6610924 h 851"/>
              <a:gd name="T18" fmla="*/ 1169123 w 903"/>
              <a:gd name="T19" fmla="*/ 17628651 h 851"/>
              <a:gd name="T20" fmla="*/ 0 w 903"/>
              <a:gd name="T21" fmla="*/ 82699918 h 851"/>
              <a:gd name="T22" fmla="*/ 0 w 903"/>
              <a:gd name="T23" fmla="*/ 92551138 h 851"/>
              <a:gd name="T24" fmla="*/ 5585047 w 903"/>
              <a:gd name="T25" fmla="*/ 99162062 h 851"/>
              <a:gd name="T26" fmla="*/ 56370157 w 903"/>
              <a:gd name="T27" fmla="*/ 110180149 h 851"/>
              <a:gd name="T28" fmla="*/ 57538919 w 903"/>
              <a:gd name="T29" fmla="*/ 110180149 h 851"/>
              <a:gd name="T30" fmla="*/ 58577939 w 903"/>
              <a:gd name="T31" fmla="*/ 110180149 h 851"/>
              <a:gd name="T32" fmla="*/ 60786082 w 903"/>
              <a:gd name="T33" fmla="*/ 110180149 h 851"/>
              <a:gd name="T34" fmla="*/ 61955204 w 903"/>
              <a:gd name="T35" fmla="*/ 110180149 h 851"/>
              <a:gd name="T36" fmla="*/ 112739954 w 903"/>
              <a:gd name="T37" fmla="*/ 99162062 h 851"/>
              <a:gd name="T38" fmla="*/ 117156239 w 903"/>
              <a:gd name="T39" fmla="*/ 92551138 h 851"/>
              <a:gd name="T40" fmla="*/ 117156239 w 903"/>
              <a:gd name="T41" fmla="*/ 72718726 h 851"/>
              <a:gd name="T42" fmla="*/ 117156239 w 903"/>
              <a:gd name="T43" fmla="*/ 72718726 h 851"/>
              <a:gd name="T44" fmla="*/ 117156239 w 903"/>
              <a:gd name="T45" fmla="*/ 6610924 h 851"/>
              <a:gd name="T46" fmla="*/ 111571192 w 903"/>
              <a:gd name="T47" fmla="*/ 0 h 851"/>
              <a:gd name="T48" fmla="*/ 8832209 w 903"/>
              <a:gd name="T49" fmla="*/ 82699918 h 851"/>
              <a:gd name="T50" fmla="*/ 8832209 w 903"/>
              <a:gd name="T51" fmla="*/ 82699918 h 851"/>
              <a:gd name="T52" fmla="*/ 10000971 w 903"/>
              <a:gd name="T53" fmla="*/ 17628651 h 851"/>
              <a:gd name="T54" fmla="*/ 10000971 w 903"/>
              <a:gd name="T55" fmla="*/ 17628651 h 851"/>
              <a:gd name="T56" fmla="*/ 10000971 w 903"/>
              <a:gd name="T57" fmla="*/ 9851580 h 851"/>
              <a:gd name="T58" fmla="*/ 54162015 w 903"/>
              <a:gd name="T59" fmla="*/ 15425250 h 851"/>
              <a:gd name="T60" fmla="*/ 55201035 w 903"/>
              <a:gd name="T61" fmla="*/ 38627930 h 851"/>
              <a:gd name="T62" fmla="*/ 55201035 w 903"/>
              <a:gd name="T63" fmla="*/ 101365824 h 851"/>
              <a:gd name="T64" fmla="*/ 8832209 w 903"/>
              <a:gd name="T65" fmla="*/ 90347737 h 851"/>
              <a:gd name="T66" fmla="*/ 8832209 w 903"/>
              <a:gd name="T67" fmla="*/ 82699918 h 851"/>
              <a:gd name="T68" fmla="*/ 108324030 w 903"/>
              <a:gd name="T69" fmla="*/ 72718726 h 851"/>
              <a:gd name="T70" fmla="*/ 108324030 w 903"/>
              <a:gd name="T71" fmla="*/ 72718726 h 851"/>
              <a:gd name="T72" fmla="*/ 108324030 w 903"/>
              <a:gd name="T73" fmla="*/ 90347737 h 851"/>
              <a:gd name="T74" fmla="*/ 64033244 w 903"/>
              <a:gd name="T75" fmla="*/ 101365824 h 851"/>
              <a:gd name="T76" fmla="*/ 64033244 w 903"/>
              <a:gd name="T77" fmla="*/ 38627930 h 851"/>
              <a:gd name="T78" fmla="*/ 64033244 w 903"/>
              <a:gd name="T79" fmla="*/ 18665906 h 851"/>
              <a:gd name="T80" fmla="*/ 64033244 w 903"/>
              <a:gd name="T81" fmla="*/ 17628651 h 851"/>
              <a:gd name="T82" fmla="*/ 62994224 w 903"/>
              <a:gd name="T83" fmla="*/ 15425250 h 851"/>
              <a:gd name="T84" fmla="*/ 108324030 w 903"/>
              <a:gd name="T85" fmla="*/ 9851580 h 851"/>
              <a:gd name="T86" fmla="*/ 108324030 w 903"/>
              <a:gd name="T87" fmla="*/ 72718726 h 85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903" h="851">
                <a:moveTo>
                  <a:pt x="859" y="0"/>
                </a:moveTo>
                <a:lnTo>
                  <a:pt x="859" y="0"/>
                </a:lnTo>
                <a:cubicBezTo>
                  <a:pt x="459" y="51"/>
                  <a:pt x="459" y="51"/>
                  <a:pt x="459" y="51"/>
                </a:cubicBezTo>
                <a:cubicBezTo>
                  <a:pt x="451" y="51"/>
                  <a:pt x="451" y="51"/>
                  <a:pt x="443" y="51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0"/>
                  <a:pt x="9" y="25"/>
                  <a:pt x="9" y="51"/>
                </a:cubicBezTo>
                <a:cubicBezTo>
                  <a:pt x="9" y="136"/>
                  <a:pt x="9" y="136"/>
                  <a:pt x="9" y="136"/>
                </a:cubicBezTo>
                <a:cubicBezTo>
                  <a:pt x="0" y="638"/>
                  <a:pt x="0" y="638"/>
                  <a:pt x="0" y="638"/>
                </a:cubicBezTo>
                <a:cubicBezTo>
                  <a:pt x="0" y="714"/>
                  <a:pt x="0" y="714"/>
                  <a:pt x="0" y="714"/>
                </a:cubicBezTo>
                <a:cubicBezTo>
                  <a:pt x="0" y="740"/>
                  <a:pt x="26" y="757"/>
                  <a:pt x="43" y="765"/>
                </a:cubicBezTo>
                <a:cubicBezTo>
                  <a:pt x="434" y="850"/>
                  <a:pt x="434" y="850"/>
                  <a:pt x="434" y="850"/>
                </a:cubicBezTo>
                <a:cubicBezTo>
                  <a:pt x="443" y="850"/>
                  <a:pt x="443" y="850"/>
                  <a:pt x="443" y="850"/>
                </a:cubicBezTo>
                <a:cubicBezTo>
                  <a:pt x="451" y="850"/>
                  <a:pt x="451" y="850"/>
                  <a:pt x="451" y="850"/>
                </a:cubicBezTo>
                <a:cubicBezTo>
                  <a:pt x="459" y="850"/>
                  <a:pt x="459" y="850"/>
                  <a:pt x="468" y="850"/>
                </a:cubicBezTo>
                <a:cubicBezTo>
                  <a:pt x="468" y="850"/>
                  <a:pt x="468" y="850"/>
                  <a:pt x="477" y="850"/>
                </a:cubicBezTo>
                <a:cubicBezTo>
                  <a:pt x="868" y="765"/>
                  <a:pt x="868" y="765"/>
                  <a:pt x="868" y="765"/>
                </a:cubicBezTo>
                <a:cubicBezTo>
                  <a:pt x="885" y="765"/>
                  <a:pt x="902" y="740"/>
                  <a:pt x="902" y="714"/>
                </a:cubicBezTo>
                <a:cubicBezTo>
                  <a:pt x="902" y="561"/>
                  <a:pt x="902" y="561"/>
                  <a:pt x="902" y="561"/>
                </a:cubicBezTo>
                <a:cubicBezTo>
                  <a:pt x="902" y="51"/>
                  <a:pt x="902" y="51"/>
                  <a:pt x="902" y="51"/>
                </a:cubicBezTo>
                <a:cubicBezTo>
                  <a:pt x="902" y="25"/>
                  <a:pt x="885" y="0"/>
                  <a:pt x="859" y="0"/>
                </a:cubicBezTo>
                <a:close/>
                <a:moveTo>
                  <a:pt x="68" y="638"/>
                </a:moveTo>
                <a:lnTo>
                  <a:pt x="68" y="638"/>
                </a:lnTo>
                <a:cubicBezTo>
                  <a:pt x="77" y="136"/>
                  <a:pt x="77" y="136"/>
                  <a:pt x="77" y="136"/>
                </a:cubicBezTo>
                <a:cubicBezTo>
                  <a:pt x="77" y="76"/>
                  <a:pt x="77" y="76"/>
                  <a:pt x="77" y="76"/>
                </a:cubicBezTo>
                <a:cubicBezTo>
                  <a:pt x="417" y="119"/>
                  <a:pt x="417" y="119"/>
                  <a:pt x="417" y="119"/>
                </a:cubicBezTo>
                <a:cubicBezTo>
                  <a:pt x="425" y="298"/>
                  <a:pt x="425" y="298"/>
                  <a:pt x="425" y="298"/>
                </a:cubicBezTo>
                <a:cubicBezTo>
                  <a:pt x="425" y="782"/>
                  <a:pt x="425" y="782"/>
                  <a:pt x="425" y="782"/>
                </a:cubicBezTo>
                <a:cubicBezTo>
                  <a:pt x="68" y="697"/>
                  <a:pt x="68" y="697"/>
                  <a:pt x="68" y="697"/>
                </a:cubicBezTo>
                <a:lnTo>
                  <a:pt x="68" y="638"/>
                </a:lnTo>
                <a:close/>
                <a:moveTo>
                  <a:pt x="834" y="561"/>
                </a:moveTo>
                <a:lnTo>
                  <a:pt x="834" y="561"/>
                </a:lnTo>
                <a:cubicBezTo>
                  <a:pt x="834" y="697"/>
                  <a:pt x="834" y="697"/>
                  <a:pt x="834" y="697"/>
                </a:cubicBezTo>
                <a:cubicBezTo>
                  <a:pt x="493" y="782"/>
                  <a:pt x="493" y="782"/>
                  <a:pt x="493" y="782"/>
                </a:cubicBezTo>
                <a:cubicBezTo>
                  <a:pt x="493" y="298"/>
                  <a:pt x="493" y="298"/>
                  <a:pt x="493" y="298"/>
                </a:cubicBezTo>
                <a:cubicBezTo>
                  <a:pt x="493" y="144"/>
                  <a:pt x="493" y="144"/>
                  <a:pt x="493" y="144"/>
                </a:cubicBezTo>
                <a:lnTo>
                  <a:pt x="493" y="136"/>
                </a:lnTo>
                <a:cubicBezTo>
                  <a:pt x="485" y="119"/>
                  <a:pt x="485" y="119"/>
                  <a:pt x="485" y="119"/>
                </a:cubicBezTo>
                <a:cubicBezTo>
                  <a:pt x="834" y="76"/>
                  <a:pt x="834" y="76"/>
                  <a:pt x="834" y="76"/>
                </a:cubicBezTo>
                <a:lnTo>
                  <a:pt x="834" y="56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3" name="Freeform 397">
            <a:extLst>
              <a:ext uri="{FF2B5EF4-FFF2-40B4-BE49-F238E27FC236}">
                <a16:creationId xmlns:a16="http://schemas.microsoft.com/office/drawing/2014/main" id="{8867BC3D-D6B1-4645-B979-1EBD2B5240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5077" y="2105947"/>
            <a:ext cx="1238749" cy="1285084"/>
          </a:xfrm>
          <a:custGeom>
            <a:avLst/>
            <a:gdLst>
              <a:gd name="T0" fmla="*/ 125489014 w 971"/>
              <a:gd name="T1" fmla="*/ 15366465 h 1047"/>
              <a:gd name="T2" fmla="*/ 125489014 w 971"/>
              <a:gd name="T3" fmla="*/ 15366465 h 1047"/>
              <a:gd name="T4" fmla="*/ 118891390 w 971"/>
              <a:gd name="T5" fmla="*/ 9943176 h 1047"/>
              <a:gd name="T6" fmla="*/ 106730584 w 971"/>
              <a:gd name="T7" fmla="*/ 9943176 h 1047"/>
              <a:gd name="T8" fmla="*/ 106730584 w 971"/>
              <a:gd name="T9" fmla="*/ 4390521 h 1047"/>
              <a:gd name="T10" fmla="*/ 102331689 w 971"/>
              <a:gd name="T11" fmla="*/ 0 h 1047"/>
              <a:gd name="T12" fmla="*/ 97933153 w 971"/>
              <a:gd name="T13" fmla="*/ 4390521 h 1047"/>
              <a:gd name="T14" fmla="*/ 97933153 w 971"/>
              <a:gd name="T15" fmla="*/ 9943176 h 1047"/>
              <a:gd name="T16" fmla="*/ 27555861 w 971"/>
              <a:gd name="T17" fmla="*/ 9943176 h 1047"/>
              <a:gd name="T18" fmla="*/ 27555861 w 971"/>
              <a:gd name="T19" fmla="*/ 4390521 h 1047"/>
              <a:gd name="T20" fmla="*/ 23157325 w 971"/>
              <a:gd name="T21" fmla="*/ 0 h 1047"/>
              <a:gd name="T22" fmla="*/ 18758789 w 971"/>
              <a:gd name="T23" fmla="*/ 4390521 h 1047"/>
              <a:gd name="T24" fmla="*/ 18758789 w 971"/>
              <a:gd name="T25" fmla="*/ 9943176 h 1047"/>
              <a:gd name="T26" fmla="*/ 6727109 w 971"/>
              <a:gd name="T27" fmla="*/ 9943176 h 1047"/>
              <a:gd name="T28" fmla="*/ 0 w 971"/>
              <a:gd name="T29" fmla="*/ 15366465 h 1047"/>
              <a:gd name="T30" fmla="*/ 0 w 971"/>
              <a:gd name="T31" fmla="*/ 48295016 h 1047"/>
              <a:gd name="T32" fmla="*/ 0 w 971"/>
              <a:gd name="T33" fmla="*/ 49457509 h 1047"/>
              <a:gd name="T34" fmla="*/ 0 w 971"/>
              <a:gd name="T35" fmla="*/ 51652411 h 1047"/>
              <a:gd name="T36" fmla="*/ 0 w 971"/>
              <a:gd name="T37" fmla="*/ 128614822 h 1047"/>
              <a:gd name="T38" fmla="*/ 6727109 w 971"/>
              <a:gd name="T39" fmla="*/ 135071598 h 1047"/>
              <a:gd name="T40" fmla="*/ 118891390 w 971"/>
              <a:gd name="T41" fmla="*/ 135071598 h 1047"/>
              <a:gd name="T42" fmla="*/ 125489014 w 971"/>
              <a:gd name="T43" fmla="*/ 128614822 h 1047"/>
              <a:gd name="T44" fmla="*/ 125489014 w 971"/>
              <a:gd name="T45" fmla="*/ 51652411 h 1047"/>
              <a:gd name="T46" fmla="*/ 125489014 w 971"/>
              <a:gd name="T47" fmla="*/ 49457509 h 1047"/>
              <a:gd name="T48" fmla="*/ 125489014 w 971"/>
              <a:gd name="T49" fmla="*/ 48295016 h 1047"/>
              <a:gd name="T50" fmla="*/ 125489014 w 971"/>
              <a:gd name="T51" fmla="*/ 15366465 h 1047"/>
              <a:gd name="T52" fmla="*/ 8926557 w 971"/>
              <a:gd name="T53" fmla="*/ 18724219 h 1047"/>
              <a:gd name="T54" fmla="*/ 8926557 w 971"/>
              <a:gd name="T55" fmla="*/ 18724219 h 1047"/>
              <a:gd name="T56" fmla="*/ 18758789 w 971"/>
              <a:gd name="T57" fmla="*/ 18724219 h 1047"/>
              <a:gd name="T58" fmla="*/ 18758789 w 971"/>
              <a:gd name="T59" fmla="*/ 24147508 h 1047"/>
              <a:gd name="T60" fmla="*/ 23157325 w 971"/>
              <a:gd name="T61" fmla="*/ 28538030 h 1047"/>
              <a:gd name="T62" fmla="*/ 27555861 w 971"/>
              <a:gd name="T63" fmla="*/ 24147508 h 1047"/>
              <a:gd name="T64" fmla="*/ 27555861 w 971"/>
              <a:gd name="T65" fmla="*/ 18724219 h 1047"/>
              <a:gd name="T66" fmla="*/ 97933153 w 971"/>
              <a:gd name="T67" fmla="*/ 18724219 h 1047"/>
              <a:gd name="T68" fmla="*/ 97933153 w 971"/>
              <a:gd name="T69" fmla="*/ 24147508 h 1047"/>
              <a:gd name="T70" fmla="*/ 102331689 w 971"/>
              <a:gd name="T71" fmla="*/ 28538030 h 1047"/>
              <a:gd name="T72" fmla="*/ 106730584 w 971"/>
              <a:gd name="T73" fmla="*/ 24147508 h 1047"/>
              <a:gd name="T74" fmla="*/ 106730584 w 971"/>
              <a:gd name="T75" fmla="*/ 18724219 h 1047"/>
              <a:gd name="T76" fmla="*/ 116691942 w 971"/>
              <a:gd name="T77" fmla="*/ 18724219 h 1047"/>
              <a:gd name="T78" fmla="*/ 116691942 w 971"/>
              <a:gd name="T79" fmla="*/ 45066988 h 1047"/>
              <a:gd name="T80" fmla="*/ 8926557 w 971"/>
              <a:gd name="T81" fmla="*/ 45066988 h 1047"/>
              <a:gd name="T82" fmla="*/ 8926557 w 971"/>
              <a:gd name="T83" fmla="*/ 18724219 h 1047"/>
              <a:gd name="T84" fmla="*/ 116691942 w 971"/>
              <a:gd name="T85" fmla="*/ 126290555 h 1047"/>
              <a:gd name="T86" fmla="*/ 116691942 w 971"/>
              <a:gd name="T87" fmla="*/ 126290555 h 1047"/>
              <a:gd name="T88" fmla="*/ 8926557 w 971"/>
              <a:gd name="T89" fmla="*/ 126290555 h 1047"/>
              <a:gd name="T90" fmla="*/ 8926557 w 971"/>
              <a:gd name="T91" fmla="*/ 53847671 h 1047"/>
              <a:gd name="T92" fmla="*/ 116691942 w 971"/>
              <a:gd name="T93" fmla="*/ 53847671 h 1047"/>
              <a:gd name="T94" fmla="*/ 116691942 w 971"/>
              <a:gd name="T95" fmla="*/ 126290555 h 104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971" h="1047">
                <a:moveTo>
                  <a:pt x="970" y="119"/>
                </a:moveTo>
                <a:lnTo>
                  <a:pt x="970" y="119"/>
                </a:lnTo>
                <a:cubicBezTo>
                  <a:pt x="970" y="85"/>
                  <a:pt x="945" y="77"/>
                  <a:pt x="919" y="77"/>
                </a:cubicBezTo>
                <a:cubicBezTo>
                  <a:pt x="825" y="77"/>
                  <a:pt x="825" y="77"/>
                  <a:pt x="825" y="77"/>
                </a:cubicBezTo>
                <a:cubicBezTo>
                  <a:pt x="825" y="34"/>
                  <a:pt x="825" y="34"/>
                  <a:pt x="825" y="34"/>
                </a:cubicBezTo>
                <a:cubicBezTo>
                  <a:pt x="825" y="17"/>
                  <a:pt x="809" y="0"/>
                  <a:pt x="791" y="0"/>
                </a:cubicBezTo>
                <a:cubicBezTo>
                  <a:pt x="766" y="0"/>
                  <a:pt x="757" y="17"/>
                  <a:pt x="757" y="34"/>
                </a:cubicBezTo>
                <a:cubicBezTo>
                  <a:pt x="757" y="77"/>
                  <a:pt x="757" y="77"/>
                  <a:pt x="757" y="77"/>
                </a:cubicBezTo>
                <a:cubicBezTo>
                  <a:pt x="213" y="77"/>
                  <a:pt x="213" y="77"/>
                  <a:pt x="213" y="77"/>
                </a:cubicBezTo>
                <a:cubicBezTo>
                  <a:pt x="213" y="34"/>
                  <a:pt x="213" y="34"/>
                  <a:pt x="213" y="34"/>
                </a:cubicBezTo>
                <a:cubicBezTo>
                  <a:pt x="213" y="17"/>
                  <a:pt x="196" y="0"/>
                  <a:pt x="179" y="0"/>
                </a:cubicBezTo>
                <a:cubicBezTo>
                  <a:pt x="162" y="0"/>
                  <a:pt x="145" y="17"/>
                  <a:pt x="145" y="34"/>
                </a:cubicBezTo>
                <a:cubicBezTo>
                  <a:pt x="145" y="77"/>
                  <a:pt x="145" y="77"/>
                  <a:pt x="145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18" y="77"/>
                  <a:pt x="0" y="94"/>
                  <a:pt x="0" y="119"/>
                </a:cubicBezTo>
                <a:cubicBezTo>
                  <a:pt x="0" y="374"/>
                  <a:pt x="0" y="374"/>
                  <a:pt x="0" y="374"/>
                </a:cubicBezTo>
                <a:lnTo>
                  <a:pt x="0" y="383"/>
                </a:lnTo>
                <a:cubicBezTo>
                  <a:pt x="0" y="392"/>
                  <a:pt x="0" y="392"/>
                  <a:pt x="0" y="400"/>
                </a:cubicBezTo>
                <a:cubicBezTo>
                  <a:pt x="0" y="996"/>
                  <a:pt x="0" y="996"/>
                  <a:pt x="0" y="996"/>
                </a:cubicBezTo>
                <a:cubicBezTo>
                  <a:pt x="0" y="1021"/>
                  <a:pt x="18" y="1046"/>
                  <a:pt x="52" y="1046"/>
                </a:cubicBezTo>
                <a:cubicBezTo>
                  <a:pt x="919" y="1046"/>
                  <a:pt x="919" y="1046"/>
                  <a:pt x="919" y="1046"/>
                </a:cubicBezTo>
                <a:cubicBezTo>
                  <a:pt x="953" y="1046"/>
                  <a:pt x="970" y="1021"/>
                  <a:pt x="970" y="996"/>
                </a:cubicBezTo>
                <a:cubicBezTo>
                  <a:pt x="970" y="400"/>
                  <a:pt x="970" y="400"/>
                  <a:pt x="970" y="400"/>
                </a:cubicBezTo>
                <a:cubicBezTo>
                  <a:pt x="970" y="392"/>
                  <a:pt x="970" y="392"/>
                  <a:pt x="970" y="383"/>
                </a:cubicBezTo>
                <a:lnTo>
                  <a:pt x="970" y="374"/>
                </a:lnTo>
                <a:lnTo>
                  <a:pt x="970" y="119"/>
                </a:lnTo>
                <a:close/>
                <a:moveTo>
                  <a:pt x="69" y="145"/>
                </a:moveTo>
                <a:lnTo>
                  <a:pt x="69" y="145"/>
                </a:lnTo>
                <a:cubicBezTo>
                  <a:pt x="145" y="145"/>
                  <a:pt x="145" y="145"/>
                  <a:pt x="145" y="145"/>
                </a:cubicBezTo>
                <a:cubicBezTo>
                  <a:pt x="145" y="187"/>
                  <a:pt x="145" y="187"/>
                  <a:pt x="145" y="187"/>
                </a:cubicBezTo>
                <a:cubicBezTo>
                  <a:pt x="145" y="204"/>
                  <a:pt x="162" y="221"/>
                  <a:pt x="179" y="221"/>
                </a:cubicBezTo>
                <a:cubicBezTo>
                  <a:pt x="196" y="221"/>
                  <a:pt x="213" y="204"/>
                  <a:pt x="213" y="187"/>
                </a:cubicBezTo>
                <a:cubicBezTo>
                  <a:pt x="213" y="145"/>
                  <a:pt x="213" y="145"/>
                  <a:pt x="213" y="145"/>
                </a:cubicBezTo>
                <a:cubicBezTo>
                  <a:pt x="757" y="145"/>
                  <a:pt x="757" y="145"/>
                  <a:pt x="757" y="145"/>
                </a:cubicBezTo>
                <a:cubicBezTo>
                  <a:pt x="757" y="187"/>
                  <a:pt x="757" y="187"/>
                  <a:pt x="757" y="187"/>
                </a:cubicBezTo>
                <a:cubicBezTo>
                  <a:pt x="757" y="204"/>
                  <a:pt x="766" y="221"/>
                  <a:pt x="791" y="221"/>
                </a:cubicBezTo>
                <a:cubicBezTo>
                  <a:pt x="809" y="221"/>
                  <a:pt x="825" y="204"/>
                  <a:pt x="825" y="187"/>
                </a:cubicBezTo>
                <a:cubicBezTo>
                  <a:pt x="825" y="145"/>
                  <a:pt x="825" y="145"/>
                  <a:pt x="825" y="145"/>
                </a:cubicBezTo>
                <a:cubicBezTo>
                  <a:pt x="902" y="145"/>
                  <a:pt x="902" y="145"/>
                  <a:pt x="902" y="145"/>
                </a:cubicBezTo>
                <a:cubicBezTo>
                  <a:pt x="902" y="349"/>
                  <a:pt x="902" y="349"/>
                  <a:pt x="902" y="349"/>
                </a:cubicBezTo>
                <a:cubicBezTo>
                  <a:pt x="69" y="349"/>
                  <a:pt x="69" y="349"/>
                  <a:pt x="69" y="349"/>
                </a:cubicBezTo>
                <a:lnTo>
                  <a:pt x="69" y="145"/>
                </a:lnTo>
                <a:close/>
                <a:moveTo>
                  <a:pt x="902" y="978"/>
                </a:moveTo>
                <a:lnTo>
                  <a:pt x="902" y="978"/>
                </a:lnTo>
                <a:cubicBezTo>
                  <a:pt x="69" y="978"/>
                  <a:pt x="69" y="978"/>
                  <a:pt x="69" y="978"/>
                </a:cubicBezTo>
                <a:cubicBezTo>
                  <a:pt x="69" y="417"/>
                  <a:pt x="69" y="417"/>
                  <a:pt x="69" y="417"/>
                </a:cubicBezTo>
                <a:cubicBezTo>
                  <a:pt x="902" y="417"/>
                  <a:pt x="902" y="417"/>
                  <a:pt x="902" y="417"/>
                </a:cubicBezTo>
                <a:lnTo>
                  <a:pt x="902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4" name="Freeform 398">
            <a:extLst>
              <a:ext uri="{FF2B5EF4-FFF2-40B4-BE49-F238E27FC236}">
                <a16:creationId xmlns:a16="http://schemas.microsoft.com/office/drawing/2014/main" id="{6406EA4E-9A85-43BA-A854-CB56FC3FE9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03592" y="2366219"/>
            <a:ext cx="467350" cy="86757"/>
          </a:xfrm>
          <a:custGeom>
            <a:avLst/>
            <a:gdLst>
              <a:gd name="T0" fmla="*/ 42666080 w 367"/>
              <a:gd name="T1" fmla="*/ 0 h 69"/>
              <a:gd name="T2" fmla="*/ 42666080 w 367"/>
              <a:gd name="T3" fmla="*/ 0 h 69"/>
              <a:gd name="T4" fmla="*/ 4382646 w 367"/>
              <a:gd name="T5" fmla="*/ 0 h 69"/>
              <a:gd name="T6" fmla="*/ 0 w 367"/>
              <a:gd name="T7" fmla="*/ 4607339 h 69"/>
              <a:gd name="T8" fmla="*/ 4382646 w 367"/>
              <a:gd name="T9" fmla="*/ 9214678 h 69"/>
              <a:gd name="T10" fmla="*/ 42666080 w 367"/>
              <a:gd name="T11" fmla="*/ 9214678 h 69"/>
              <a:gd name="T12" fmla="*/ 47177616 w 367"/>
              <a:gd name="T13" fmla="*/ 4607339 h 69"/>
              <a:gd name="T14" fmla="*/ 42666080 w 367"/>
              <a:gd name="T15" fmla="*/ 0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7" h="69">
                <a:moveTo>
                  <a:pt x="331" y="0"/>
                </a:moveTo>
                <a:lnTo>
                  <a:pt x="331" y="0"/>
                </a:lnTo>
                <a:cubicBezTo>
                  <a:pt x="34" y="0"/>
                  <a:pt x="34" y="0"/>
                  <a:pt x="34" y="0"/>
                </a:cubicBezTo>
                <a:cubicBezTo>
                  <a:pt x="17" y="0"/>
                  <a:pt x="0" y="8"/>
                  <a:pt x="0" y="34"/>
                </a:cubicBezTo>
                <a:cubicBezTo>
                  <a:pt x="0" y="51"/>
                  <a:pt x="17" y="68"/>
                  <a:pt x="34" y="68"/>
                </a:cubicBezTo>
                <a:cubicBezTo>
                  <a:pt x="331" y="68"/>
                  <a:pt x="331" y="68"/>
                  <a:pt x="331" y="68"/>
                </a:cubicBezTo>
                <a:cubicBezTo>
                  <a:pt x="348" y="68"/>
                  <a:pt x="366" y="51"/>
                  <a:pt x="366" y="34"/>
                </a:cubicBezTo>
                <a:cubicBezTo>
                  <a:pt x="366" y="8"/>
                  <a:pt x="348" y="0"/>
                  <a:pt x="331" y="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5" name="Freeform 399">
            <a:extLst>
              <a:ext uri="{FF2B5EF4-FFF2-40B4-BE49-F238E27FC236}">
                <a16:creationId xmlns:a16="http://schemas.microsoft.com/office/drawing/2014/main" id="{9158E9B4-9F3C-4789-88A4-10FE1951E8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19133" y="2794579"/>
            <a:ext cx="292796" cy="379559"/>
          </a:xfrm>
          <a:custGeom>
            <a:avLst/>
            <a:gdLst>
              <a:gd name="T0" fmla="*/ 13139448 w 230"/>
              <a:gd name="T1" fmla="*/ 22273866 h 307"/>
              <a:gd name="T2" fmla="*/ 13139448 w 230"/>
              <a:gd name="T3" fmla="*/ 22273866 h 307"/>
              <a:gd name="T4" fmla="*/ 2190087 w 230"/>
              <a:gd name="T5" fmla="*/ 31183412 h 307"/>
              <a:gd name="T6" fmla="*/ 0 w 230"/>
              <a:gd name="T7" fmla="*/ 35638186 h 307"/>
              <a:gd name="T8" fmla="*/ 4379816 w 230"/>
              <a:gd name="T9" fmla="*/ 40092959 h 307"/>
              <a:gd name="T10" fmla="*/ 25119606 w 230"/>
              <a:gd name="T11" fmla="*/ 40092959 h 307"/>
              <a:gd name="T12" fmla="*/ 29499422 w 230"/>
              <a:gd name="T13" fmla="*/ 35638186 h 307"/>
              <a:gd name="T14" fmla="*/ 25119606 w 230"/>
              <a:gd name="T15" fmla="*/ 32231680 h 307"/>
              <a:gd name="T16" fmla="*/ 11980158 w 230"/>
              <a:gd name="T17" fmla="*/ 32231680 h 307"/>
              <a:gd name="T18" fmla="*/ 18549703 w 230"/>
              <a:gd name="T19" fmla="*/ 27776906 h 307"/>
              <a:gd name="T20" fmla="*/ 28468983 w 230"/>
              <a:gd name="T21" fmla="*/ 12185019 h 307"/>
              <a:gd name="T22" fmla="*/ 28468983 w 230"/>
              <a:gd name="T23" fmla="*/ 12185019 h 307"/>
              <a:gd name="T24" fmla="*/ 15329535 w 230"/>
              <a:gd name="T25" fmla="*/ 0 h 307"/>
              <a:gd name="T26" fmla="*/ 3220527 w 230"/>
              <a:gd name="T27" fmla="*/ 5503040 h 307"/>
              <a:gd name="T28" fmla="*/ 2190087 w 230"/>
              <a:gd name="T29" fmla="*/ 8909546 h 307"/>
              <a:gd name="T30" fmla="*/ 5410255 w 230"/>
              <a:gd name="T31" fmla="*/ 12185019 h 307"/>
              <a:gd name="T32" fmla="*/ 8759632 w 230"/>
              <a:gd name="T33" fmla="*/ 11137114 h 307"/>
              <a:gd name="T34" fmla="*/ 14169887 w 230"/>
              <a:gd name="T35" fmla="*/ 7730246 h 307"/>
              <a:gd name="T36" fmla="*/ 19709351 w 230"/>
              <a:gd name="T37" fmla="*/ 13364320 h 307"/>
              <a:gd name="T38" fmla="*/ 13139448 w 230"/>
              <a:gd name="T39" fmla="*/ 22273866 h 3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30" h="307">
                <a:moveTo>
                  <a:pt x="102" y="170"/>
                </a:moveTo>
                <a:lnTo>
                  <a:pt x="102" y="170"/>
                </a:lnTo>
                <a:cubicBezTo>
                  <a:pt x="17" y="238"/>
                  <a:pt x="17" y="238"/>
                  <a:pt x="17" y="238"/>
                </a:cubicBezTo>
                <a:cubicBezTo>
                  <a:pt x="8" y="246"/>
                  <a:pt x="0" y="255"/>
                  <a:pt x="0" y="272"/>
                </a:cubicBezTo>
                <a:cubicBezTo>
                  <a:pt x="0" y="289"/>
                  <a:pt x="17" y="306"/>
                  <a:pt x="34" y="306"/>
                </a:cubicBezTo>
                <a:cubicBezTo>
                  <a:pt x="195" y="306"/>
                  <a:pt x="195" y="306"/>
                  <a:pt x="195" y="306"/>
                </a:cubicBezTo>
                <a:cubicBezTo>
                  <a:pt x="212" y="306"/>
                  <a:pt x="229" y="289"/>
                  <a:pt x="229" y="272"/>
                </a:cubicBezTo>
                <a:cubicBezTo>
                  <a:pt x="229" y="255"/>
                  <a:pt x="212" y="246"/>
                  <a:pt x="195" y="246"/>
                </a:cubicBezTo>
                <a:cubicBezTo>
                  <a:pt x="93" y="246"/>
                  <a:pt x="93" y="246"/>
                  <a:pt x="93" y="246"/>
                </a:cubicBezTo>
                <a:cubicBezTo>
                  <a:pt x="144" y="212"/>
                  <a:pt x="144" y="212"/>
                  <a:pt x="144" y="212"/>
                </a:cubicBezTo>
                <a:cubicBezTo>
                  <a:pt x="195" y="170"/>
                  <a:pt x="221" y="144"/>
                  <a:pt x="221" y="93"/>
                </a:cubicBezTo>
                <a:cubicBezTo>
                  <a:pt x="221" y="34"/>
                  <a:pt x="178" y="0"/>
                  <a:pt x="119" y="0"/>
                </a:cubicBezTo>
                <a:cubicBezTo>
                  <a:pt x="76" y="0"/>
                  <a:pt x="42" y="17"/>
                  <a:pt x="25" y="42"/>
                </a:cubicBezTo>
                <a:cubicBezTo>
                  <a:pt x="17" y="51"/>
                  <a:pt x="17" y="59"/>
                  <a:pt x="17" y="68"/>
                </a:cubicBezTo>
                <a:cubicBezTo>
                  <a:pt x="17" y="85"/>
                  <a:pt x="25" y="93"/>
                  <a:pt x="42" y="93"/>
                </a:cubicBezTo>
                <a:cubicBezTo>
                  <a:pt x="51" y="93"/>
                  <a:pt x="59" y="93"/>
                  <a:pt x="68" y="85"/>
                </a:cubicBezTo>
                <a:cubicBezTo>
                  <a:pt x="85" y="68"/>
                  <a:pt x="93" y="59"/>
                  <a:pt x="110" y="59"/>
                </a:cubicBezTo>
                <a:cubicBezTo>
                  <a:pt x="136" y="59"/>
                  <a:pt x="153" y="76"/>
                  <a:pt x="153" y="102"/>
                </a:cubicBezTo>
                <a:cubicBezTo>
                  <a:pt x="153" y="127"/>
                  <a:pt x="136" y="136"/>
                  <a:pt x="102" y="170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6" name="Freeform 400">
            <a:extLst>
              <a:ext uri="{FF2B5EF4-FFF2-40B4-BE49-F238E27FC236}">
                <a16:creationId xmlns:a16="http://schemas.microsoft.com/office/drawing/2014/main" id="{5300606A-F03A-4A98-ABC9-AB344672EE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235" y="2805426"/>
            <a:ext cx="281535" cy="368716"/>
          </a:xfrm>
          <a:custGeom>
            <a:avLst/>
            <a:gdLst>
              <a:gd name="T0" fmla="*/ 3196095 w 222"/>
              <a:gd name="T1" fmla="*/ 6647770 h 299"/>
              <a:gd name="T2" fmla="*/ 3196095 w 222"/>
              <a:gd name="T3" fmla="*/ 6647770 h 299"/>
              <a:gd name="T4" fmla="*/ 18408564 w 222"/>
              <a:gd name="T5" fmla="*/ 6647770 h 299"/>
              <a:gd name="T6" fmla="*/ 4346675 w 222"/>
              <a:gd name="T7" fmla="*/ 32195817 h 299"/>
              <a:gd name="T8" fmla="*/ 3196095 w 222"/>
              <a:gd name="T9" fmla="*/ 34411861 h 299"/>
              <a:gd name="T10" fmla="*/ 7542413 w 222"/>
              <a:gd name="T11" fmla="*/ 38843587 h 299"/>
              <a:gd name="T12" fmla="*/ 11889088 w 222"/>
              <a:gd name="T13" fmla="*/ 35454535 h 299"/>
              <a:gd name="T14" fmla="*/ 27101914 w 222"/>
              <a:gd name="T15" fmla="*/ 7820779 h 299"/>
              <a:gd name="T16" fmla="*/ 28252137 w 222"/>
              <a:gd name="T17" fmla="*/ 3389052 h 299"/>
              <a:gd name="T18" fmla="*/ 23905819 w 222"/>
              <a:gd name="T19" fmla="*/ 0 h 299"/>
              <a:gd name="T20" fmla="*/ 3196095 w 222"/>
              <a:gd name="T21" fmla="*/ 0 h 299"/>
              <a:gd name="T22" fmla="*/ 0 w 222"/>
              <a:gd name="T23" fmla="*/ 3389052 h 299"/>
              <a:gd name="T24" fmla="*/ 3196095 w 222"/>
              <a:gd name="T25" fmla="*/ 6647770 h 29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22" h="299">
                <a:moveTo>
                  <a:pt x="25" y="51"/>
                </a:moveTo>
                <a:lnTo>
                  <a:pt x="25" y="51"/>
                </a:lnTo>
                <a:cubicBezTo>
                  <a:pt x="144" y="51"/>
                  <a:pt x="144" y="51"/>
                  <a:pt x="144" y="51"/>
                </a:cubicBezTo>
                <a:cubicBezTo>
                  <a:pt x="34" y="247"/>
                  <a:pt x="34" y="247"/>
                  <a:pt x="34" y="247"/>
                </a:cubicBezTo>
                <a:cubicBezTo>
                  <a:pt x="25" y="255"/>
                  <a:pt x="25" y="264"/>
                  <a:pt x="25" y="264"/>
                </a:cubicBezTo>
                <a:cubicBezTo>
                  <a:pt x="25" y="289"/>
                  <a:pt x="42" y="298"/>
                  <a:pt x="59" y="298"/>
                </a:cubicBezTo>
                <a:cubicBezTo>
                  <a:pt x="68" y="298"/>
                  <a:pt x="85" y="289"/>
                  <a:pt x="93" y="272"/>
                </a:cubicBezTo>
                <a:cubicBezTo>
                  <a:pt x="212" y="60"/>
                  <a:pt x="212" y="60"/>
                  <a:pt x="212" y="60"/>
                </a:cubicBezTo>
                <a:cubicBezTo>
                  <a:pt x="212" y="51"/>
                  <a:pt x="221" y="34"/>
                  <a:pt x="221" y="26"/>
                </a:cubicBezTo>
                <a:cubicBezTo>
                  <a:pt x="221" y="9"/>
                  <a:pt x="204" y="0"/>
                  <a:pt x="187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8" y="0"/>
                  <a:pt x="0" y="9"/>
                  <a:pt x="0" y="26"/>
                </a:cubicBezTo>
                <a:cubicBezTo>
                  <a:pt x="0" y="43"/>
                  <a:pt x="8" y="51"/>
                  <a:pt x="25" y="51"/>
                </a:cubicBez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7" name="Freeform 401">
            <a:extLst>
              <a:ext uri="{FF2B5EF4-FFF2-40B4-BE49-F238E27FC236}">
                <a16:creationId xmlns:a16="http://schemas.microsoft.com/office/drawing/2014/main" id="{9FE038CA-3556-42B9-95FF-0774E66563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38103" y="4155574"/>
            <a:ext cx="1182444" cy="1285084"/>
          </a:xfrm>
          <a:custGeom>
            <a:avLst/>
            <a:gdLst>
              <a:gd name="T0" fmla="*/ 119632768 w 928"/>
              <a:gd name="T1" fmla="*/ 36285945 h 1047"/>
              <a:gd name="T2" fmla="*/ 119632768 w 928"/>
              <a:gd name="T3" fmla="*/ 36285945 h 1047"/>
              <a:gd name="T4" fmla="*/ 118471344 w 928"/>
              <a:gd name="T5" fmla="*/ 31895424 h 1047"/>
              <a:gd name="T6" fmla="*/ 85562418 w 928"/>
              <a:gd name="T7" fmla="*/ 1162133 h 1047"/>
              <a:gd name="T8" fmla="*/ 85562418 w 928"/>
              <a:gd name="T9" fmla="*/ 1162133 h 1047"/>
              <a:gd name="T10" fmla="*/ 85562418 w 928"/>
              <a:gd name="T11" fmla="*/ 1162133 h 1047"/>
              <a:gd name="T12" fmla="*/ 85562418 w 928"/>
              <a:gd name="T13" fmla="*/ 0 h 1047"/>
              <a:gd name="T14" fmla="*/ 85562418 w 928"/>
              <a:gd name="T15" fmla="*/ 0 h 1047"/>
              <a:gd name="T16" fmla="*/ 84529961 w 928"/>
              <a:gd name="T17" fmla="*/ 0 h 1047"/>
              <a:gd name="T18" fmla="*/ 84529961 w 928"/>
              <a:gd name="T19" fmla="*/ 0 h 1047"/>
              <a:gd name="T20" fmla="*/ 84529961 w 928"/>
              <a:gd name="T21" fmla="*/ 0 h 1047"/>
              <a:gd name="T22" fmla="*/ 84529961 w 928"/>
              <a:gd name="T23" fmla="*/ 0 h 1047"/>
              <a:gd name="T24" fmla="*/ 84529961 w 928"/>
              <a:gd name="T25" fmla="*/ 0 h 1047"/>
              <a:gd name="T26" fmla="*/ 84529961 w 928"/>
              <a:gd name="T27" fmla="*/ 0 h 1047"/>
              <a:gd name="T28" fmla="*/ 83368538 w 928"/>
              <a:gd name="T29" fmla="*/ 0 h 1047"/>
              <a:gd name="T30" fmla="*/ 83368538 w 928"/>
              <a:gd name="T31" fmla="*/ 0 h 1047"/>
              <a:gd name="T32" fmla="*/ 83368538 w 928"/>
              <a:gd name="T33" fmla="*/ 0 h 1047"/>
              <a:gd name="T34" fmla="*/ 83368538 w 928"/>
              <a:gd name="T35" fmla="*/ 0 h 1047"/>
              <a:gd name="T36" fmla="*/ 83368538 w 928"/>
              <a:gd name="T37" fmla="*/ 0 h 1047"/>
              <a:gd name="T38" fmla="*/ 82336081 w 928"/>
              <a:gd name="T39" fmla="*/ 0 h 1047"/>
              <a:gd name="T40" fmla="*/ 7614098 w 928"/>
              <a:gd name="T41" fmla="*/ 0 h 1047"/>
              <a:gd name="T42" fmla="*/ 0 w 928"/>
              <a:gd name="T43" fmla="*/ 7747915 h 1047"/>
              <a:gd name="T44" fmla="*/ 0 w 928"/>
              <a:gd name="T45" fmla="*/ 130681077 h 1047"/>
              <a:gd name="T46" fmla="*/ 4387761 w 928"/>
              <a:gd name="T47" fmla="*/ 135071598 h 1047"/>
              <a:gd name="T48" fmla="*/ 25165502 w 928"/>
              <a:gd name="T49" fmla="*/ 135071598 h 1047"/>
              <a:gd name="T50" fmla="*/ 92144419 w 928"/>
              <a:gd name="T51" fmla="*/ 135071598 h 1047"/>
              <a:gd name="T52" fmla="*/ 115245007 w 928"/>
              <a:gd name="T53" fmla="*/ 135071598 h 1047"/>
              <a:gd name="T54" fmla="*/ 119632768 w 928"/>
              <a:gd name="T55" fmla="*/ 130681077 h 1047"/>
              <a:gd name="T56" fmla="*/ 119632768 w 928"/>
              <a:gd name="T57" fmla="*/ 37448079 h 1047"/>
              <a:gd name="T58" fmla="*/ 119632768 w 928"/>
              <a:gd name="T59" fmla="*/ 36285945 h 1047"/>
              <a:gd name="T60" fmla="*/ 73431592 w 928"/>
              <a:gd name="T61" fmla="*/ 8781043 h 1047"/>
              <a:gd name="T62" fmla="*/ 73431592 w 928"/>
              <a:gd name="T63" fmla="*/ 8781043 h 1047"/>
              <a:gd name="T64" fmla="*/ 73431592 w 928"/>
              <a:gd name="T65" fmla="*/ 33057557 h 1047"/>
              <a:gd name="T66" fmla="*/ 40522665 w 928"/>
              <a:gd name="T67" fmla="*/ 33057557 h 1047"/>
              <a:gd name="T68" fmla="*/ 40522665 w 928"/>
              <a:gd name="T69" fmla="*/ 8781043 h 1047"/>
              <a:gd name="T70" fmla="*/ 73431592 w 928"/>
              <a:gd name="T71" fmla="*/ 8781043 h 1047"/>
              <a:gd name="T72" fmla="*/ 27359382 w 928"/>
              <a:gd name="T73" fmla="*/ 126290555 h 1047"/>
              <a:gd name="T74" fmla="*/ 27359382 w 928"/>
              <a:gd name="T75" fmla="*/ 126290555 h 1047"/>
              <a:gd name="T76" fmla="*/ 27359382 w 928"/>
              <a:gd name="T77" fmla="*/ 82256695 h 1047"/>
              <a:gd name="T78" fmla="*/ 89950179 w 928"/>
              <a:gd name="T79" fmla="*/ 82256695 h 1047"/>
              <a:gd name="T80" fmla="*/ 89950179 w 928"/>
              <a:gd name="T81" fmla="*/ 126290555 h 1047"/>
              <a:gd name="T82" fmla="*/ 27359382 w 928"/>
              <a:gd name="T83" fmla="*/ 126290555 h 1047"/>
              <a:gd name="T84" fmla="*/ 110856887 w 928"/>
              <a:gd name="T85" fmla="*/ 126290555 h 1047"/>
              <a:gd name="T86" fmla="*/ 110856887 w 928"/>
              <a:gd name="T87" fmla="*/ 126290555 h 1047"/>
              <a:gd name="T88" fmla="*/ 98726060 w 928"/>
              <a:gd name="T89" fmla="*/ 126290555 h 1047"/>
              <a:gd name="T90" fmla="*/ 98726060 w 928"/>
              <a:gd name="T91" fmla="*/ 77866173 h 1047"/>
              <a:gd name="T92" fmla="*/ 92144419 w 928"/>
              <a:gd name="T93" fmla="*/ 73475652 h 1047"/>
              <a:gd name="T94" fmla="*/ 25165502 w 928"/>
              <a:gd name="T95" fmla="*/ 73475652 h 1047"/>
              <a:gd name="T96" fmla="*/ 18583860 w 928"/>
              <a:gd name="T97" fmla="*/ 77866173 h 1047"/>
              <a:gd name="T98" fmla="*/ 18583860 w 928"/>
              <a:gd name="T99" fmla="*/ 126290555 h 1047"/>
              <a:gd name="T100" fmla="*/ 8775522 w 928"/>
              <a:gd name="T101" fmla="*/ 126290555 h 1047"/>
              <a:gd name="T102" fmla="*/ 8775522 w 928"/>
              <a:gd name="T103" fmla="*/ 8781043 h 1047"/>
              <a:gd name="T104" fmla="*/ 31747143 w 928"/>
              <a:gd name="T105" fmla="*/ 8781043 h 1047"/>
              <a:gd name="T106" fmla="*/ 31747143 w 928"/>
              <a:gd name="T107" fmla="*/ 36285945 h 1047"/>
              <a:gd name="T108" fmla="*/ 37296328 w 928"/>
              <a:gd name="T109" fmla="*/ 41838600 h 1047"/>
              <a:gd name="T110" fmla="*/ 76786896 w 928"/>
              <a:gd name="T111" fmla="*/ 41838600 h 1047"/>
              <a:gd name="T112" fmla="*/ 82336081 w 928"/>
              <a:gd name="T113" fmla="*/ 36285945 h 1047"/>
              <a:gd name="T114" fmla="*/ 82336081 w 928"/>
              <a:gd name="T115" fmla="*/ 9943176 h 1047"/>
              <a:gd name="T116" fmla="*/ 110856887 w 928"/>
              <a:gd name="T117" fmla="*/ 37448079 h 1047"/>
              <a:gd name="T118" fmla="*/ 110856887 w 928"/>
              <a:gd name="T119" fmla="*/ 37448079 h 1047"/>
              <a:gd name="T120" fmla="*/ 110856887 w 928"/>
              <a:gd name="T121" fmla="*/ 126290555 h 10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28" h="1047">
                <a:moveTo>
                  <a:pt x="927" y="281"/>
                </a:moveTo>
                <a:lnTo>
                  <a:pt x="927" y="281"/>
                </a:lnTo>
                <a:cubicBezTo>
                  <a:pt x="927" y="273"/>
                  <a:pt x="927" y="256"/>
                  <a:pt x="918" y="247"/>
                </a:cubicBezTo>
                <a:cubicBezTo>
                  <a:pt x="663" y="9"/>
                  <a:pt x="663" y="9"/>
                  <a:pt x="663" y="9"/>
                </a:cubicBezTo>
                <a:lnTo>
                  <a:pt x="663" y="0"/>
                </a:lnTo>
                <a:lnTo>
                  <a:pt x="655" y="0"/>
                </a:lnTo>
                <a:cubicBezTo>
                  <a:pt x="646" y="0"/>
                  <a:pt x="646" y="0"/>
                  <a:pt x="646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25" y="0"/>
                  <a:pt x="0" y="26"/>
                  <a:pt x="0" y="60"/>
                </a:cubicBezTo>
                <a:cubicBezTo>
                  <a:pt x="0" y="1012"/>
                  <a:pt x="0" y="1012"/>
                  <a:pt x="0" y="1012"/>
                </a:cubicBezTo>
                <a:cubicBezTo>
                  <a:pt x="0" y="1029"/>
                  <a:pt x="17" y="1046"/>
                  <a:pt x="34" y="1046"/>
                </a:cubicBezTo>
                <a:cubicBezTo>
                  <a:pt x="195" y="1046"/>
                  <a:pt x="195" y="1046"/>
                  <a:pt x="195" y="1046"/>
                </a:cubicBezTo>
                <a:cubicBezTo>
                  <a:pt x="714" y="1046"/>
                  <a:pt x="714" y="1046"/>
                  <a:pt x="714" y="1046"/>
                </a:cubicBezTo>
                <a:cubicBezTo>
                  <a:pt x="893" y="1046"/>
                  <a:pt x="893" y="1046"/>
                  <a:pt x="893" y="1046"/>
                </a:cubicBezTo>
                <a:cubicBezTo>
                  <a:pt x="910" y="1046"/>
                  <a:pt x="927" y="1029"/>
                  <a:pt x="927" y="1012"/>
                </a:cubicBezTo>
                <a:cubicBezTo>
                  <a:pt x="927" y="290"/>
                  <a:pt x="927" y="290"/>
                  <a:pt x="927" y="290"/>
                </a:cubicBezTo>
                <a:cubicBezTo>
                  <a:pt x="927" y="290"/>
                  <a:pt x="927" y="290"/>
                  <a:pt x="927" y="281"/>
                </a:cubicBezTo>
                <a:close/>
                <a:moveTo>
                  <a:pt x="569" y="68"/>
                </a:moveTo>
                <a:lnTo>
                  <a:pt x="569" y="68"/>
                </a:lnTo>
                <a:cubicBezTo>
                  <a:pt x="569" y="256"/>
                  <a:pt x="569" y="256"/>
                  <a:pt x="569" y="256"/>
                </a:cubicBezTo>
                <a:cubicBezTo>
                  <a:pt x="314" y="256"/>
                  <a:pt x="314" y="256"/>
                  <a:pt x="314" y="256"/>
                </a:cubicBezTo>
                <a:cubicBezTo>
                  <a:pt x="314" y="68"/>
                  <a:pt x="314" y="68"/>
                  <a:pt x="314" y="68"/>
                </a:cubicBezTo>
                <a:lnTo>
                  <a:pt x="569" y="68"/>
                </a:lnTo>
                <a:close/>
                <a:moveTo>
                  <a:pt x="212" y="978"/>
                </a:moveTo>
                <a:lnTo>
                  <a:pt x="212" y="978"/>
                </a:lnTo>
                <a:cubicBezTo>
                  <a:pt x="212" y="637"/>
                  <a:pt x="212" y="637"/>
                  <a:pt x="212" y="637"/>
                </a:cubicBezTo>
                <a:cubicBezTo>
                  <a:pt x="697" y="637"/>
                  <a:pt x="697" y="637"/>
                  <a:pt x="697" y="637"/>
                </a:cubicBezTo>
                <a:cubicBezTo>
                  <a:pt x="697" y="978"/>
                  <a:pt x="697" y="978"/>
                  <a:pt x="697" y="978"/>
                </a:cubicBezTo>
                <a:lnTo>
                  <a:pt x="212" y="978"/>
                </a:lnTo>
                <a:close/>
                <a:moveTo>
                  <a:pt x="859" y="978"/>
                </a:moveTo>
                <a:lnTo>
                  <a:pt x="859" y="978"/>
                </a:lnTo>
                <a:cubicBezTo>
                  <a:pt x="765" y="978"/>
                  <a:pt x="765" y="978"/>
                  <a:pt x="765" y="978"/>
                </a:cubicBezTo>
                <a:cubicBezTo>
                  <a:pt x="765" y="603"/>
                  <a:pt x="765" y="603"/>
                  <a:pt x="765" y="603"/>
                </a:cubicBezTo>
                <a:cubicBezTo>
                  <a:pt x="765" y="586"/>
                  <a:pt x="748" y="569"/>
                  <a:pt x="714" y="569"/>
                </a:cubicBezTo>
                <a:cubicBezTo>
                  <a:pt x="195" y="569"/>
                  <a:pt x="195" y="569"/>
                  <a:pt x="195" y="569"/>
                </a:cubicBezTo>
                <a:cubicBezTo>
                  <a:pt x="170" y="569"/>
                  <a:pt x="144" y="586"/>
                  <a:pt x="144" y="603"/>
                </a:cubicBezTo>
                <a:cubicBezTo>
                  <a:pt x="144" y="978"/>
                  <a:pt x="144" y="978"/>
                  <a:pt x="144" y="978"/>
                </a:cubicBezTo>
                <a:cubicBezTo>
                  <a:pt x="68" y="978"/>
                  <a:pt x="68" y="978"/>
                  <a:pt x="68" y="978"/>
                </a:cubicBezTo>
                <a:cubicBezTo>
                  <a:pt x="68" y="68"/>
                  <a:pt x="68" y="68"/>
                  <a:pt x="68" y="68"/>
                </a:cubicBezTo>
                <a:cubicBezTo>
                  <a:pt x="246" y="68"/>
                  <a:pt x="246" y="68"/>
                  <a:pt x="246" y="68"/>
                </a:cubicBezTo>
                <a:cubicBezTo>
                  <a:pt x="246" y="281"/>
                  <a:pt x="246" y="281"/>
                  <a:pt x="246" y="281"/>
                </a:cubicBezTo>
                <a:cubicBezTo>
                  <a:pt x="246" y="307"/>
                  <a:pt x="263" y="324"/>
                  <a:pt x="289" y="324"/>
                </a:cubicBezTo>
                <a:cubicBezTo>
                  <a:pt x="595" y="324"/>
                  <a:pt x="595" y="324"/>
                  <a:pt x="595" y="324"/>
                </a:cubicBezTo>
                <a:cubicBezTo>
                  <a:pt x="621" y="324"/>
                  <a:pt x="638" y="307"/>
                  <a:pt x="638" y="281"/>
                </a:cubicBezTo>
                <a:cubicBezTo>
                  <a:pt x="638" y="77"/>
                  <a:pt x="638" y="77"/>
                  <a:pt x="638" y="77"/>
                </a:cubicBezTo>
                <a:cubicBezTo>
                  <a:pt x="859" y="290"/>
                  <a:pt x="859" y="290"/>
                  <a:pt x="859" y="290"/>
                </a:cubicBezTo>
                <a:lnTo>
                  <a:pt x="859" y="9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sp>
        <p:nvSpPr>
          <p:cNvPr id="18" name="Freeform 406">
            <a:extLst>
              <a:ext uri="{FF2B5EF4-FFF2-40B4-BE49-F238E27FC236}">
                <a16:creationId xmlns:a16="http://schemas.microsoft.com/office/drawing/2014/main" id="{476AE601-2DFB-4D97-887A-B61DA6FADE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11304" y="8319896"/>
            <a:ext cx="1340102" cy="1024815"/>
          </a:xfrm>
          <a:custGeom>
            <a:avLst/>
            <a:gdLst>
              <a:gd name="T0" fmla="*/ 129324667 w 1048"/>
              <a:gd name="T1" fmla="*/ 19802148 h 834"/>
              <a:gd name="T2" fmla="*/ 129324667 w 1048"/>
              <a:gd name="T3" fmla="*/ 19802148 h 834"/>
              <a:gd name="T4" fmla="*/ 100600593 w 1048"/>
              <a:gd name="T5" fmla="*/ 19802148 h 834"/>
              <a:gd name="T6" fmla="*/ 88512717 w 1048"/>
              <a:gd name="T7" fmla="*/ 6600836 h 834"/>
              <a:gd name="T8" fmla="*/ 67456904 w 1048"/>
              <a:gd name="T9" fmla="*/ 0 h 834"/>
              <a:gd name="T10" fmla="*/ 47570619 w 1048"/>
              <a:gd name="T11" fmla="*/ 6600836 h 834"/>
              <a:gd name="T12" fmla="*/ 35352955 w 1048"/>
              <a:gd name="T13" fmla="*/ 19802148 h 834"/>
              <a:gd name="T14" fmla="*/ 6628882 w 1048"/>
              <a:gd name="T15" fmla="*/ 19802148 h 834"/>
              <a:gd name="T16" fmla="*/ 0 w 1048"/>
              <a:gd name="T17" fmla="*/ 26402984 h 834"/>
              <a:gd name="T18" fmla="*/ 0 w 1048"/>
              <a:gd name="T19" fmla="*/ 36239122 h 834"/>
              <a:gd name="T20" fmla="*/ 0 w 1048"/>
              <a:gd name="T21" fmla="*/ 57206166 h 834"/>
              <a:gd name="T22" fmla="*/ 0 w 1048"/>
              <a:gd name="T23" fmla="*/ 101211020 h 834"/>
              <a:gd name="T24" fmla="*/ 6628882 w 1048"/>
              <a:gd name="T25" fmla="*/ 107811496 h 834"/>
              <a:gd name="T26" fmla="*/ 129324667 w 1048"/>
              <a:gd name="T27" fmla="*/ 107811496 h 834"/>
              <a:gd name="T28" fmla="*/ 136083336 w 1048"/>
              <a:gd name="T29" fmla="*/ 101211020 h 834"/>
              <a:gd name="T30" fmla="*/ 136083336 w 1048"/>
              <a:gd name="T31" fmla="*/ 57206166 h 834"/>
              <a:gd name="T32" fmla="*/ 136083336 w 1048"/>
              <a:gd name="T33" fmla="*/ 36239122 h 834"/>
              <a:gd name="T34" fmla="*/ 136083336 w 1048"/>
              <a:gd name="T35" fmla="*/ 26402984 h 834"/>
              <a:gd name="T36" fmla="*/ 129324667 w 1048"/>
              <a:gd name="T37" fmla="*/ 19802148 h 834"/>
              <a:gd name="T38" fmla="*/ 51989874 w 1048"/>
              <a:gd name="T39" fmla="*/ 13201312 h 834"/>
              <a:gd name="T40" fmla="*/ 51989874 w 1048"/>
              <a:gd name="T41" fmla="*/ 13201312 h 834"/>
              <a:gd name="T42" fmla="*/ 67456904 w 1048"/>
              <a:gd name="T43" fmla="*/ 8801115 h 834"/>
              <a:gd name="T44" fmla="*/ 84093462 w 1048"/>
              <a:gd name="T45" fmla="*/ 13201312 h 834"/>
              <a:gd name="T46" fmla="*/ 89552456 w 1048"/>
              <a:gd name="T47" fmla="*/ 19802148 h 834"/>
              <a:gd name="T48" fmla="*/ 67456904 w 1048"/>
              <a:gd name="T49" fmla="*/ 19802148 h 834"/>
              <a:gd name="T50" fmla="*/ 46401092 w 1048"/>
              <a:gd name="T51" fmla="*/ 19802148 h 834"/>
              <a:gd name="T52" fmla="*/ 51989874 w 1048"/>
              <a:gd name="T53" fmla="*/ 13201312 h 834"/>
              <a:gd name="T54" fmla="*/ 8838149 w 1048"/>
              <a:gd name="T55" fmla="*/ 28602903 h 834"/>
              <a:gd name="T56" fmla="*/ 8838149 w 1048"/>
              <a:gd name="T57" fmla="*/ 28602903 h 834"/>
              <a:gd name="T58" fmla="*/ 32103588 w 1048"/>
              <a:gd name="T59" fmla="*/ 28602903 h 834"/>
              <a:gd name="T60" fmla="*/ 32103588 w 1048"/>
              <a:gd name="T61" fmla="*/ 28602903 h 834"/>
              <a:gd name="T62" fmla="*/ 103979747 w 1048"/>
              <a:gd name="T63" fmla="*/ 28602903 h 834"/>
              <a:gd name="T64" fmla="*/ 103979747 w 1048"/>
              <a:gd name="T65" fmla="*/ 28602903 h 834"/>
              <a:gd name="T66" fmla="*/ 127115400 w 1048"/>
              <a:gd name="T67" fmla="*/ 28602903 h 834"/>
              <a:gd name="T68" fmla="*/ 127115400 w 1048"/>
              <a:gd name="T69" fmla="*/ 36239122 h 834"/>
              <a:gd name="T70" fmla="*/ 127115400 w 1048"/>
              <a:gd name="T71" fmla="*/ 57206166 h 834"/>
              <a:gd name="T72" fmla="*/ 119446778 w 1048"/>
              <a:gd name="T73" fmla="*/ 64971538 h 834"/>
              <a:gd name="T74" fmla="*/ 16636918 w 1048"/>
              <a:gd name="T75" fmla="*/ 64971538 h 834"/>
              <a:gd name="T76" fmla="*/ 8838149 w 1048"/>
              <a:gd name="T77" fmla="*/ 57206166 h 834"/>
              <a:gd name="T78" fmla="*/ 8838149 w 1048"/>
              <a:gd name="T79" fmla="*/ 36239122 h 834"/>
              <a:gd name="T80" fmla="*/ 8838149 w 1048"/>
              <a:gd name="T81" fmla="*/ 28602903 h 834"/>
              <a:gd name="T82" fmla="*/ 8838149 w 1048"/>
              <a:gd name="T83" fmla="*/ 99010741 h 834"/>
              <a:gd name="T84" fmla="*/ 8838149 w 1048"/>
              <a:gd name="T85" fmla="*/ 99010741 h 834"/>
              <a:gd name="T86" fmla="*/ 8838149 w 1048"/>
              <a:gd name="T87" fmla="*/ 71572374 h 834"/>
              <a:gd name="T88" fmla="*/ 16636918 w 1048"/>
              <a:gd name="T89" fmla="*/ 73772653 h 834"/>
              <a:gd name="T90" fmla="*/ 119446778 w 1048"/>
              <a:gd name="T91" fmla="*/ 73772653 h 834"/>
              <a:gd name="T92" fmla="*/ 127115400 w 1048"/>
              <a:gd name="T93" fmla="*/ 71572374 h 834"/>
              <a:gd name="T94" fmla="*/ 127115400 w 1048"/>
              <a:gd name="T95" fmla="*/ 99010741 h 834"/>
              <a:gd name="T96" fmla="*/ 8838149 w 1048"/>
              <a:gd name="T97" fmla="*/ 99010741 h 8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048" h="834">
                <a:moveTo>
                  <a:pt x="995" y="153"/>
                </a:moveTo>
                <a:lnTo>
                  <a:pt x="995" y="153"/>
                </a:lnTo>
                <a:cubicBezTo>
                  <a:pt x="774" y="153"/>
                  <a:pt x="774" y="153"/>
                  <a:pt x="774" y="153"/>
                </a:cubicBezTo>
                <a:cubicBezTo>
                  <a:pt x="749" y="110"/>
                  <a:pt x="723" y="76"/>
                  <a:pt x="681" y="51"/>
                </a:cubicBezTo>
                <a:cubicBezTo>
                  <a:pt x="638" y="17"/>
                  <a:pt x="579" y="0"/>
                  <a:pt x="519" y="0"/>
                </a:cubicBezTo>
                <a:cubicBezTo>
                  <a:pt x="468" y="0"/>
                  <a:pt x="408" y="17"/>
                  <a:pt x="366" y="51"/>
                </a:cubicBezTo>
                <a:cubicBezTo>
                  <a:pt x="323" y="76"/>
                  <a:pt x="298" y="110"/>
                  <a:pt x="27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26" y="153"/>
                  <a:pt x="0" y="178"/>
                  <a:pt x="0" y="204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808"/>
                  <a:pt x="26" y="833"/>
                  <a:pt x="51" y="833"/>
                </a:cubicBezTo>
                <a:cubicBezTo>
                  <a:pt x="995" y="833"/>
                  <a:pt x="995" y="833"/>
                  <a:pt x="995" y="833"/>
                </a:cubicBezTo>
                <a:cubicBezTo>
                  <a:pt x="1021" y="833"/>
                  <a:pt x="1047" y="808"/>
                  <a:pt x="1047" y="782"/>
                </a:cubicBezTo>
                <a:cubicBezTo>
                  <a:pt x="1047" y="442"/>
                  <a:pt x="1047" y="442"/>
                  <a:pt x="1047" y="442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04"/>
                  <a:pt x="1047" y="204"/>
                  <a:pt x="1047" y="204"/>
                </a:cubicBezTo>
                <a:cubicBezTo>
                  <a:pt x="1047" y="170"/>
                  <a:pt x="1021" y="153"/>
                  <a:pt x="995" y="153"/>
                </a:cubicBezTo>
                <a:close/>
                <a:moveTo>
                  <a:pt x="400" y="102"/>
                </a:moveTo>
                <a:lnTo>
                  <a:pt x="400" y="102"/>
                </a:lnTo>
                <a:cubicBezTo>
                  <a:pt x="434" y="85"/>
                  <a:pt x="477" y="68"/>
                  <a:pt x="519" y="68"/>
                </a:cubicBezTo>
                <a:cubicBezTo>
                  <a:pt x="570" y="68"/>
                  <a:pt x="604" y="85"/>
                  <a:pt x="647" y="102"/>
                </a:cubicBezTo>
                <a:cubicBezTo>
                  <a:pt x="664" y="119"/>
                  <a:pt x="681" y="136"/>
                  <a:pt x="689" y="153"/>
                </a:cubicBezTo>
                <a:cubicBezTo>
                  <a:pt x="519" y="153"/>
                  <a:pt x="519" y="153"/>
                  <a:pt x="519" y="153"/>
                </a:cubicBezTo>
                <a:cubicBezTo>
                  <a:pt x="357" y="153"/>
                  <a:pt x="357" y="153"/>
                  <a:pt x="357" y="153"/>
                </a:cubicBezTo>
                <a:cubicBezTo>
                  <a:pt x="366" y="136"/>
                  <a:pt x="383" y="119"/>
                  <a:pt x="400" y="102"/>
                </a:cubicBezTo>
                <a:close/>
                <a:moveTo>
                  <a:pt x="68" y="221"/>
                </a:moveTo>
                <a:lnTo>
                  <a:pt x="68" y="221"/>
                </a:lnTo>
                <a:cubicBezTo>
                  <a:pt x="247" y="221"/>
                  <a:pt x="247" y="221"/>
                  <a:pt x="247" y="221"/>
                </a:cubicBezTo>
                <a:cubicBezTo>
                  <a:pt x="800" y="221"/>
                  <a:pt x="800" y="221"/>
                  <a:pt x="800" y="221"/>
                </a:cubicBezTo>
                <a:cubicBezTo>
                  <a:pt x="978" y="221"/>
                  <a:pt x="978" y="221"/>
                  <a:pt x="978" y="221"/>
                </a:cubicBezTo>
                <a:cubicBezTo>
                  <a:pt x="978" y="280"/>
                  <a:pt x="978" y="280"/>
                  <a:pt x="978" y="280"/>
                </a:cubicBezTo>
                <a:cubicBezTo>
                  <a:pt x="978" y="442"/>
                  <a:pt x="978" y="442"/>
                  <a:pt x="978" y="442"/>
                </a:cubicBezTo>
                <a:cubicBezTo>
                  <a:pt x="978" y="476"/>
                  <a:pt x="953" y="502"/>
                  <a:pt x="919" y="502"/>
                </a:cubicBezTo>
                <a:cubicBezTo>
                  <a:pt x="128" y="502"/>
                  <a:pt x="128" y="502"/>
                  <a:pt x="128" y="502"/>
                </a:cubicBezTo>
                <a:cubicBezTo>
                  <a:pt x="94" y="502"/>
                  <a:pt x="68" y="476"/>
                  <a:pt x="68" y="442"/>
                </a:cubicBezTo>
                <a:cubicBezTo>
                  <a:pt x="68" y="280"/>
                  <a:pt x="68" y="280"/>
                  <a:pt x="68" y="280"/>
                </a:cubicBezTo>
                <a:lnTo>
                  <a:pt x="68" y="221"/>
                </a:lnTo>
                <a:close/>
                <a:moveTo>
                  <a:pt x="68" y="765"/>
                </a:moveTo>
                <a:lnTo>
                  <a:pt x="68" y="765"/>
                </a:lnTo>
                <a:cubicBezTo>
                  <a:pt x="68" y="553"/>
                  <a:pt x="68" y="553"/>
                  <a:pt x="68" y="553"/>
                </a:cubicBezTo>
                <a:cubicBezTo>
                  <a:pt x="85" y="561"/>
                  <a:pt x="111" y="570"/>
                  <a:pt x="128" y="570"/>
                </a:cubicBezTo>
                <a:cubicBezTo>
                  <a:pt x="919" y="570"/>
                  <a:pt x="919" y="570"/>
                  <a:pt x="919" y="570"/>
                </a:cubicBezTo>
                <a:cubicBezTo>
                  <a:pt x="936" y="570"/>
                  <a:pt x="961" y="561"/>
                  <a:pt x="978" y="553"/>
                </a:cubicBezTo>
                <a:cubicBezTo>
                  <a:pt x="978" y="765"/>
                  <a:pt x="978" y="765"/>
                  <a:pt x="978" y="765"/>
                </a:cubicBezTo>
                <a:lnTo>
                  <a:pt x="68" y="76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defTabSz="1343808"/>
            <a:endParaRPr lang="es-MX" sz="2646">
              <a:solidFill>
                <a:srgbClr val="98989A"/>
              </a:solidFill>
              <a:latin typeface="Trebuchet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713C565-7D55-4B27-828F-3EC3CC74E4AC}"/>
              </a:ext>
            </a:extLst>
          </p:cNvPr>
          <p:cNvGrpSpPr/>
          <p:nvPr userDrawn="1"/>
        </p:nvGrpSpPr>
        <p:grpSpPr>
          <a:xfrm>
            <a:off x="2566527" y="6313086"/>
            <a:ext cx="1090803" cy="928677"/>
            <a:chOff x="5846115" y="3218159"/>
            <a:chExt cx="447713" cy="343594"/>
          </a:xfrm>
        </p:grpSpPr>
        <p:sp>
          <p:nvSpPr>
            <p:cNvPr id="20" name="Freeform 402">
              <a:extLst>
                <a:ext uri="{FF2B5EF4-FFF2-40B4-BE49-F238E27FC236}">
                  <a16:creationId xmlns:a16="http://schemas.microsoft.com/office/drawing/2014/main" id="{310DB959-460F-45F1-80BB-47E88DB9E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115" y="3218159"/>
              <a:ext cx="447713" cy="343594"/>
            </a:xfrm>
            <a:custGeom>
              <a:avLst/>
              <a:gdLst>
                <a:gd name="T0" fmla="*/ 258261 w 757"/>
                <a:gd name="T1" fmla="*/ 209189 h 580"/>
                <a:gd name="T2" fmla="*/ 258261 w 757"/>
                <a:gd name="T3" fmla="*/ 209189 h 580"/>
                <a:gd name="T4" fmla="*/ 14428 w 757"/>
                <a:gd name="T5" fmla="*/ 209189 h 580"/>
                <a:gd name="T6" fmla="*/ 0 w 757"/>
                <a:gd name="T7" fmla="*/ 194737 h 580"/>
                <a:gd name="T8" fmla="*/ 0 w 757"/>
                <a:gd name="T9" fmla="*/ 14452 h 580"/>
                <a:gd name="T10" fmla="*/ 14428 w 757"/>
                <a:gd name="T11" fmla="*/ 0 h 580"/>
                <a:gd name="T12" fmla="*/ 104603 w 757"/>
                <a:gd name="T13" fmla="*/ 0 h 580"/>
                <a:gd name="T14" fmla="*/ 113260 w 757"/>
                <a:gd name="T15" fmla="*/ 5781 h 580"/>
                <a:gd name="T16" fmla="*/ 139591 w 757"/>
                <a:gd name="T17" fmla="*/ 32155 h 580"/>
                <a:gd name="T18" fmla="*/ 258261 w 757"/>
                <a:gd name="T19" fmla="*/ 32155 h 580"/>
                <a:gd name="T20" fmla="*/ 272689 w 757"/>
                <a:gd name="T21" fmla="*/ 46607 h 580"/>
                <a:gd name="T22" fmla="*/ 272689 w 757"/>
                <a:gd name="T23" fmla="*/ 194737 h 580"/>
                <a:gd name="T24" fmla="*/ 258261 w 757"/>
                <a:gd name="T25" fmla="*/ 209189 h 580"/>
                <a:gd name="T26" fmla="*/ 17314 w 757"/>
                <a:gd name="T27" fmla="*/ 191847 h 580"/>
                <a:gd name="T28" fmla="*/ 17314 w 757"/>
                <a:gd name="T29" fmla="*/ 191847 h 580"/>
                <a:gd name="T30" fmla="*/ 255376 w 757"/>
                <a:gd name="T31" fmla="*/ 191847 h 580"/>
                <a:gd name="T32" fmla="*/ 255376 w 757"/>
                <a:gd name="T33" fmla="*/ 49497 h 580"/>
                <a:gd name="T34" fmla="*/ 136705 w 757"/>
                <a:gd name="T35" fmla="*/ 49497 h 580"/>
                <a:gd name="T36" fmla="*/ 127688 w 757"/>
                <a:gd name="T37" fmla="*/ 46607 h 580"/>
                <a:gd name="T38" fmla="*/ 101717 w 757"/>
                <a:gd name="T39" fmla="*/ 17342 h 580"/>
                <a:gd name="T40" fmla="*/ 17314 w 757"/>
                <a:gd name="T41" fmla="*/ 17342 h 580"/>
                <a:gd name="T42" fmla="*/ 17314 w 757"/>
                <a:gd name="T43" fmla="*/ 191847 h 580"/>
                <a:gd name="T44" fmla="*/ 142477 w 757"/>
                <a:gd name="T45" fmla="*/ 35045 h 580"/>
                <a:gd name="T46" fmla="*/ 142477 w 757"/>
                <a:gd name="T47" fmla="*/ 35045 h 580"/>
                <a:gd name="T48" fmla="*/ 104603 w 757"/>
                <a:gd name="T49" fmla="*/ 17342 h 580"/>
                <a:gd name="T50" fmla="*/ 104603 w 757"/>
                <a:gd name="T51" fmla="*/ 17342 h 5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757" h="580">
                  <a:moveTo>
                    <a:pt x="716" y="579"/>
                  </a:moveTo>
                  <a:lnTo>
                    <a:pt x="716" y="579"/>
                  </a:lnTo>
                  <a:cubicBezTo>
                    <a:pt x="40" y="579"/>
                    <a:pt x="40" y="579"/>
                    <a:pt x="40" y="579"/>
                  </a:cubicBezTo>
                  <a:cubicBezTo>
                    <a:pt x="16" y="579"/>
                    <a:pt x="0" y="563"/>
                    <a:pt x="0" y="5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24" y="0"/>
                    <a:pt x="40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8" y="0"/>
                    <a:pt x="306" y="8"/>
                    <a:pt x="314" y="16"/>
                  </a:cubicBezTo>
                  <a:cubicBezTo>
                    <a:pt x="387" y="89"/>
                    <a:pt x="387" y="89"/>
                    <a:pt x="387" y="89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40" y="89"/>
                    <a:pt x="756" y="105"/>
                    <a:pt x="756" y="129"/>
                  </a:cubicBezTo>
                  <a:cubicBezTo>
                    <a:pt x="756" y="539"/>
                    <a:pt x="756" y="539"/>
                    <a:pt x="756" y="539"/>
                  </a:cubicBezTo>
                  <a:cubicBezTo>
                    <a:pt x="756" y="563"/>
                    <a:pt x="740" y="579"/>
                    <a:pt x="716" y="579"/>
                  </a:cubicBezTo>
                  <a:close/>
                  <a:moveTo>
                    <a:pt x="48" y="531"/>
                  </a:moveTo>
                  <a:lnTo>
                    <a:pt x="48" y="531"/>
                  </a:lnTo>
                  <a:cubicBezTo>
                    <a:pt x="708" y="531"/>
                    <a:pt x="708" y="531"/>
                    <a:pt x="708" y="531"/>
                  </a:cubicBezTo>
                  <a:cubicBezTo>
                    <a:pt x="708" y="137"/>
                    <a:pt x="708" y="137"/>
                    <a:pt x="708" y="137"/>
                  </a:cubicBezTo>
                  <a:cubicBezTo>
                    <a:pt x="379" y="137"/>
                    <a:pt x="379" y="137"/>
                    <a:pt x="379" y="137"/>
                  </a:cubicBezTo>
                  <a:cubicBezTo>
                    <a:pt x="370" y="137"/>
                    <a:pt x="362" y="137"/>
                    <a:pt x="354" y="129"/>
                  </a:cubicBezTo>
                  <a:cubicBezTo>
                    <a:pt x="282" y="48"/>
                    <a:pt x="282" y="48"/>
                    <a:pt x="282" y="48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8" y="531"/>
                  </a:lnTo>
                  <a:close/>
                  <a:moveTo>
                    <a:pt x="395" y="97"/>
                  </a:moveTo>
                  <a:lnTo>
                    <a:pt x="395" y="97"/>
                  </a:lnTo>
                  <a:close/>
                  <a:moveTo>
                    <a:pt x="290" y="48"/>
                  </a:moveTo>
                  <a:lnTo>
                    <a:pt x="290" y="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43808"/>
              <a:endParaRPr lang="es-MX" sz="2646">
                <a:solidFill>
                  <a:srgbClr val="989998"/>
                </a:solidFill>
                <a:latin typeface="Calibri" panose="020F0502020204030204"/>
              </a:endParaRPr>
            </a:p>
          </p:txBody>
        </p:sp>
        <p:sp>
          <p:nvSpPr>
            <p:cNvPr id="21" name="Freeform 403">
              <a:extLst>
                <a:ext uri="{FF2B5EF4-FFF2-40B4-BE49-F238E27FC236}">
                  <a16:creationId xmlns:a16="http://schemas.microsoft.com/office/drawing/2014/main" id="{2A1D2BDE-B395-4640-A31E-C716AA13C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9971" y="3218159"/>
              <a:ext cx="223856" cy="28634"/>
            </a:xfrm>
            <a:custGeom>
              <a:avLst/>
              <a:gdLst>
                <a:gd name="T0" fmla="*/ 127496 w 378"/>
                <a:gd name="T1" fmla="*/ 17107 h 49"/>
                <a:gd name="T2" fmla="*/ 127496 w 378"/>
                <a:gd name="T3" fmla="*/ 17107 h 49"/>
                <a:gd name="T4" fmla="*/ 8668 w 378"/>
                <a:gd name="T5" fmla="*/ 17107 h 49"/>
                <a:gd name="T6" fmla="*/ 0 w 378"/>
                <a:gd name="T7" fmla="*/ 8553 h 49"/>
                <a:gd name="T8" fmla="*/ 8668 w 378"/>
                <a:gd name="T9" fmla="*/ 0 h 49"/>
                <a:gd name="T10" fmla="*/ 127496 w 378"/>
                <a:gd name="T11" fmla="*/ 0 h 49"/>
                <a:gd name="T12" fmla="*/ 136164 w 378"/>
                <a:gd name="T13" fmla="*/ 8553 h 49"/>
                <a:gd name="T14" fmla="*/ 127496 w 378"/>
                <a:gd name="T15" fmla="*/ 17107 h 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8" h="49">
                  <a:moveTo>
                    <a:pt x="353" y="48"/>
                  </a:moveTo>
                  <a:lnTo>
                    <a:pt x="353" y="48"/>
                  </a:lnTo>
                  <a:cubicBezTo>
                    <a:pt x="24" y="48"/>
                    <a:pt x="24" y="48"/>
                    <a:pt x="24" y="48"/>
                  </a:cubicBezTo>
                  <a:cubicBezTo>
                    <a:pt x="8" y="48"/>
                    <a:pt x="0" y="40"/>
                    <a:pt x="0" y="24"/>
                  </a:cubicBezTo>
                  <a:cubicBezTo>
                    <a:pt x="0" y="16"/>
                    <a:pt x="8" y="0"/>
                    <a:pt x="24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61" y="0"/>
                    <a:pt x="377" y="16"/>
                    <a:pt x="377" y="24"/>
                  </a:cubicBezTo>
                  <a:cubicBezTo>
                    <a:pt x="377" y="40"/>
                    <a:pt x="361" y="48"/>
                    <a:pt x="353" y="4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1343808"/>
              <a:endParaRPr lang="es-MX" sz="2646">
                <a:solidFill>
                  <a:srgbClr val="989998"/>
                </a:solidFill>
                <a:latin typeface="Calibri" panose="020F0502020204030204"/>
              </a:endParaRPr>
            </a:p>
          </p:txBody>
        </p:sp>
      </p:grp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072E340-3081-4F04-98E1-D621E4AC1FA5}"/>
              </a:ext>
            </a:extLst>
          </p:cNvPr>
          <p:cNvSpPr txBox="1">
            <a:spLocks/>
          </p:cNvSpPr>
          <p:nvPr userDrawn="1"/>
        </p:nvSpPr>
        <p:spPr>
          <a:xfrm>
            <a:off x="978263" y="9389523"/>
            <a:ext cx="16613112" cy="463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006298"/>
                </a:solidFill>
                <a:latin typeface="Petrobras Sans" panose="020B060602020403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90000"/>
              </a:lnSpc>
              <a:spcBef>
                <a:spcPts val="14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352" b="1" i="1" u="none" strike="noStrike" kern="1200" cap="none" spc="0" normalizeH="0" baseline="0" noProof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Escopo do trabalho</a:t>
            </a:r>
          </a:p>
        </p:txBody>
      </p:sp>
    </p:spTree>
    <p:extLst>
      <p:ext uri="{BB962C8B-B14F-4D97-AF65-F5344CB8AC3E}">
        <p14:creationId xmlns:p14="http://schemas.microsoft.com/office/powerpoint/2010/main" val="3607881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CF5D9-F217-4C71-92FD-03353C920994}" type="datetime1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15703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CF618-4E0A-4F99-90E9-37C76011047F}" type="datetime1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1CD44F0-9FF7-4DD3-A027-FBA74C181F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7037" y="101533"/>
            <a:ext cx="16806588" cy="987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378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FB8FE-41C9-4BD9-A4DD-D55E30586255}" type="datetime1">
              <a:rPr lang="pt-BR" smtClean="0"/>
              <a:t>27/11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245351C-6F50-4759-A5C6-0286279C69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7331"/>
            <a:ext cx="17934490" cy="1011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3192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_conteúdo_Marca">
    <p:bg>
      <p:bgPr>
        <a:gradFill flip="none" rotWithShape="1">
          <a:gsLst>
            <a:gs pos="59000">
              <a:srgbClr val="00527F"/>
            </a:gs>
            <a:gs pos="24000">
              <a:srgbClr val="004165"/>
            </a:gs>
            <a:gs pos="100000">
              <a:srgbClr val="006298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7F89DD6-B312-4967-BB06-FC1CEA7496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7824" y="9221658"/>
            <a:ext cx="4050148" cy="536701"/>
          </a:xfrm>
        </p:spPr>
        <p:txBody>
          <a:bodyPr/>
          <a:lstStyle>
            <a:lvl1pPr>
              <a:defRPr sz="2155" b="1">
                <a:latin typeface="Trebuchet"/>
              </a:defRPr>
            </a:lvl1pPr>
          </a:lstStyle>
          <a:p>
            <a:fld id="{94E2741C-B333-40BF-B6C3-70274FEC8EBC}" type="datetime1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18205C6-BA8C-43CE-8F3C-807FB188B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70" y="9306169"/>
            <a:ext cx="4050148" cy="536701"/>
          </a:xfrm>
        </p:spPr>
        <p:txBody>
          <a:bodyPr/>
          <a:lstStyle>
            <a:lvl1pPr>
              <a:defRPr sz="2645">
                <a:solidFill>
                  <a:srgbClr val="FDC82F"/>
                </a:solidFill>
              </a:defRPr>
            </a:lvl1pPr>
          </a:lstStyle>
          <a:p>
            <a:fld id="{913F9905-A5B3-4B5F-8E66-D67CD1BECE2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19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16650614" y="1"/>
            <a:ext cx="1350049" cy="556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81"/>
          </a:p>
        </p:txBody>
      </p:sp>
    </p:spTree>
    <p:extLst>
      <p:ext uri="{BB962C8B-B14F-4D97-AF65-F5344CB8AC3E}">
        <p14:creationId xmlns:p14="http://schemas.microsoft.com/office/powerpoint/2010/main" val="1113229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D185BF-2F80-6AAE-AC26-00743BB3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0083" y="1649770"/>
            <a:ext cx="13500497" cy="3509551"/>
          </a:xfrm>
        </p:spPr>
        <p:txBody>
          <a:bodyPr anchor="b"/>
          <a:lstStyle>
            <a:lvl1pPr algn="ctr"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B514C9D-38B1-E365-FF1D-9C3E87823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0083" y="5294662"/>
            <a:ext cx="13500497" cy="2433817"/>
          </a:xfrm>
        </p:spPr>
        <p:txBody>
          <a:bodyPr/>
          <a:lstStyle>
            <a:lvl1pPr marL="0" indent="0" algn="ctr">
              <a:buNone/>
              <a:defRPr sz="3528"/>
            </a:lvl1pPr>
            <a:lvl2pPr marL="672038" indent="0" algn="ctr">
              <a:buNone/>
              <a:defRPr sz="2940"/>
            </a:lvl2pPr>
            <a:lvl3pPr marL="1344077" indent="0" algn="ctr">
              <a:buNone/>
              <a:defRPr sz="2646"/>
            </a:lvl3pPr>
            <a:lvl4pPr marL="2016115" indent="0" algn="ctr">
              <a:buNone/>
              <a:defRPr sz="2352"/>
            </a:lvl4pPr>
            <a:lvl5pPr marL="2688153" indent="0" algn="ctr">
              <a:buNone/>
              <a:defRPr sz="2352"/>
            </a:lvl5pPr>
            <a:lvl6pPr marL="3360191" indent="0" algn="ctr">
              <a:buNone/>
              <a:defRPr sz="2352"/>
            </a:lvl6pPr>
            <a:lvl7pPr marL="4032230" indent="0" algn="ctr">
              <a:buNone/>
              <a:defRPr sz="2352"/>
            </a:lvl7pPr>
            <a:lvl8pPr marL="4704268" indent="0" algn="ctr">
              <a:buNone/>
              <a:defRPr sz="2352"/>
            </a:lvl8pPr>
            <a:lvl9pPr marL="5376306" indent="0" algn="ctr">
              <a:buNone/>
              <a:defRPr sz="2352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F2285EB-11FF-11FA-61FA-D8F17D30F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BD86676-2DB1-ECD6-EF46-3F213E6FA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13CFC13-0285-EC17-B77C-DF3BE6A66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7625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02AD3E-1F45-DCD0-8518-E67FAF6259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445355"/>
              </p:ext>
            </p:extLst>
          </p:nvPr>
        </p:nvGraphicFramePr>
        <p:xfrm>
          <a:off x="2344" y="2334"/>
          <a:ext cx="2345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54" imgH="354" progId="TCLayout.ActiveDocument.1">
                  <p:embed/>
                </p:oleObj>
              </mc:Choice>
              <mc:Fallback>
                <p:oleObj name="Slide do think-cell" r:id="rId3" imgW="354" imgH="3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2AD3E-1F45-DCD0-8518-E67FAF62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44" y="2334"/>
                        <a:ext cx="2345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9495D54-8B5D-9F03-D2C8-DC4850B05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4704" i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51B081A-913E-FBDC-54B6-B77C7117DE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46"/>
            </a:lvl1pPr>
            <a:lvl2pPr>
              <a:defRPr sz="2646"/>
            </a:lvl2pPr>
            <a:lvl3pPr>
              <a:defRPr sz="2646"/>
            </a:lvl3pPr>
            <a:lvl4pPr>
              <a:defRPr sz="2646"/>
            </a:lvl4pPr>
            <a:lvl5pPr>
              <a:defRPr sz="2646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85310D1-A608-5553-B580-0C57F71C1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57D6A1-AA75-F430-7CBC-F56D2D61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659D9-E85A-94C3-FCA3-DE06912A7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4522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5DEECF-669F-91BA-72F7-4C60AB319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6C29EA-F25F-0A7A-CD41-D638B4733C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7545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406FCBF-E518-1C86-79FA-FD910711D9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836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E8B11F2-8C97-B252-B042-6469D0C3A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DF917B0-3CEC-242F-5CC6-485F4A4FE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E26FCFA-F27A-E0AF-3B1E-027048DF2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00342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scos">
    <p:bg>
      <p:bgPr>
        <a:gradFill flip="none" rotWithShape="1">
          <a:gsLst>
            <a:gs pos="32000">
              <a:srgbClr val="F5F5F5"/>
            </a:gs>
            <a:gs pos="100000">
              <a:schemeClr val="tx1">
                <a:lumMod val="95000"/>
              </a:schemeClr>
            </a:gs>
            <a:gs pos="0">
              <a:schemeClr val="tx1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27D1704-C972-40BF-B24C-455FFE80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A7585D77-C639-4C30-A862-11308E9A588D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0E5EAC-AA64-416F-B843-F6C8F7D38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47EEEA8-D235-4377-86D0-413C0AF16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043" y="283066"/>
            <a:ext cx="2449552" cy="70092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A4AD912-9606-4709-9AF1-BC9A015CD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1100" y="9343247"/>
            <a:ext cx="6075224" cy="53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algn="l" defTabSz="673786"/>
            <a:r>
              <a:rPr lang="pt-BR"/>
              <a:t>AUDITORIA INTERNA - ATI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2377F5F-2121-4B7B-9EF4-224238D91F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F68D063-E7BC-4EFB-9967-FBB91A77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14" name="Straight Connector 16">
            <a:extLst>
              <a:ext uri="{FF2B5EF4-FFF2-40B4-BE49-F238E27FC236}">
                <a16:creationId xmlns:a16="http://schemas.microsoft.com/office/drawing/2014/main" id="{82F0B678-EFD7-4355-8491-77D3B6A6874C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: Rounded Corners 6">
            <a:extLst>
              <a:ext uri="{FF2B5EF4-FFF2-40B4-BE49-F238E27FC236}">
                <a16:creationId xmlns:a16="http://schemas.microsoft.com/office/drawing/2014/main" id="{4B875682-43E6-4698-9E24-3C6031219787}"/>
              </a:ext>
            </a:extLst>
          </p:cNvPr>
          <p:cNvSpPr/>
          <p:nvPr userDrawn="1"/>
        </p:nvSpPr>
        <p:spPr>
          <a:xfrm flipH="1">
            <a:off x="7253229" y="5734551"/>
            <a:ext cx="4552276" cy="3520106"/>
          </a:xfrm>
          <a:prstGeom prst="roundRect">
            <a:avLst>
              <a:gd name="adj" fmla="val 225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3">
            <a:extLst>
              <a:ext uri="{FF2B5EF4-FFF2-40B4-BE49-F238E27FC236}">
                <a16:creationId xmlns:a16="http://schemas.microsoft.com/office/drawing/2014/main" id="{02C8D298-8E20-4C42-9B2E-A978F38B64B4}"/>
              </a:ext>
            </a:extLst>
          </p:cNvPr>
          <p:cNvSpPr/>
          <p:nvPr userDrawn="1"/>
        </p:nvSpPr>
        <p:spPr>
          <a:xfrm flipH="1">
            <a:off x="12484539" y="5672283"/>
            <a:ext cx="4653732" cy="3586339"/>
          </a:xfrm>
          <a:prstGeom prst="roundRect">
            <a:avLst>
              <a:gd name="adj" fmla="val 328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: Rounded Corners 2">
            <a:extLst>
              <a:ext uri="{FF2B5EF4-FFF2-40B4-BE49-F238E27FC236}">
                <a16:creationId xmlns:a16="http://schemas.microsoft.com/office/drawing/2014/main" id="{1B1BB546-5B50-4704-A10F-3FFF08DFC1E3}"/>
              </a:ext>
            </a:extLst>
          </p:cNvPr>
          <p:cNvSpPr/>
          <p:nvPr userDrawn="1"/>
        </p:nvSpPr>
        <p:spPr>
          <a:xfrm flipH="1">
            <a:off x="7175776" y="2528913"/>
            <a:ext cx="9970675" cy="2704155"/>
          </a:xfrm>
          <a:prstGeom prst="roundRect">
            <a:avLst>
              <a:gd name="adj" fmla="val 346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12700" dir="5400000" algn="ctr" rotWithShape="0">
              <a:srgbClr val="000104">
                <a:alpha val="1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00FACE95-955D-43AE-AA85-3C0EBB0625F3}"/>
              </a:ext>
            </a:extLst>
          </p:cNvPr>
          <p:cNvSpPr/>
          <p:nvPr userDrawn="1"/>
        </p:nvSpPr>
        <p:spPr>
          <a:xfrm flipH="1">
            <a:off x="675026" y="2528914"/>
            <a:ext cx="6056712" cy="6729709"/>
          </a:xfrm>
          <a:prstGeom prst="roundRect">
            <a:avLst>
              <a:gd name="adj" fmla="val 178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" dist="12700" dir="2700000" algn="ctr" rotWithShape="0">
              <a:srgbClr val="000104">
                <a:alpha val="1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216B277E-7BBA-4D9B-8085-64F8CD292216}"/>
              </a:ext>
            </a:extLst>
          </p:cNvPr>
          <p:cNvSpPr txBox="1"/>
          <p:nvPr userDrawn="1"/>
        </p:nvSpPr>
        <p:spPr>
          <a:xfrm>
            <a:off x="845772" y="5075489"/>
            <a:ext cx="456151" cy="291413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764" b="1">
                <a:solidFill>
                  <a:srgbClr val="999999"/>
                </a:solidFill>
                <a:latin typeface="Calibri" panose="020F0502020204030204"/>
              </a:rPr>
              <a:t>PROBABILIDADE</a:t>
            </a:r>
            <a:endParaRPr lang="pt-BR" sz="1470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17873CD-53B6-408A-954C-87DA11E6366B}"/>
              </a:ext>
            </a:extLst>
          </p:cNvPr>
          <p:cNvSpPr txBox="1"/>
          <p:nvPr userDrawn="1"/>
        </p:nvSpPr>
        <p:spPr>
          <a:xfrm rot="5400000">
            <a:off x="2804228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BAIX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6B2FB07-62A7-446C-BBC2-66A9B9CEF1EE}"/>
              </a:ext>
            </a:extLst>
          </p:cNvPr>
          <p:cNvSpPr txBox="1"/>
          <p:nvPr userDrawn="1"/>
        </p:nvSpPr>
        <p:spPr>
          <a:xfrm rot="5400000">
            <a:off x="3798279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ÉDI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6B5E66D-5882-4A25-BEDD-6CFF28D51FEF}"/>
              </a:ext>
            </a:extLst>
          </p:cNvPr>
          <p:cNvSpPr txBox="1"/>
          <p:nvPr userDrawn="1"/>
        </p:nvSpPr>
        <p:spPr>
          <a:xfrm rot="5400000">
            <a:off x="4863603" y="3358419"/>
            <a:ext cx="410882" cy="8482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ALT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0E2CB01-3845-4CCA-97C0-EFEC2E0241D2}"/>
              </a:ext>
            </a:extLst>
          </p:cNvPr>
          <p:cNvSpPr txBox="1"/>
          <p:nvPr userDrawn="1"/>
        </p:nvSpPr>
        <p:spPr>
          <a:xfrm rot="5400000">
            <a:off x="5771500" y="3305633"/>
            <a:ext cx="410882" cy="95377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. ALT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96027F1-9C9E-4AF1-98CD-22200F3A0EB7}"/>
              </a:ext>
            </a:extLst>
          </p:cNvPr>
          <p:cNvSpPr txBox="1"/>
          <p:nvPr userDrawn="1"/>
        </p:nvSpPr>
        <p:spPr>
          <a:xfrm rot="5400000">
            <a:off x="1730699" y="3296871"/>
            <a:ext cx="410882" cy="97130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1344077"/>
            <a:r>
              <a:rPr lang="pt-BR" sz="1470" b="1">
                <a:solidFill>
                  <a:srgbClr val="999999"/>
                </a:solidFill>
                <a:latin typeface="Calibri" panose="020F0502020204030204"/>
              </a:rPr>
              <a:t>M. BAIXA</a:t>
            </a:r>
            <a:endParaRPr lang="pt-BR" sz="1029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093BB404-8FAE-4705-B24B-1A75491A31D9}"/>
              </a:ext>
            </a:extLst>
          </p:cNvPr>
          <p:cNvSpPr txBox="1"/>
          <p:nvPr userDrawn="1"/>
        </p:nvSpPr>
        <p:spPr>
          <a:xfrm>
            <a:off x="1346830" y="8047142"/>
            <a:ext cx="3873875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44077"/>
            <a:r>
              <a:rPr lang="pt-BR" sz="1764" b="1">
                <a:solidFill>
                  <a:srgbClr val="999999"/>
                </a:solidFill>
                <a:latin typeface="Calibri" panose="020F0502020204030204"/>
              </a:rPr>
              <a:t>IMPACTO</a:t>
            </a:r>
            <a:endParaRPr lang="pt-BR" sz="1176" b="1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505F0ED0-D0FB-40BC-B7B3-A9CB2E73D3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37608" y="2911319"/>
            <a:ext cx="8054879" cy="498654"/>
          </a:xfrm>
          <a:prstGeom prst="rect">
            <a:avLst/>
          </a:prstGeom>
          <a:noFill/>
          <a:effectLst>
            <a:softEdge rad="25400"/>
          </a:effectLst>
        </p:spPr>
        <p:txBody>
          <a:bodyPr wrap="square" lIns="36000" tIns="36000" rIns="36000" bIns="36000" rtlCol="0" anchor="t">
            <a:spAutoFit/>
          </a:bodyPr>
          <a:lstStyle>
            <a:lvl1pPr>
              <a:defRPr kumimoji="0" lang="pt-BR" sz="2058" b="0" i="0" u="none" strike="noStrike" kern="0" cap="none" spc="0" normalizeH="0" baseline="0" smtClean="0">
                <a:ln>
                  <a:noFill/>
                </a:ln>
                <a:solidFill>
                  <a:srgbClr val="494949">
                    <a:lumMod val="75000"/>
                  </a:srgbClr>
                </a:solidFill>
                <a:effectLst/>
                <a:uLnTx/>
                <a:uFillTx/>
                <a:latin typeface="Trebuchet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R="0" lvl="0" indent="0" defTabSz="134407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s estilos de texto Mestre</a:t>
            </a:r>
          </a:p>
        </p:txBody>
      </p:sp>
      <p:sp>
        <p:nvSpPr>
          <p:cNvPr id="86" name="Espaço Reservado para Texto 2">
            <a:extLst>
              <a:ext uri="{FF2B5EF4-FFF2-40B4-BE49-F238E27FC236}">
                <a16:creationId xmlns:a16="http://schemas.microsoft.com/office/drawing/2014/main" id="{9DC7FA72-1F35-46A6-AB4E-CE78B3977F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452430" y="5661371"/>
            <a:ext cx="3955975" cy="82522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46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43808"/>
            <a:r>
              <a:rPr lang="pt-BR"/>
              <a:t>Clique para editar os estilos de texto Mestre</a:t>
            </a:r>
          </a:p>
        </p:txBody>
      </p:sp>
      <p:sp>
        <p:nvSpPr>
          <p:cNvPr id="87" name="Espaço Reservado para Texto 2">
            <a:extLst>
              <a:ext uri="{FF2B5EF4-FFF2-40B4-BE49-F238E27FC236}">
                <a16:creationId xmlns:a16="http://schemas.microsoft.com/office/drawing/2014/main" id="{3B7A7AD3-38E8-4B30-BA1B-7EDF248DDE9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2736512" y="5661371"/>
            <a:ext cx="3955975" cy="82522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pt-BR" sz="2646" b="1" dirty="0" smtClean="0">
                <a:solidFill>
                  <a:srgbClr val="494949"/>
                </a:solidFill>
                <a:latin typeface="Trebuchet"/>
                <a:ea typeface="Roboto Medium" panose="02000000000000000000" pitchFamily="2" charset="0"/>
                <a:cs typeface="Montserrat" charset="0"/>
              </a:defRPr>
            </a:lvl1pPr>
          </a:lstStyle>
          <a:p>
            <a:pPr lvl="0" algn="ctr" defTabSz="1343808"/>
            <a:r>
              <a:rPr lang="pt-BR"/>
              <a:t>Clique para editar os estilos de texto Mestre</a:t>
            </a:r>
          </a:p>
        </p:txBody>
      </p:sp>
      <p:sp>
        <p:nvSpPr>
          <p:cNvPr id="88" name="Espaço Reservado para Texto 2">
            <a:extLst>
              <a:ext uri="{FF2B5EF4-FFF2-40B4-BE49-F238E27FC236}">
                <a16:creationId xmlns:a16="http://schemas.microsoft.com/office/drawing/2014/main" id="{EAAE459B-64BE-472F-BBCB-B81692926D5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2736512" y="6777986"/>
            <a:ext cx="3955975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64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16387"/>
            <a:r>
              <a:rPr lang="pt-BR"/>
              <a:t>Clique para editar os estilos de texto Mestre</a:t>
            </a:r>
          </a:p>
        </p:txBody>
      </p:sp>
      <p:sp>
        <p:nvSpPr>
          <p:cNvPr id="89" name="Espaço Reservado para Texto 2">
            <a:extLst>
              <a:ext uri="{FF2B5EF4-FFF2-40B4-BE49-F238E27FC236}">
                <a16:creationId xmlns:a16="http://schemas.microsoft.com/office/drawing/2014/main" id="{F565C565-EAE1-4216-BAD6-AD984D4F8B1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452430" y="6737371"/>
            <a:ext cx="3955975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pt-BR" sz="1764" kern="0" dirty="0" smtClean="0">
                <a:solidFill>
                  <a:srgbClr val="3A3F50"/>
                </a:solidFill>
                <a:latin typeface="Trebuchet"/>
              </a:defRPr>
            </a:lvl1pPr>
          </a:lstStyle>
          <a:p>
            <a:pPr lvl="0" defTabSz="1516387"/>
            <a:r>
              <a:rPr lang="pt-BR"/>
              <a:t>Clique para editar os estilos de texto Mestre</a:t>
            </a: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2C617125-8B7B-4A4F-B5E2-6C0E0402910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5510597"/>
              </p:ext>
            </p:extLst>
          </p:nvPr>
        </p:nvGraphicFramePr>
        <p:xfrm>
          <a:off x="1377495" y="3970247"/>
          <a:ext cx="5029770" cy="3959840"/>
        </p:xfrm>
        <a:graphic>
          <a:graphicData uri="http://schemas.openxmlformats.org/drawingml/2006/table">
            <a:tbl>
              <a:tblPr firstRow="1" bandRow="1"/>
              <a:tblGrid>
                <a:gridCol w="1005954">
                  <a:extLst>
                    <a:ext uri="{9D8B030D-6E8A-4147-A177-3AD203B41FA5}">
                      <a16:colId xmlns:a16="http://schemas.microsoft.com/office/drawing/2014/main" val="3535774680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220368540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832398921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439988134"/>
                    </a:ext>
                  </a:extLst>
                </a:gridCol>
                <a:gridCol w="1005954">
                  <a:extLst>
                    <a:ext uri="{9D8B030D-6E8A-4147-A177-3AD203B41FA5}">
                      <a16:colId xmlns:a16="http://schemas.microsoft.com/office/drawing/2014/main" val="1335711226"/>
                    </a:ext>
                  </a:extLst>
                </a:gridCol>
              </a:tblGrid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095737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425353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672481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981036"/>
                  </a:ext>
                </a:extLst>
              </a:tr>
              <a:tr h="791968"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B400">
                        <a:alpha val="7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3299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06596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59895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13192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66493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19790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173088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26387" algn="l" defTabSz="906596" rtl="0" eaLnBrk="1" latinLnBrk="0" hangingPunct="1">
                        <a:defRPr sz="178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2400" b="1"/>
                    </a:p>
                  </a:txBody>
                  <a:tcPr marL="135005" marR="135005" marT="67204" marB="67204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00">
                        <a:alpha val="7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06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349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504BEE-CFDA-C3E4-41AC-CF90998A2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0" y="536701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C77DAF7-55E6-4158-A05B-9E285AD07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9891" y="2471154"/>
            <a:ext cx="7615123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45DF5AA-9B64-17F5-BB14-FD27E34FE1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9891" y="3682228"/>
            <a:ext cx="7615123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7951356-DAA2-64DF-5D0A-D588ACFEA9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12836" y="2471154"/>
            <a:ext cx="7652626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07E04808-B62B-0F66-EB28-298B1D9782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112836" y="3682228"/>
            <a:ext cx="7652626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B854084A-6D80-2EA7-29EF-64BEE9C8E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DA92341-EBF7-5D8E-ED71-2A0D59A67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E30050DA-5BC1-858B-7E12-3DE7ABA84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795550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F09BFB-09BB-BB0E-F420-13ECAC347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DF9DEF9-D995-00EC-1F5C-18D6F5895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4F288E6-5AD8-026C-5B3B-5F497AACF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89AB63-D637-02F6-C383-313D382E9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073559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B133063-71DA-D8B0-9E80-B684BB72C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44D7F79-A110-D252-A5EA-8A88F8F70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AD880AE-9B3E-7FDE-8A76-0AF4169B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460281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FB7D63-A79E-A088-2EE5-02E24C0EE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0DAF68A-9C15-33C8-11A6-A21EACE8A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>
              <a:defRPr sz="4704"/>
            </a:lvl1pPr>
            <a:lvl2pPr>
              <a:defRPr sz="4116"/>
            </a:lvl2pPr>
            <a:lvl3pPr>
              <a:defRPr sz="3528"/>
            </a:lvl3pPr>
            <a:lvl4pPr>
              <a:defRPr sz="2940"/>
            </a:lvl4pPr>
            <a:lvl5pPr>
              <a:defRPr sz="2940"/>
            </a:lvl5pPr>
            <a:lvl6pPr>
              <a:defRPr sz="2940"/>
            </a:lvl6pPr>
            <a:lvl7pPr>
              <a:defRPr sz="2940"/>
            </a:lvl7pPr>
            <a:lvl8pPr>
              <a:defRPr sz="2940"/>
            </a:lvl8pPr>
            <a:lvl9pPr>
              <a:defRPr sz="294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20DC06C-4CB7-F9D4-00A1-7476214DBB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1FB1AC-0316-91DB-3F34-BF0AEDCB5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8E861B2-B029-6A02-BF58-A5A14A081A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C4432B7-1B04-BF12-1040-BBDE92A13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8098472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6D0E18-0163-B313-15EE-66A0DE62A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CE7EFFD-747F-1C0F-3CA4-0673AE66E5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 marL="0" indent="0">
              <a:buNone/>
              <a:defRPr sz="4704"/>
            </a:lvl1pPr>
            <a:lvl2pPr marL="672038" indent="0">
              <a:buNone/>
              <a:defRPr sz="4116"/>
            </a:lvl2pPr>
            <a:lvl3pPr marL="1344077" indent="0">
              <a:buNone/>
              <a:defRPr sz="3528"/>
            </a:lvl3pPr>
            <a:lvl4pPr marL="2016115" indent="0">
              <a:buNone/>
              <a:defRPr sz="2940"/>
            </a:lvl4pPr>
            <a:lvl5pPr marL="2688153" indent="0">
              <a:buNone/>
              <a:defRPr sz="2940"/>
            </a:lvl5pPr>
            <a:lvl6pPr marL="3360191" indent="0">
              <a:buNone/>
              <a:defRPr sz="2940"/>
            </a:lvl6pPr>
            <a:lvl7pPr marL="4032230" indent="0">
              <a:buNone/>
              <a:defRPr sz="2940"/>
            </a:lvl7pPr>
            <a:lvl8pPr marL="4704268" indent="0">
              <a:buNone/>
              <a:defRPr sz="2940"/>
            </a:lvl8pPr>
            <a:lvl9pPr marL="5376306" indent="0">
              <a:buNone/>
              <a:defRPr sz="294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01B4CF1-1BA5-78D2-90CA-9576A3EC9B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22D8881-D84F-447C-FF54-7B191EE30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88BBD90-3BEF-E74F-9F96-6440762BC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B7078F7-0C4B-BA90-F841-54F92E36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4273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053867-418C-003F-60CB-492E0BF26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D7D9275-346A-860A-6473-F9BDB1589A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285CF59-55EB-1710-1270-0EA0CA3A4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2A189E3-8119-B6A1-623D-CFF77EEEB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C1D7F15-E4A0-1AC4-5B87-68D4D92E8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734118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C03FC96-D5C8-1D88-5402-CB5F374800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881724" y="536700"/>
            <a:ext cx="3881393" cy="854286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F34D945-683D-6B69-BFD2-510F1553B9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37545" y="536700"/>
            <a:ext cx="11419171" cy="8542864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E418275-3E2A-C09E-8463-16A795B39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E7B93DC-030F-FCD0-F892-2B830D518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D38C8D9-1952-313F-A1BE-15A0E7D51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84073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29196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77F37848-86BD-0103-FA2A-031798B999C9}"/>
              </a:ext>
            </a:extLst>
          </p:cNvPr>
          <p:cNvSpPr/>
          <p:nvPr userDrawn="1"/>
        </p:nvSpPr>
        <p:spPr>
          <a:xfrm>
            <a:off x="8193406" y="9501279"/>
            <a:ext cx="1582817" cy="448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</p:spTree>
    <p:extLst>
      <p:ext uri="{BB962C8B-B14F-4D97-AF65-F5344CB8AC3E}">
        <p14:creationId xmlns:p14="http://schemas.microsoft.com/office/powerpoint/2010/main" val="137268597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_conteúdo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5775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o_Result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12" y="379535"/>
            <a:ext cx="2930915" cy="845575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8A18C4B2-FD75-4F97-8F51-C272B8A145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533" y="539357"/>
            <a:ext cx="13501089" cy="485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84AFFBBA-7188-436C-A24C-9EDAE35A56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343" y="1196534"/>
            <a:ext cx="13501089" cy="528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kumimoji="0" lang="pt-BR" sz="2646" b="1" i="1" u="none" strike="noStrike" cap="none" spc="0" normalizeH="0" baseline="0">
                <a:ln>
                  <a:noFill/>
                </a:ln>
                <a:solidFill>
                  <a:srgbClr val="006298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Bef>
                <a:spcPts val="147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pt-BR"/>
              <a:t>Clique para editar o estilo do subtítulo Mestre</a:t>
            </a: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A980B7AB-4664-4E0E-9972-B46332BFD374}"/>
              </a:ext>
            </a:extLst>
          </p:cNvPr>
          <p:cNvCxnSpPr>
            <a:cxnSpLocks/>
          </p:cNvCxnSpPr>
          <p:nvPr userDrawn="1"/>
        </p:nvCxnSpPr>
        <p:spPr>
          <a:xfrm flipV="1">
            <a:off x="688173" y="1112622"/>
            <a:ext cx="584667" cy="1"/>
          </a:xfrm>
          <a:prstGeom prst="line">
            <a:avLst/>
          </a:prstGeom>
          <a:ln>
            <a:solidFill>
              <a:srgbClr val="006298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angle 74">
            <a:extLst>
              <a:ext uri="{FF2B5EF4-FFF2-40B4-BE49-F238E27FC236}">
                <a16:creationId xmlns:a16="http://schemas.microsoft.com/office/drawing/2014/main" id="{3838FEA5-FBE7-4E2D-B8A8-1016AE18F6CE}"/>
              </a:ext>
            </a:extLst>
          </p:cNvPr>
          <p:cNvSpPr/>
          <p:nvPr userDrawn="1"/>
        </p:nvSpPr>
        <p:spPr>
          <a:xfrm>
            <a:off x="3755469" y="2550355"/>
            <a:ext cx="14242852" cy="7530271"/>
          </a:xfrm>
          <a:prstGeom prst="rect">
            <a:avLst/>
          </a:prstGeom>
          <a:gradFill>
            <a:gsLst>
              <a:gs pos="100000">
                <a:srgbClr val="2A3A54"/>
              </a:gs>
              <a:gs pos="0">
                <a:srgbClr val="004165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58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3C51927C-01D9-4BEB-9731-DA87ED407D47}"/>
              </a:ext>
            </a:extLst>
          </p:cNvPr>
          <p:cNvSpPr/>
          <p:nvPr userDrawn="1"/>
        </p:nvSpPr>
        <p:spPr>
          <a:xfrm>
            <a:off x="11815281" y="2533498"/>
            <a:ext cx="6183040" cy="1299281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4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6" name="Straight Connector 34">
            <a:extLst>
              <a:ext uri="{FF2B5EF4-FFF2-40B4-BE49-F238E27FC236}">
                <a16:creationId xmlns:a16="http://schemas.microsoft.com/office/drawing/2014/main" id="{1D971FFA-3691-4246-99DA-E4935964AEB8}"/>
              </a:ext>
            </a:extLst>
          </p:cNvPr>
          <p:cNvCxnSpPr>
            <a:cxnSpLocks/>
          </p:cNvCxnSpPr>
          <p:nvPr userDrawn="1"/>
        </p:nvCxnSpPr>
        <p:spPr>
          <a:xfrm>
            <a:off x="5041458" y="3886260"/>
            <a:ext cx="0" cy="5982018"/>
          </a:xfrm>
          <a:prstGeom prst="line">
            <a:avLst/>
          </a:prstGeom>
          <a:noFill/>
          <a:ln w="1016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pic>
        <p:nvPicPr>
          <p:cNvPr id="22" name="Imagem 21" descr="Navio no mar&#10;&#10;Descrição gerada automaticamente com confiança média">
            <a:extLst>
              <a:ext uri="{FF2B5EF4-FFF2-40B4-BE49-F238E27FC236}">
                <a16:creationId xmlns:a16="http://schemas.microsoft.com/office/drawing/2014/main" id="{5A1C2C8F-EE19-4E9C-9F92-69B8FA0D83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4892" y="2550356"/>
            <a:ext cx="5037891" cy="7515271"/>
          </a:xfrm>
          <a:prstGeom prst="rect">
            <a:avLst/>
          </a:prstGeom>
        </p:spPr>
      </p:pic>
      <p:sp>
        <p:nvSpPr>
          <p:cNvPr id="24" name="Espaço Reservado para Conteúdo 2">
            <a:extLst>
              <a:ext uri="{FF2B5EF4-FFF2-40B4-BE49-F238E27FC236}">
                <a16:creationId xmlns:a16="http://schemas.microsoft.com/office/drawing/2014/main" id="{0F4A50CF-897E-4E5A-A3DC-148002FB439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1777256" y="5177834"/>
            <a:ext cx="6183039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5" name="Espaço Reservado para Conteúdo 2">
            <a:extLst>
              <a:ext uri="{FF2B5EF4-FFF2-40B4-BE49-F238E27FC236}">
                <a16:creationId xmlns:a16="http://schemas.microsoft.com/office/drawing/2014/main" id="{F0A763E7-27DC-4C4C-999B-8B8B4E75AC8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1684245" y="7797178"/>
            <a:ext cx="6183039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6" name="Espaço Reservado para Conteúdo 2">
            <a:extLst>
              <a:ext uri="{FF2B5EF4-FFF2-40B4-BE49-F238E27FC236}">
                <a16:creationId xmlns:a16="http://schemas.microsoft.com/office/drawing/2014/main" id="{D49E7FCA-5A9A-4FE1-996C-B7C06082C38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441441" y="4129935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5B05624A-CB0C-48AF-926E-A341B2AA70D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520509" y="6355112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791EE106-3CC3-4CDD-B010-95A19758336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441441" y="8284915"/>
            <a:ext cx="5607173" cy="377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2058" smtClean="0">
                <a:solidFill>
                  <a:srgbClr val="FFFFFF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>
                <a:solidFill>
                  <a:schemeClr val="tx1"/>
                </a:solidFill>
              </a:defRPr>
            </a:lvl2pPr>
            <a:lvl3pPr>
              <a:defRPr lang="pt-BR" sz="1333" smtClean="0">
                <a:solidFill>
                  <a:schemeClr val="tx1"/>
                </a:solidFill>
              </a:defRPr>
            </a:lvl3pPr>
            <a:lvl4pPr>
              <a:defRPr lang="pt-BR" sz="1333" smtClean="0">
                <a:solidFill>
                  <a:schemeClr val="tx1"/>
                </a:solidFill>
              </a:defRPr>
            </a:lvl4pPr>
            <a:lvl5pPr>
              <a:defRPr lang="pt-BR" sz="1333">
                <a:solidFill>
                  <a:schemeClr val="tx1"/>
                </a:solidFill>
              </a:defRPr>
            </a:lvl5pPr>
          </a:lstStyle>
          <a:p>
            <a:pPr marL="0" lvl="0" defTabSz="1343808"/>
            <a:r>
              <a:rPr lang="pt-BR"/>
              <a:t>Clique para editar os estilos de texto Mestres</a:t>
            </a:r>
          </a:p>
        </p:txBody>
      </p:sp>
      <p:sp>
        <p:nvSpPr>
          <p:cNvPr id="29" name="Espaço Reservado para Conteúdo 2">
            <a:extLst>
              <a:ext uri="{FF2B5EF4-FFF2-40B4-BE49-F238E27FC236}">
                <a16:creationId xmlns:a16="http://schemas.microsoft.com/office/drawing/2014/main" id="{6258B816-08DA-4575-9E5E-3450BA17686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643486" y="2678023"/>
            <a:ext cx="560717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28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30" name="Espaço Reservado para Conteúdo 2">
            <a:extLst>
              <a:ext uri="{FF2B5EF4-FFF2-40B4-BE49-F238E27FC236}">
                <a16:creationId xmlns:a16="http://schemas.microsoft.com/office/drawing/2014/main" id="{9A9F0572-273A-41C3-89D3-4F696EAD098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2260112" y="2667533"/>
            <a:ext cx="560717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3528" b="1" dirty="0" smtClean="0">
                <a:solidFill>
                  <a:srgbClr val="FFFFFF"/>
                </a:solidFill>
                <a:latin typeface="+mj-lt"/>
                <a:ea typeface="Lato" panose="020F0502020204030203" pitchFamily="34" charset="0"/>
                <a:cs typeface="Poppins" pitchFamily="2" charset="77"/>
              </a:defRPr>
            </a:lvl1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4785496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952349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899977" y="401906"/>
            <a:ext cx="16198949" cy="1682502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algn="ctr">
              <a:buNone/>
              <a:defRPr/>
            </a:lvl1pPr>
          </a:lstStyle>
          <a:p>
            <a:pPr indent="0" algn="ctr">
              <a:buNone/>
            </a:pPr>
            <a:endParaRPr lang="en-US" sz="7821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899977" y="2358319"/>
            <a:ext cx="16198949" cy="5845556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algn="ctr">
              <a:buNone/>
              <a:defRPr/>
            </a:lvl1pPr>
          </a:lstStyle>
          <a:p>
            <a:pPr indent="0" algn="ctr">
              <a:buNone/>
            </a:pPr>
            <a:endParaRPr lang="en-US" sz="5689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2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E6AF0FC-CBDC-4C45-A0F1-AEA011496BB5}" type="slidenum">
              <a:t>‹nº›</a:t>
            </a:fld>
            <a:endParaRPr/>
          </a:p>
        </p:txBody>
      </p:sp>
      <p:sp>
        <p:nvSpPr>
          <p:cNvPr id="3" name="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584762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--">
  <p:cSld name="--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387653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69" y="1"/>
            <a:ext cx="17996495" cy="1008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00674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CORR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18000663" cy="10080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0"/>
          </p:nvPr>
        </p:nvSpPr>
        <p:spPr>
          <a:xfrm>
            <a:off x="230324" y="247349"/>
            <a:ext cx="17540016" cy="600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34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230324" y="692189"/>
            <a:ext cx="17540016" cy="4958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52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402298619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18000663" cy="10080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0"/>
          </p:nvPr>
        </p:nvSpPr>
        <p:spPr>
          <a:xfrm>
            <a:off x="230324" y="247349"/>
            <a:ext cx="17540016" cy="600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528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230324" y="809061"/>
            <a:ext cx="17540016" cy="4958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52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37530639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D185BF-2F80-6AAE-AC26-00743BB3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0083" y="1649770"/>
            <a:ext cx="13500497" cy="3509551"/>
          </a:xfrm>
        </p:spPr>
        <p:txBody>
          <a:bodyPr anchor="b"/>
          <a:lstStyle>
            <a:lvl1pPr algn="ctr">
              <a:defRPr sz="881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B514C9D-38B1-E365-FF1D-9C3E87823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0083" y="5294662"/>
            <a:ext cx="13500497" cy="2433817"/>
          </a:xfrm>
        </p:spPr>
        <p:txBody>
          <a:bodyPr/>
          <a:lstStyle>
            <a:lvl1pPr marL="0" indent="0" algn="ctr">
              <a:buNone/>
              <a:defRPr sz="3528"/>
            </a:lvl1pPr>
            <a:lvl2pPr marL="672038" indent="0" algn="ctr">
              <a:buNone/>
              <a:defRPr sz="2940"/>
            </a:lvl2pPr>
            <a:lvl3pPr marL="1344077" indent="0" algn="ctr">
              <a:buNone/>
              <a:defRPr sz="2646"/>
            </a:lvl3pPr>
            <a:lvl4pPr marL="2016115" indent="0" algn="ctr">
              <a:buNone/>
              <a:defRPr sz="2352"/>
            </a:lvl4pPr>
            <a:lvl5pPr marL="2688153" indent="0" algn="ctr">
              <a:buNone/>
              <a:defRPr sz="2352"/>
            </a:lvl5pPr>
            <a:lvl6pPr marL="3360191" indent="0" algn="ctr">
              <a:buNone/>
              <a:defRPr sz="2352"/>
            </a:lvl6pPr>
            <a:lvl7pPr marL="4032230" indent="0" algn="ctr">
              <a:buNone/>
              <a:defRPr sz="2352"/>
            </a:lvl7pPr>
            <a:lvl8pPr marL="4704268" indent="0" algn="ctr">
              <a:buNone/>
              <a:defRPr sz="2352"/>
            </a:lvl8pPr>
            <a:lvl9pPr marL="5376306" indent="0" algn="ctr">
              <a:buNone/>
              <a:defRPr sz="2352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F2285EB-11FF-11FA-61FA-D8F17D30F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BD86676-2DB1-ECD6-EF46-3F213E6FA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13CFC13-0285-EC17-B77C-DF3BE6A66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2801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02AD3E-1F45-DCD0-8518-E67FAF6259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445355"/>
              </p:ext>
            </p:extLst>
          </p:nvPr>
        </p:nvGraphicFramePr>
        <p:xfrm>
          <a:off x="2344" y="2334"/>
          <a:ext cx="2345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54" imgH="354" progId="TCLayout.ActiveDocument.1">
                  <p:embed/>
                </p:oleObj>
              </mc:Choice>
              <mc:Fallback>
                <p:oleObj name="Slide do think-cell" r:id="rId3" imgW="354" imgH="3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2AD3E-1F45-DCD0-8518-E67FAF62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44" y="2334"/>
                        <a:ext cx="2345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9495D54-8B5D-9F03-D2C8-DC4850B05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4704" i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51B081A-913E-FBDC-54B6-B77C7117DE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46"/>
            </a:lvl1pPr>
            <a:lvl2pPr>
              <a:defRPr sz="2646"/>
            </a:lvl2pPr>
            <a:lvl3pPr>
              <a:defRPr sz="2646"/>
            </a:lvl3pPr>
            <a:lvl4pPr>
              <a:defRPr sz="2646"/>
            </a:lvl4pPr>
            <a:lvl5pPr>
              <a:defRPr sz="2646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85310D1-A608-5553-B580-0C57F71C1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57D6A1-AA75-F430-7CBC-F56D2D61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659D9-E85A-94C3-FCA3-DE06912A7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99362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5DEECF-669F-91BA-72F7-4C60AB319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6C29EA-F25F-0A7A-CD41-D638B4733C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7545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406FCBF-E518-1C86-79FA-FD910711D9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836" y="2683500"/>
            <a:ext cx="7650282" cy="63960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E8B11F2-8C97-B252-B042-6469D0C3A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DF917B0-3CEC-242F-5CC6-485F4A4FE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E26FCFA-F27A-E0AF-3B1E-027048DF2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06481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504BEE-CFDA-C3E4-41AC-CF90998A2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0" y="536701"/>
            <a:ext cx="15525572" cy="194845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C77DAF7-55E6-4158-A05B-9E285AD07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9891" y="2471154"/>
            <a:ext cx="7615123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45DF5AA-9B64-17F5-BB14-FD27E34FE1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9891" y="3682228"/>
            <a:ext cx="7615123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7951356-DAA2-64DF-5D0A-D588ACFEA9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12836" y="2471154"/>
            <a:ext cx="7652626" cy="1211074"/>
          </a:xfrm>
        </p:spPr>
        <p:txBody>
          <a:bodyPr anchor="b"/>
          <a:lstStyle>
            <a:lvl1pPr marL="0" indent="0">
              <a:buNone/>
              <a:defRPr sz="3528" b="1"/>
            </a:lvl1pPr>
            <a:lvl2pPr marL="672038" indent="0">
              <a:buNone/>
              <a:defRPr sz="2940" b="1"/>
            </a:lvl2pPr>
            <a:lvl3pPr marL="1344077" indent="0">
              <a:buNone/>
              <a:defRPr sz="2646" b="1"/>
            </a:lvl3pPr>
            <a:lvl4pPr marL="2016115" indent="0">
              <a:buNone/>
              <a:defRPr sz="2352" b="1"/>
            </a:lvl4pPr>
            <a:lvl5pPr marL="2688153" indent="0">
              <a:buNone/>
              <a:defRPr sz="2352" b="1"/>
            </a:lvl5pPr>
            <a:lvl6pPr marL="3360191" indent="0">
              <a:buNone/>
              <a:defRPr sz="2352" b="1"/>
            </a:lvl6pPr>
            <a:lvl7pPr marL="4032230" indent="0">
              <a:buNone/>
              <a:defRPr sz="2352" b="1"/>
            </a:lvl7pPr>
            <a:lvl8pPr marL="4704268" indent="0">
              <a:buNone/>
              <a:defRPr sz="2352" b="1"/>
            </a:lvl8pPr>
            <a:lvl9pPr marL="5376306" indent="0">
              <a:buNone/>
              <a:defRPr sz="2352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07E04808-B62B-0F66-EB28-298B1D9782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112836" y="3682228"/>
            <a:ext cx="7652626" cy="54160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B854084A-6D80-2EA7-29EF-64BEE9C8E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DA92341-EBF7-5D8E-ED71-2A0D59A67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E30050DA-5BC1-858B-7E12-3DE7ABA84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76089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30C1B2-A21E-4C5A-97D0-5B7E62F7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AB8822A-E0EF-40DD-94E6-5D5381F7D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7" name="Título 1">
            <a:extLst>
              <a:ext uri="{FF2B5EF4-FFF2-40B4-BE49-F238E27FC236}">
                <a16:creationId xmlns:a16="http://schemas.microsoft.com/office/drawing/2014/main" id="{8E7C3A4A-C904-408B-AF80-CF448F4D71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679" y="4497047"/>
            <a:ext cx="4185649" cy="1037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pt-BR" sz="3822" b="1" i="1" u="none" strike="noStrike" cap="none" spc="0" normalizeH="0" baseline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/>
              </a:defRPr>
            </a:lvl1pPr>
          </a:lstStyle>
          <a:p>
            <a:pPr marL="0" marR="0" lvl="0" indent="0" defTabSz="1344077" fontAlgn="auto">
              <a:spcAft>
                <a:spcPts val="0"/>
              </a:spcAft>
              <a:buClrTx/>
              <a:buSzTx/>
              <a:buFontTx/>
              <a:tabLst/>
            </a:pPr>
            <a:r>
              <a:rPr lang="pt-BR"/>
              <a:t>Clique para editar o título Mestre</a:t>
            </a:r>
          </a:p>
        </p:txBody>
      </p:sp>
      <p:grpSp>
        <p:nvGrpSpPr>
          <p:cNvPr id="364" name="Grupo 3">
            <a:extLst>
              <a:ext uri="{FF2B5EF4-FFF2-40B4-BE49-F238E27FC236}">
                <a16:creationId xmlns:a16="http://schemas.microsoft.com/office/drawing/2014/main" id="{9A07BDD1-D780-406C-A592-6BBC559413A3}"/>
              </a:ext>
            </a:extLst>
          </p:cNvPr>
          <p:cNvGrpSpPr/>
          <p:nvPr userDrawn="1"/>
        </p:nvGrpSpPr>
        <p:grpSpPr>
          <a:xfrm>
            <a:off x="6636057" y="402969"/>
            <a:ext cx="9793421" cy="9274687"/>
            <a:chOff x="8986138" y="548292"/>
            <a:chExt cx="13266332" cy="12619416"/>
          </a:xfrm>
        </p:grpSpPr>
        <p:sp>
          <p:nvSpPr>
            <p:cNvPr id="365" name="Freeform 548">
              <a:extLst>
                <a:ext uri="{FF2B5EF4-FFF2-40B4-BE49-F238E27FC236}">
                  <a16:creationId xmlns:a16="http://schemas.microsoft.com/office/drawing/2014/main" id="{639784E3-C209-42C6-AE65-D10D16C9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549">
              <a:extLst>
                <a:ext uri="{FF2B5EF4-FFF2-40B4-BE49-F238E27FC236}">
                  <a16:creationId xmlns:a16="http://schemas.microsoft.com/office/drawing/2014/main" id="{7BD114B7-F88B-4800-AD84-30715077D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508000" cap="flat">
              <a:solidFill>
                <a:srgbClr val="353E4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7" name="Grupo 1277">
            <a:extLst>
              <a:ext uri="{FF2B5EF4-FFF2-40B4-BE49-F238E27FC236}">
                <a16:creationId xmlns:a16="http://schemas.microsoft.com/office/drawing/2014/main" id="{BA5647BA-7E8E-4DE3-AEAB-BFB8BE81CDB6}"/>
              </a:ext>
            </a:extLst>
          </p:cNvPr>
          <p:cNvGrpSpPr/>
          <p:nvPr userDrawn="1"/>
        </p:nvGrpSpPr>
        <p:grpSpPr>
          <a:xfrm>
            <a:off x="6623122" y="396272"/>
            <a:ext cx="9793421" cy="9274687"/>
            <a:chOff x="8986138" y="548292"/>
            <a:chExt cx="13266332" cy="12619416"/>
          </a:xfrm>
        </p:grpSpPr>
        <p:sp>
          <p:nvSpPr>
            <p:cNvPr id="368" name="Freeform 548">
              <a:extLst>
                <a:ext uri="{FF2B5EF4-FFF2-40B4-BE49-F238E27FC236}">
                  <a16:creationId xmlns:a16="http://schemas.microsoft.com/office/drawing/2014/main" id="{FF104208-347D-4C51-B785-58E8F84B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548292"/>
              <a:ext cx="13266332" cy="5781240"/>
            </a:xfrm>
            <a:custGeom>
              <a:avLst/>
              <a:gdLst>
                <a:gd name="T0" fmla="*/ 2642577 w 12842"/>
                <a:gd name="T1" fmla="*/ 2014177 h 5594"/>
                <a:gd name="T2" fmla="*/ 2642577 w 12842"/>
                <a:gd name="T3" fmla="*/ 2014177 h 5594"/>
                <a:gd name="T4" fmla="*/ 614117 w 12842"/>
                <a:gd name="T5" fmla="*/ 2014177 h 5594"/>
                <a:gd name="T6" fmla="*/ 0 w 12842"/>
                <a:gd name="T7" fmla="*/ 1399804 h 5594"/>
                <a:gd name="T8" fmla="*/ 0 w 12842"/>
                <a:gd name="T9" fmla="*/ 1399804 h 5594"/>
                <a:gd name="T10" fmla="*/ 614117 w 12842"/>
                <a:gd name="T11" fmla="*/ 785432 h 5594"/>
                <a:gd name="T12" fmla="*/ 4008323 w 12842"/>
                <a:gd name="T13" fmla="*/ 785432 h 5594"/>
                <a:gd name="T14" fmla="*/ 4622440 w 12842"/>
                <a:gd name="T15" fmla="*/ 168178 h 5594"/>
                <a:gd name="T16" fmla="*/ 4622440 w 12842"/>
                <a:gd name="T17" fmla="*/ 0 h 55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5594">
                  <a:moveTo>
                    <a:pt x="7341" y="5593"/>
                  </a:moveTo>
                  <a:lnTo>
                    <a:pt x="7341" y="5593"/>
                  </a:lnTo>
                  <a:cubicBezTo>
                    <a:pt x="1706" y="5593"/>
                    <a:pt x="1706" y="5593"/>
                    <a:pt x="1706" y="5593"/>
                  </a:cubicBezTo>
                  <a:cubicBezTo>
                    <a:pt x="764" y="5593"/>
                    <a:pt x="0" y="4829"/>
                    <a:pt x="0" y="3887"/>
                  </a:cubicBezTo>
                  <a:cubicBezTo>
                    <a:pt x="0" y="2945"/>
                    <a:pt x="764" y="2181"/>
                    <a:pt x="1706" y="2181"/>
                  </a:cubicBezTo>
                  <a:cubicBezTo>
                    <a:pt x="11135" y="2181"/>
                    <a:pt x="11135" y="2181"/>
                    <a:pt x="11135" y="2181"/>
                  </a:cubicBezTo>
                  <a:cubicBezTo>
                    <a:pt x="12077" y="2181"/>
                    <a:pt x="12841" y="1409"/>
                    <a:pt x="12841" y="467"/>
                  </a:cubicBezTo>
                  <a:cubicBezTo>
                    <a:pt x="12841" y="0"/>
                    <a:pt x="12841" y="0"/>
                    <a:pt x="12841" y="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549">
              <a:extLst>
                <a:ext uri="{FF2B5EF4-FFF2-40B4-BE49-F238E27FC236}">
                  <a16:creationId xmlns:a16="http://schemas.microsoft.com/office/drawing/2014/main" id="{1D3C6BE9-D1EA-4485-BB06-6C324300D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6138" y="6329532"/>
              <a:ext cx="13266332" cy="6838176"/>
            </a:xfrm>
            <a:custGeom>
              <a:avLst/>
              <a:gdLst>
                <a:gd name="T0" fmla="*/ 1347027 w 12842"/>
                <a:gd name="T1" fmla="*/ 0 h 6620"/>
                <a:gd name="T2" fmla="*/ 1347027 w 12842"/>
                <a:gd name="T3" fmla="*/ 0 h 6620"/>
                <a:gd name="T4" fmla="*/ 4008323 w 12842"/>
                <a:gd name="T5" fmla="*/ 0 h 6620"/>
                <a:gd name="T6" fmla="*/ 4622440 w 12842"/>
                <a:gd name="T7" fmla="*/ 613707 h 6620"/>
                <a:gd name="T8" fmla="*/ 4622440 w 12842"/>
                <a:gd name="T9" fmla="*/ 613707 h 6620"/>
                <a:gd name="T10" fmla="*/ 4008323 w 12842"/>
                <a:gd name="T11" fmla="*/ 1230653 h 6620"/>
                <a:gd name="T12" fmla="*/ 614117 w 12842"/>
                <a:gd name="T13" fmla="*/ 1230653 h 6620"/>
                <a:gd name="T14" fmla="*/ 0 w 12842"/>
                <a:gd name="T15" fmla="*/ 1844720 h 6620"/>
                <a:gd name="T16" fmla="*/ 0 w 12842"/>
                <a:gd name="T17" fmla="*/ 2382478 h 66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842" h="6620">
                  <a:moveTo>
                    <a:pt x="3742" y="0"/>
                  </a:moveTo>
                  <a:lnTo>
                    <a:pt x="3742" y="0"/>
                  </a:lnTo>
                  <a:cubicBezTo>
                    <a:pt x="11135" y="0"/>
                    <a:pt x="11135" y="0"/>
                    <a:pt x="11135" y="0"/>
                  </a:cubicBezTo>
                  <a:cubicBezTo>
                    <a:pt x="12077" y="0"/>
                    <a:pt x="12841" y="763"/>
                    <a:pt x="12841" y="1705"/>
                  </a:cubicBezTo>
                  <a:cubicBezTo>
                    <a:pt x="12841" y="2655"/>
                    <a:pt x="12077" y="3419"/>
                    <a:pt x="11135" y="3419"/>
                  </a:cubicBezTo>
                  <a:cubicBezTo>
                    <a:pt x="1706" y="3419"/>
                    <a:pt x="1706" y="3419"/>
                    <a:pt x="1706" y="3419"/>
                  </a:cubicBezTo>
                  <a:cubicBezTo>
                    <a:pt x="764" y="3419"/>
                    <a:pt x="0" y="4183"/>
                    <a:pt x="0" y="5125"/>
                  </a:cubicBezTo>
                  <a:cubicBezTo>
                    <a:pt x="0" y="6619"/>
                    <a:pt x="0" y="6619"/>
                    <a:pt x="0" y="6619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0" name="Line 565">
            <a:extLst>
              <a:ext uri="{FF2B5EF4-FFF2-40B4-BE49-F238E27FC236}">
                <a16:creationId xmlns:a16="http://schemas.microsoft.com/office/drawing/2014/main" id="{3C649AD0-6946-4391-9012-15357E63F4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9020512" y="4651914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1" name="Line 566">
            <a:extLst>
              <a:ext uri="{FF2B5EF4-FFF2-40B4-BE49-F238E27FC236}">
                <a16:creationId xmlns:a16="http://schemas.microsoft.com/office/drawing/2014/main" id="{1A7BABB7-E3A3-40A7-9781-49AF93CFB02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815362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2" name="Line 567">
            <a:extLst>
              <a:ext uri="{FF2B5EF4-FFF2-40B4-BE49-F238E27FC236}">
                <a16:creationId xmlns:a16="http://schemas.microsoft.com/office/drawing/2014/main" id="{C5E3353C-045A-4B77-8377-76C61713671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606848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3" name="Line 568">
            <a:extLst>
              <a:ext uri="{FF2B5EF4-FFF2-40B4-BE49-F238E27FC236}">
                <a16:creationId xmlns:a16="http://schemas.microsoft.com/office/drawing/2014/main" id="{4C2AA826-29CD-435B-99DA-7EDB936A81EB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398335" y="4651914"/>
            <a:ext cx="110982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4" name="Line 569">
            <a:extLst>
              <a:ext uri="{FF2B5EF4-FFF2-40B4-BE49-F238E27FC236}">
                <a16:creationId xmlns:a16="http://schemas.microsoft.com/office/drawing/2014/main" id="{74BBF0BE-118D-41A2-8C56-826ED304A3DE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3183" y="4651914"/>
            <a:ext cx="110985" cy="3350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5" name="Line 704">
            <a:extLst>
              <a:ext uri="{FF2B5EF4-FFF2-40B4-BE49-F238E27FC236}">
                <a16:creationId xmlns:a16="http://schemas.microsoft.com/office/drawing/2014/main" id="{E5FBC4F7-0625-4E76-8671-0D0D71815F1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926252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6" name="Line 705">
            <a:extLst>
              <a:ext uri="{FF2B5EF4-FFF2-40B4-BE49-F238E27FC236}">
                <a16:creationId xmlns:a16="http://schemas.microsoft.com/office/drawing/2014/main" id="{A03D99AD-E15A-4EA2-ADC7-8A1EDEB0F1E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721102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7" name="Line 706">
            <a:extLst>
              <a:ext uri="{FF2B5EF4-FFF2-40B4-BE49-F238E27FC236}">
                <a16:creationId xmlns:a16="http://schemas.microsoft.com/office/drawing/2014/main" id="{C07BA8E1-2DA1-4B4D-8C2D-644EB523F65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12588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8" name="Line 707">
            <a:extLst>
              <a:ext uri="{FF2B5EF4-FFF2-40B4-BE49-F238E27FC236}">
                <a16:creationId xmlns:a16="http://schemas.microsoft.com/office/drawing/2014/main" id="{8ED9AB92-3524-43A8-896D-74C9BC0B324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304075" y="7246819"/>
            <a:ext cx="110982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79" name="Line 708">
            <a:extLst>
              <a:ext uri="{FF2B5EF4-FFF2-40B4-BE49-F238E27FC236}">
                <a16:creationId xmlns:a16="http://schemas.microsoft.com/office/drawing/2014/main" id="{07741A84-29A4-4A17-A1A0-C69AA34AEFA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098923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0" name="Line 722">
            <a:extLst>
              <a:ext uri="{FF2B5EF4-FFF2-40B4-BE49-F238E27FC236}">
                <a16:creationId xmlns:a16="http://schemas.microsoft.com/office/drawing/2014/main" id="{7B4C4713-35BF-47A6-8D62-14ED1D6D7E36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8199909" y="7246819"/>
            <a:ext cx="110985" cy="3347"/>
          </a:xfrm>
          <a:prstGeom prst="line">
            <a:avLst/>
          </a:prstGeom>
          <a:noFill/>
          <a:ln w="9360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1" name="Freeform 742">
            <a:extLst>
              <a:ext uri="{FF2B5EF4-FFF2-40B4-BE49-F238E27FC236}">
                <a16:creationId xmlns:a16="http://schemas.microsoft.com/office/drawing/2014/main" id="{24D9E696-303F-44F8-B934-9B1E1D82F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1461021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09750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09750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17"/>
                  <a:pt x="1579" y="1417"/>
                  <a:pt x="1579" y="1417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2" name="Freeform 743">
            <a:extLst>
              <a:ext uri="{FF2B5EF4-FFF2-40B4-BE49-F238E27FC236}">
                <a16:creationId xmlns:a16="http://schemas.microsoft.com/office/drawing/2014/main" id="{3C4D5722-13C6-423F-8FD9-C65076615A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900407" y="1461021"/>
            <a:ext cx="1197273" cy="1191982"/>
          </a:xfrm>
          <a:custGeom>
            <a:avLst/>
            <a:gdLst>
              <a:gd name="T0" fmla="*/ 512988 w 1571"/>
              <a:gd name="T1" fmla="*/ 564790 h 1571"/>
              <a:gd name="T2" fmla="*/ 512988 w 1571"/>
              <a:gd name="T3" fmla="*/ 564790 h 1571"/>
              <a:gd name="T4" fmla="*/ 55040 w 1571"/>
              <a:gd name="T5" fmla="*/ 564790 h 1571"/>
              <a:gd name="T6" fmla="*/ 0 w 1571"/>
              <a:gd name="T7" fmla="*/ 509750 h 1571"/>
              <a:gd name="T8" fmla="*/ 0 w 1571"/>
              <a:gd name="T9" fmla="*/ 55040 h 1571"/>
              <a:gd name="T10" fmla="*/ 55040 w 1571"/>
              <a:gd name="T11" fmla="*/ 0 h 1571"/>
              <a:gd name="T12" fmla="*/ 512988 w 1571"/>
              <a:gd name="T13" fmla="*/ 0 h 1571"/>
              <a:gd name="T14" fmla="*/ 564790 w 1571"/>
              <a:gd name="T15" fmla="*/ 55040 h 1571"/>
              <a:gd name="T16" fmla="*/ 564790 w 1571"/>
              <a:gd name="T17" fmla="*/ 509750 h 1571"/>
              <a:gd name="T18" fmla="*/ 512988 w 1571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1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8"/>
                  <a:pt x="1570" y="153"/>
                </a:cubicBezTo>
                <a:cubicBezTo>
                  <a:pt x="1570" y="1417"/>
                  <a:pt x="1570" y="1417"/>
                  <a:pt x="1570" y="1417"/>
                </a:cubicBezTo>
                <a:cubicBezTo>
                  <a:pt x="1570" y="1502"/>
                  <a:pt x="1511" y="1570"/>
                  <a:pt x="1426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6215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3" name="Freeform 744">
            <a:extLst>
              <a:ext uri="{FF2B5EF4-FFF2-40B4-BE49-F238E27FC236}">
                <a16:creationId xmlns:a16="http://schemas.microsoft.com/office/drawing/2014/main" id="{5E95C423-2B0F-4CC9-96D6-1305215EF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48569" y="4052576"/>
            <a:ext cx="1197273" cy="1198679"/>
          </a:xfrm>
          <a:custGeom>
            <a:avLst/>
            <a:gdLst>
              <a:gd name="T0" fmla="*/ 510075 w 1570"/>
              <a:gd name="T1" fmla="*/ 567965 h 1578"/>
              <a:gd name="T2" fmla="*/ 510075 w 1570"/>
              <a:gd name="T3" fmla="*/ 567965 h 1578"/>
              <a:gd name="T4" fmla="*/ 52195 w 1570"/>
              <a:gd name="T5" fmla="*/ 567965 h 1578"/>
              <a:gd name="T6" fmla="*/ 0 w 1570"/>
              <a:gd name="T7" fmla="*/ 512861 h 1578"/>
              <a:gd name="T8" fmla="*/ 0 w 1570"/>
              <a:gd name="T9" fmla="*/ 54744 h 1578"/>
              <a:gd name="T10" fmla="*/ 52195 w 1570"/>
              <a:gd name="T11" fmla="*/ 0 h 1578"/>
              <a:gd name="T12" fmla="*/ 510075 w 1570"/>
              <a:gd name="T13" fmla="*/ 0 h 1578"/>
              <a:gd name="T14" fmla="*/ 564790 w 1570"/>
              <a:gd name="T15" fmla="*/ 54744 h 1578"/>
              <a:gd name="T16" fmla="*/ 564790 w 1570"/>
              <a:gd name="T17" fmla="*/ 512861 h 1578"/>
              <a:gd name="T18" fmla="*/ 510075 w 157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8">
                <a:moveTo>
                  <a:pt x="1417" y="1577"/>
                </a:moveTo>
                <a:lnTo>
                  <a:pt x="1417" y="1577"/>
                </a:lnTo>
                <a:cubicBezTo>
                  <a:pt x="145" y="1577"/>
                  <a:pt x="145" y="1577"/>
                  <a:pt x="145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7"/>
                  <a:pt x="1569" y="152"/>
                </a:cubicBezTo>
                <a:cubicBezTo>
                  <a:pt x="1569" y="1424"/>
                  <a:pt x="1569" y="1424"/>
                  <a:pt x="1569" y="1424"/>
                </a:cubicBezTo>
                <a:cubicBezTo>
                  <a:pt x="1569" y="1509"/>
                  <a:pt x="1502" y="1577"/>
                  <a:pt x="1417" y="1577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6298"/>
            </a:solidFill>
            <a:prstDash val="solid"/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4" name="Freeform 745">
            <a:extLst>
              <a:ext uri="{FF2B5EF4-FFF2-40B4-BE49-F238E27FC236}">
                <a16:creationId xmlns:a16="http://schemas.microsoft.com/office/drawing/2014/main" id="{43615B0E-E93C-4E5A-9A90-A6A13900D3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4052576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4F5B7C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85" name="Freeform 748">
            <a:extLst>
              <a:ext uri="{FF2B5EF4-FFF2-40B4-BE49-F238E27FC236}">
                <a16:creationId xmlns:a16="http://schemas.microsoft.com/office/drawing/2014/main" id="{4A18BC58-BD57-46EC-A547-B576665384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18208" y="6647479"/>
            <a:ext cx="1204000" cy="1191982"/>
          </a:xfrm>
          <a:custGeom>
            <a:avLst/>
            <a:gdLst>
              <a:gd name="T0" fmla="*/ 512931 w 1580"/>
              <a:gd name="T1" fmla="*/ 564790 h 1571"/>
              <a:gd name="T2" fmla="*/ 512931 w 1580"/>
              <a:gd name="T3" fmla="*/ 564790 h 1571"/>
              <a:gd name="T4" fmla="*/ 55034 w 1580"/>
              <a:gd name="T5" fmla="*/ 564790 h 1571"/>
              <a:gd name="T6" fmla="*/ 0 w 1580"/>
              <a:gd name="T7" fmla="*/ 512988 h 1571"/>
              <a:gd name="T8" fmla="*/ 0 w 1580"/>
              <a:gd name="T9" fmla="*/ 55040 h 1571"/>
              <a:gd name="T10" fmla="*/ 55034 w 1580"/>
              <a:gd name="T11" fmla="*/ 0 h 1571"/>
              <a:gd name="T12" fmla="*/ 512931 w 1580"/>
              <a:gd name="T13" fmla="*/ 0 h 1571"/>
              <a:gd name="T14" fmla="*/ 567965 w 1580"/>
              <a:gd name="T15" fmla="*/ 55040 h 1571"/>
              <a:gd name="T16" fmla="*/ 567965 w 1580"/>
              <a:gd name="T17" fmla="*/ 512988 h 1571"/>
              <a:gd name="T18" fmla="*/ 512931 w 158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1">
                <a:moveTo>
                  <a:pt x="1426" y="1570"/>
                </a:moveTo>
                <a:lnTo>
                  <a:pt x="1426" y="1570"/>
                </a:lnTo>
                <a:cubicBezTo>
                  <a:pt x="153" y="1570"/>
                  <a:pt x="153" y="1570"/>
                  <a:pt x="153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8"/>
                  <a:pt x="1579" y="153"/>
                </a:cubicBezTo>
                <a:cubicBezTo>
                  <a:pt x="1579" y="1426"/>
                  <a:pt x="1579" y="1426"/>
                  <a:pt x="1579" y="1426"/>
                </a:cubicBezTo>
                <a:cubicBezTo>
                  <a:pt x="1579" y="1502"/>
                  <a:pt x="1511" y="1570"/>
                  <a:pt x="1426" y="1570"/>
                </a:cubicBezTo>
              </a:path>
            </a:pathLst>
          </a:custGeom>
          <a:solidFill>
            <a:schemeClr val="bg1"/>
          </a:solidFill>
          <a:ln w="38100" cap="flat">
            <a:solidFill>
              <a:srgbClr val="004165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grpSp>
        <p:nvGrpSpPr>
          <p:cNvPr id="386" name="Agrupar 385">
            <a:extLst>
              <a:ext uri="{FF2B5EF4-FFF2-40B4-BE49-F238E27FC236}">
                <a16:creationId xmlns:a16="http://schemas.microsoft.com/office/drawing/2014/main" id="{9FDB7CCE-09A1-4286-955C-898BB859333B}"/>
              </a:ext>
            </a:extLst>
          </p:cNvPr>
          <p:cNvGrpSpPr/>
          <p:nvPr userDrawn="1"/>
        </p:nvGrpSpPr>
        <p:grpSpPr>
          <a:xfrm>
            <a:off x="11277169" y="4382377"/>
            <a:ext cx="844146" cy="585945"/>
            <a:chOff x="5617647" y="4729666"/>
            <a:chExt cx="571747" cy="398627"/>
          </a:xfrm>
          <a:solidFill>
            <a:srgbClr val="4F5B7C"/>
          </a:solidFill>
        </p:grpSpPr>
        <p:sp>
          <p:nvSpPr>
            <p:cNvPr id="387" name="Line 718">
              <a:extLst>
                <a:ext uri="{FF2B5EF4-FFF2-40B4-BE49-F238E27FC236}">
                  <a16:creationId xmlns:a16="http://schemas.microsoft.com/office/drawing/2014/main" id="{3ADE10D1-04D4-49A0-9AF5-7A316B2DB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4223" y="4930119"/>
              <a:ext cx="75171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Line 719">
              <a:extLst>
                <a:ext uri="{FF2B5EF4-FFF2-40B4-BE49-F238E27FC236}">
                  <a16:creationId xmlns:a16="http://schemas.microsoft.com/office/drawing/2014/main" id="{2CA9A0AD-69C9-4232-A373-D3F46DAD8C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5274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Line 720">
              <a:extLst>
                <a:ext uri="{FF2B5EF4-FFF2-40B4-BE49-F238E27FC236}">
                  <a16:creationId xmlns:a16="http://schemas.microsoft.com/office/drawing/2014/main" id="{5711C788-55F8-4FF1-9076-FDECC0E337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34046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Line 721">
              <a:extLst>
                <a:ext uri="{FF2B5EF4-FFF2-40B4-BE49-F238E27FC236}">
                  <a16:creationId xmlns:a16="http://schemas.microsoft.com/office/drawing/2014/main" id="{329E4C7D-C9AB-4558-BFED-4EBF6A07F7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818" y="4930119"/>
              <a:ext cx="75169" cy="2277"/>
            </a:xfrm>
            <a:prstGeom prst="line">
              <a:avLst/>
            </a:prstGeom>
            <a:grpFill/>
            <a:ln w="9360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989">
              <a:extLst>
                <a:ext uri="{FF2B5EF4-FFF2-40B4-BE49-F238E27FC236}">
                  <a16:creationId xmlns:a16="http://schemas.microsoft.com/office/drawing/2014/main" id="{BFB8EC47-6662-417B-90B0-576A149F1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729666"/>
              <a:ext cx="473798" cy="398627"/>
            </a:xfrm>
            <a:custGeom>
              <a:avLst/>
              <a:gdLst>
                <a:gd name="T0" fmla="*/ 164740 w 918"/>
                <a:gd name="T1" fmla="*/ 277453 h 773"/>
                <a:gd name="T2" fmla="*/ 164740 w 918"/>
                <a:gd name="T3" fmla="*/ 277453 h 773"/>
                <a:gd name="T4" fmla="*/ 164740 w 918"/>
                <a:gd name="T5" fmla="*/ 277453 h 773"/>
                <a:gd name="T6" fmla="*/ 158625 w 918"/>
                <a:gd name="T7" fmla="*/ 274577 h 773"/>
                <a:gd name="T8" fmla="*/ 2878 w 918"/>
                <a:gd name="T9" fmla="*/ 63972 h 773"/>
                <a:gd name="T10" fmla="*/ 2878 w 918"/>
                <a:gd name="T11" fmla="*/ 54987 h 773"/>
                <a:gd name="T12" fmla="*/ 55033 w 918"/>
                <a:gd name="T13" fmla="*/ 2875 h 773"/>
                <a:gd name="T14" fmla="*/ 61148 w 918"/>
                <a:gd name="T15" fmla="*/ 0 h 773"/>
                <a:gd name="T16" fmla="*/ 61148 w 918"/>
                <a:gd name="T17" fmla="*/ 0 h 773"/>
                <a:gd name="T18" fmla="*/ 268692 w 918"/>
                <a:gd name="T19" fmla="*/ 0 h 773"/>
                <a:gd name="T20" fmla="*/ 274807 w 918"/>
                <a:gd name="T21" fmla="*/ 2875 h 773"/>
                <a:gd name="T22" fmla="*/ 326603 w 918"/>
                <a:gd name="T23" fmla="*/ 57863 h 773"/>
                <a:gd name="T24" fmla="*/ 329840 w 918"/>
                <a:gd name="T25" fmla="*/ 66847 h 773"/>
                <a:gd name="T26" fmla="*/ 170855 w 918"/>
                <a:gd name="T27" fmla="*/ 274577 h 773"/>
                <a:gd name="T28" fmla="*/ 164740 w 918"/>
                <a:gd name="T29" fmla="*/ 277453 h 773"/>
                <a:gd name="T30" fmla="*/ 18344 w 918"/>
                <a:gd name="T31" fmla="*/ 61097 h 773"/>
                <a:gd name="T32" fmla="*/ 18344 w 918"/>
                <a:gd name="T33" fmla="*/ 61097 h 773"/>
                <a:gd name="T34" fmla="*/ 164740 w 918"/>
                <a:gd name="T35" fmla="*/ 256248 h 773"/>
                <a:gd name="T36" fmla="*/ 311496 w 918"/>
                <a:gd name="T37" fmla="*/ 63972 h 773"/>
                <a:gd name="T38" fmla="*/ 265455 w 918"/>
                <a:gd name="T39" fmla="*/ 15095 h 773"/>
                <a:gd name="T40" fmla="*/ 64026 w 918"/>
                <a:gd name="T41" fmla="*/ 15095 h 773"/>
                <a:gd name="T42" fmla="*/ 18344 w 918"/>
                <a:gd name="T43" fmla="*/ 61097 h 7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18" h="773">
                  <a:moveTo>
                    <a:pt x="458" y="772"/>
                  </a:moveTo>
                  <a:lnTo>
                    <a:pt x="458" y="772"/>
                  </a:lnTo>
                  <a:cubicBezTo>
                    <a:pt x="458" y="772"/>
                    <a:pt x="450" y="772"/>
                    <a:pt x="441" y="764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0" y="170"/>
                    <a:pt x="0" y="161"/>
                    <a:pt x="8" y="153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61" y="8"/>
                    <a:pt x="170" y="0"/>
                    <a:pt x="170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55" y="0"/>
                    <a:pt x="764" y="8"/>
                    <a:pt x="764" y="8"/>
                  </a:cubicBezTo>
                  <a:cubicBezTo>
                    <a:pt x="908" y="161"/>
                    <a:pt x="908" y="161"/>
                    <a:pt x="908" y="161"/>
                  </a:cubicBezTo>
                  <a:cubicBezTo>
                    <a:pt x="917" y="170"/>
                    <a:pt x="917" y="178"/>
                    <a:pt x="917" y="186"/>
                  </a:cubicBezTo>
                  <a:cubicBezTo>
                    <a:pt x="475" y="764"/>
                    <a:pt x="475" y="764"/>
                    <a:pt x="475" y="764"/>
                  </a:cubicBezTo>
                  <a:cubicBezTo>
                    <a:pt x="475" y="772"/>
                    <a:pt x="467" y="772"/>
                    <a:pt x="458" y="772"/>
                  </a:cubicBezTo>
                  <a:close/>
                  <a:moveTo>
                    <a:pt x="51" y="170"/>
                  </a:moveTo>
                  <a:lnTo>
                    <a:pt x="51" y="170"/>
                  </a:lnTo>
                  <a:cubicBezTo>
                    <a:pt x="458" y="713"/>
                    <a:pt x="458" y="713"/>
                    <a:pt x="458" y="713"/>
                  </a:cubicBezTo>
                  <a:cubicBezTo>
                    <a:pt x="866" y="178"/>
                    <a:pt x="866" y="178"/>
                    <a:pt x="866" y="178"/>
                  </a:cubicBezTo>
                  <a:cubicBezTo>
                    <a:pt x="738" y="42"/>
                    <a:pt x="738" y="42"/>
                    <a:pt x="738" y="42"/>
                  </a:cubicBezTo>
                  <a:cubicBezTo>
                    <a:pt x="178" y="42"/>
                    <a:pt x="178" y="42"/>
                    <a:pt x="178" y="42"/>
                  </a:cubicBezTo>
                  <a:lnTo>
                    <a:pt x="51" y="17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990">
              <a:extLst>
                <a:ext uri="{FF2B5EF4-FFF2-40B4-BE49-F238E27FC236}">
                  <a16:creationId xmlns:a16="http://schemas.microsoft.com/office/drawing/2014/main" id="{1CC0B80B-8A5B-435E-8BF3-D97832EB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818" y="4729666"/>
              <a:ext cx="325735" cy="100227"/>
            </a:xfrm>
            <a:custGeom>
              <a:avLst/>
              <a:gdLst>
                <a:gd name="T0" fmla="*/ 61355 w 629"/>
                <a:gd name="T1" fmla="*/ 69494 h 196"/>
                <a:gd name="T2" fmla="*/ 61355 w 629"/>
                <a:gd name="T3" fmla="*/ 69494 h 196"/>
                <a:gd name="T4" fmla="*/ 55219 w 629"/>
                <a:gd name="T5" fmla="*/ 66286 h 196"/>
                <a:gd name="T6" fmla="*/ 3248 w 629"/>
                <a:gd name="T7" fmla="*/ 14968 h 196"/>
                <a:gd name="T8" fmla="*/ 3248 w 629"/>
                <a:gd name="T9" fmla="*/ 2851 h 196"/>
                <a:gd name="T10" fmla="*/ 15519 w 629"/>
                <a:gd name="T11" fmla="*/ 2851 h 196"/>
                <a:gd name="T12" fmla="*/ 61355 w 629"/>
                <a:gd name="T13" fmla="*/ 48467 h 196"/>
                <a:gd name="T14" fmla="*/ 110438 w 629"/>
                <a:gd name="T15" fmla="*/ 2851 h 196"/>
                <a:gd name="T16" fmla="*/ 119461 w 629"/>
                <a:gd name="T17" fmla="*/ 2851 h 196"/>
                <a:gd name="T18" fmla="*/ 165296 w 629"/>
                <a:gd name="T19" fmla="*/ 48467 h 196"/>
                <a:gd name="T20" fmla="*/ 214380 w 629"/>
                <a:gd name="T21" fmla="*/ 2851 h 196"/>
                <a:gd name="T22" fmla="*/ 223764 w 629"/>
                <a:gd name="T23" fmla="*/ 2851 h 196"/>
                <a:gd name="T24" fmla="*/ 223764 w 629"/>
                <a:gd name="T25" fmla="*/ 14968 h 196"/>
                <a:gd name="T26" fmla="*/ 171432 w 629"/>
                <a:gd name="T27" fmla="*/ 66286 h 196"/>
                <a:gd name="T28" fmla="*/ 162409 w 629"/>
                <a:gd name="T29" fmla="*/ 66286 h 196"/>
                <a:gd name="T30" fmla="*/ 113326 w 629"/>
                <a:gd name="T31" fmla="*/ 18175 h 196"/>
                <a:gd name="T32" fmla="*/ 67490 w 629"/>
                <a:gd name="T33" fmla="*/ 66286 h 196"/>
                <a:gd name="T34" fmla="*/ 61355 w 629"/>
                <a:gd name="T35" fmla="*/ 69494 h 1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9" h="196">
                  <a:moveTo>
                    <a:pt x="170" y="195"/>
                  </a:moveTo>
                  <a:lnTo>
                    <a:pt x="170" y="195"/>
                  </a:lnTo>
                  <a:cubicBezTo>
                    <a:pt x="170" y="195"/>
                    <a:pt x="162" y="186"/>
                    <a:pt x="153" y="18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4"/>
                    <a:pt x="0" y="17"/>
                    <a:pt x="9" y="8"/>
                  </a:cubicBezTo>
                  <a:cubicBezTo>
                    <a:pt x="17" y="0"/>
                    <a:pt x="34" y="0"/>
                    <a:pt x="43" y="8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306" y="8"/>
                    <a:pt x="306" y="8"/>
                    <a:pt x="306" y="8"/>
                  </a:cubicBezTo>
                  <a:cubicBezTo>
                    <a:pt x="314" y="0"/>
                    <a:pt x="323" y="0"/>
                    <a:pt x="331" y="8"/>
                  </a:cubicBezTo>
                  <a:cubicBezTo>
                    <a:pt x="458" y="136"/>
                    <a:pt x="458" y="136"/>
                    <a:pt x="458" y="136"/>
                  </a:cubicBezTo>
                  <a:cubicBezTo>
                    <a:pt x="594" y="8"/>
                    <a:pt x="594" y="8"/>
                    <a:pt x="594" y="8"/>
                  </a:cubicBezTo>
                  <a:cubicBezTo>
                    <a:pt x="603" y="0"/>
                    <a:pt x="611" y="0"/>
                    <a:pt x="620" y="8"/>
                  </a:cubicBezTo>
                  <a:cubicBezTo>
                    <a:pt x="628" y="17"/>
                    <a:pt x="628" y="34"/>
                    <a:pt x="620" y="42"/>
                  </a:cubicBezTo>
                  <a:cubicBezTo>
                    <a:pt x="475" y="186"/>
                    <a:pt x="475" y="186"/>
                    <a:pt x="475" y="186"/>
                  </a:cubicBezTo>
                  <a:cubicBezTo>
                    <a:pt x="467" y="195"/>
                    <a:pt x="458" y="195"/>
                    <a:pt x="450" y="186"/>
                  </a:cubicBezTo>
                  <a:cubicBezTo>
                    <a:pt x="314" y="51"/>
                    <a:pt x="314" y="51"/>
                    <a:pt x="314" y="51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78" y="186"/>
                    <a:pt x="178" y="195"/>
                    <a:pt x="170" y="19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991">
              <a:extLst>
                <a:ext uri="{FF2B5EF4-FFF2-40B4-BE49-F238E27FC236}">
                  <a16:creationId xmlns:a16="http://schemas.microsoft.com/office/drawing/2014/main" id="{9946B5AA-028D-448E-BC58-3B621B75D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5710" y="4802558"/>
              <a:ext cx="175396" cy="325735"/>
            </a:xfrm>
            <a:custGeom>
              <a:avLst/>
              <a:gdLst>
                <a:gd name="T0" fmla="*/ 60939 w 341"/>
                <a:gd name="T1" fmla="*/ 226651 h 629"/>
                <a:gd name="T2" fmla="*/ 60939 w 341"/>
                <a:gd name="T3" fmla="*/ 226651 h 629"/>
                <a:gd name="T4" fmla="*/ 54845 w 341"/>
                <a:gd name="T5" fmla="*/ 220516 h 629"/>
                <a:gd name="T6" fmla="*/ 3226 w 341"/>
                <a:gd name="T7" fmla="*/ 12271 h 629"/>
                <a:gd name="T8" fmla="*/ 9320 w 341"/>
                <a:gd name="T9" fmla="*/ 3248 h 629"/>
                <a:gd name="T10" fmla="*/ 18282 w 341"/>
                <a:gd name="T11" fmla="*/ 6135 h 629"/>
                <a:gd name="T12" fmla="*/ 60939 w 341"/>
                <a:gd name="T13" fmla="*/ 186951 h 629"/>
                <a:gd name="T14" fmla="*/ 106823 w 341"/>
                <a:gd name="T15" fmla="*/ 6135 h 629"/>
                <a:gd name="T16" fmla="*/ 115785 w 341"/>
                <a:gd name="T17" fmla="*/ 3248 h 629"/>
                <a:gd name="T18" fmla="*/ 121879 w 341"/>
                <a:gd name="T19" fmla="*/ 12271 h 629"/>
                <a:gd name="T20" fmla="*/ 70259 w 341"/>
                <a:gd name="T21" fmla="*/ 220516 h 629"/>
                <a:gd name="T22" fmla="*/ 60939 w 341"/>
                <a:gd name="T23" fmla="*/ 226651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41" h="629">
                  <a:moveTo>
                    <a:pt x="170" y="628"/>
                  </a:moveTo>
                  <a:lnTo>
                    <a:pt x="170" y="628"/>
                  </a:lnTo>
                  <a:cubicBezTo>
                    <a:pt x="162" y="628"/>
                    <a:pt x="153" y="620"/>
                    <a:pt x="153" y="61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0" y="17"/>
                    <a:pt x="9" y="9"/>
                    <a:pt x="26" y="9"/>
                  </a:cubicBezTo>
                  <a:cubicBezTo>
                    <a:pt x="34" y="0"/>
                    <a:pt x="43" y="9"/>
                    <a:pt x="51" y="17"/>
                  </a:cubicBezTo>
                  <a:cubicBezTo>
                    <a:pt x="170" y="518"/>
                    <a:pt x="170" y="518"/>
                    <a:pt x="170" y="5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9"/>
                    <a:pt x="314" y="0"/>
                    <a:pt x="323" y="9"/>
                  </a:cubicBezTo>
                  <a:cubicBezTo>
                    <a:pt x="331" y="9"/>
                    <a:pt x="340" y="17"/>
                    <a:pt x="340" y="34"/>
                  </a:cubicBezTo>
                  <a:cubicBezTo>
                    <a:pt x="196" y="611"/>
                    <a:pt x="196" y="611"/>
                    <a:pt x="196" y="611"/>
                  </a:cubicBezTo>
                  <a:cubicBezTo>
                    <a:pt x="196" y="620"/>
                    <a:pt x="187" y="628"/>
                    <a:pt x="170" y="62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992">
              <a:extLst>
                <a:ext uri="{FF2B5EF4-FFF2-40B4-BE49-F238E27FC236}">
                  <a16:creationId xmlns:a16="http://schemas.microsoft.com/office/drawing/2014/main" id="{1DF6D6EE-B0D9-4272-82F3-7F1E0F2E9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7647" y="4802558"/>
              <a:ext cx="473798" cy="27335"/>
            </a:xfrm>
            <a:custGeom>
              <a:avLst/>
              <a:gdLst>
                <a:gd name="T0" fmla="*/ 323725 w 918"/>
                <a:gd name="T1" fmla="*/ 18684 h 52"/>
                <a:gd name="T2" fmla="*/ 323725 w 918"/>
                <a:gd name="T3" fmla="*/ 18684 h 52"/>
                <a:gd name="T4" fmla="*/ 323725 w 918"/>
                <a:gd name="T5" fmla="*/ 18684 h 52"/>
                <a:gd name="T6" fmla="*/ 8992 w 918"/>
                <a:gd name="T7" fmla="*/ 15387 h 52"/>
                <a:gd name="T8" fmla="*/ 2878 w 918"/>
                <a:gd name="T9" fmla="*/ 9525 h 52"/>
                <a:gd name="T10" fmla="*/ 8992 w 918"/>
                <a:gd name="T11" fmla="*/ 0 h 52"/>
                <a:gd name="T12" fmla="*/ 8992 w 918"/>
                <a:gd name="T13" fmla="*/ 0 h 52"/>
                <a:gd name="T14" fmla="*/ 323725 w 918"/>
                <a:gd name="T15" fmla="*/ 3297 h 52"/>
                <a:gd name="T16" fmla="*/ 329840 w 918"/>
                <a:gd name="T17" fmla="*/ 9525 h 52"/>
                <a:gd name="T18" fmla="*/ 323725 w 918"/>
                <a:gd name="T19" fmla="*/ 18684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8" h="52">
                  <a:moveTo>
                    <a:pt x="900" y="51"/>
                  </a:moveTo>
                  <a:lnTo>
                    <a:pt x="900" y="51"/>
                  </a:lnTo>
                  <a:cubicBezTo>
                    <a:pt x="25" y="42"/>
                    <a:pt x="25" y="42"/>
                    <a:pt x="25" y="42"/>
                  </a:cubicBezTo>
                  <a:cubicBezTo>
                    <a:pt x="17" y="42"/>
                    <a:pt x="0" y="34"/>
                    <a:pt x="8" y="26"/>
                  </a:cubicBezTo>
                  <a:cubicBezTo>
                    <a:pt x="8" y="17"/>
                    <a:pt x="17" y="0"/>
                    <a:pt x="25" y="0"/>
                  </a:cubicBezTo>
                  <a:cubicBezTo>
                    <a:pt x="900" y="9"/>
                    <a:pt x="900" y="9"/>
                    <a:pt x="900" y="9"/>
                  </a:cubicBezTo>
                  <a:cubicBezTo>
                    <a:pt x="908" y="9"/>
                    <a:pt x="917" y="17"/>
                    <a:pt x="917" y="26"/>
                  </a:cubicBezTo>
                  <a:cubicBezTo>
                    <a:pt x="917" y="42"/>
                    <a:pt x="908" y="51"/>
                    <a:pt x="900" y="51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5" name="Freeform 993">
            <a:extLst>
              <a:ext uri="{FF2B5EF4-FFF2-40B4-BE49-F238E27FC236}">
                <a16:creationId xmlns:a16="http://schemas.microsoft.com/office/drawing/2014/main" id="{0B3951D2-84CB-429A-8375-49DB4AA3A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77169" y="6885206"/>
            <a:ext cx="686077" cy="813628"/>
          </a:xfrm>
          <a:custGeom>
            <a:avLst/>
            <a:gdLst>
              <a:gd name="T0" fmla="*/ 308377 w 900"/>
              <a:gd name="T1" fmla="*/ 385401 h 1070"/>
              <a:gd name="T2" fmla="*/ 308377 w 900"/>
              <a:gd name="T3" fmla="*/ 385401 h 1070"/>
              <a:gd name="T4" fmla="*/ 12234 w 900"/>
              <a:gd name="T5" fmla="*/ 385401 h 1070"/>
              <a:gd name="T6" fmla="*/ 0 w 900"/>
              <a:gd name="T7" fmla="*/ 370259 h 1070"/>
              <a:gd name="T8" fmla="*/ 0 w 900"/>
              <a:gd name="T9" fmla="*/ 15142 h 1070"/>
              <a:gd name="T10" fmla="*/ 12234 w 900"/>
              <a:gd name="T11" fmla="*/ 0 h 1070"/>
              <a:gd name="T12" fmla="*/ 70168 w 900"/>
              <a:gd name="T13" fmla="*/ 0 h 1070"/>
              <a:gd name="T14" fmla="*/ 79163 w 900"/>
              <a:gd name="T15" fmla="*/ 9013 h 1070"/>
              <a:gd name="T16" fmla="*/ 70168 w 900"/>
              <a:gd name="T17" fmla="*/ 18387 h 1070"/>
              <a:gd name="T18" fmla="*/ 18352 w 900"/>
              <a:gd name="T19" fmla="*/ 18387 h 1070"/>
              <a:gd name="T20" fmla="*/ 18352 w 900"/>
              <a:gd name="T21" fmla="*/ 367015 h 1070"/>
              <a:gd name="T22" fmla="*/ 305499 w 900"/>
              <a:gd name="T23" fmla="*/ 367015 h 1070"/>
              <a:gd name="T24" fmla="*/ 305499 w 900"/>
              <a:gd name="T25" fmla="*/ 18387 h 1070"/>
              <a:gd name="T26" fmla="*/ 253323 w 900"/>
              <a:gd name="T27" fmla="*/ 18387 h 1070"/>
              <a:gd name="T28" fmla="*/ 244327 w 900"/>
              <a:gd name="T29" fmla="*/ 9013 h 1070"/>
              <a:gd name="T30" fmla="*/ 253323 w 900"/>
              <a:gd name="T31" fmla="*/ 0 h 1070"/>
              <a:gd name="T32" fmla="*/ 308377 w 900"/>
              <a:gd name="T33" fmla="*/ 0 h 1070"/>
              <a:gd name="T34" fmla="*/ 323490 w 900"/>
              <a:gd name="T35" fmla="*/ 15142 h 1070"/>
              <a:gd name="T36" fmla="*/ 323490 w 900"/>
              <a:gd name="T37" fmla="*/ 370259 h 1070"/>
              <a:gd name="T38" fmla="*/ 308377 w 900"/>
              <a:gd name="T39" fmla="*/ 385401 h 1070"/>
              <a:gd name="T40" fmla="*/ 308377 w 900"/>
              <a:gd name="T41" fmla="*/ 18387 h 1070"/>
              <a:gd name="T42" fmla="*/ 308377 w 900"/>
              <a:gd name="T43" fmla="*/ 18387 h 10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00" h="1070">
                <a:moveTo>
                  <a:pt x="857" y="1069"/>
                </a:moveTo>
                <a:lnTo>
                  <a:pt x="857" y="1069"/>
                </a:lnTo>
                <a:cubicBezTo>
                  <a:pt x="34" y="1069"/>
                  <a:pt x="34" y="1069"/>
                  <a:pt x="34" y="1069"/>
                </a:cubicBezTo>
                <a:cubicBezTo>
                  <a:pt x="17" y="1069"/>
                  <a:pt x="0" y="1052"/>
                  <a:pt x="0" y="102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"/>
                  <a:pt x="17" y="0"/>
                  <a:pt x="34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212" y="0"/>
                  <a:pt x="220" y="17"/>
                  <a:pt x="220" y="25"/>
                </a:cubicBezTo>
                <a:cubicBezTo>
                  <a:pt x="220" y="42"/>
                  <a:pt x="212" y="51"/>
                  <a:pt x="195" y="51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1018"/>
                  <a:pt x="51" y="1018"/>
                  <a:pt x="51" y="1018"/>
                </a:cubicBezTo>
                <a:cubicBezTo>
                  <a:pt x="849" y="1018"/>
                  <a:pt x="849" y="1018"/>
                  <a:pt x="849" y="1018"/>
                </a:cubicBezTo>
                <a:cubicBezTo>
                  <a:pt x="849" y="51"/>
                  <a:pt x="849" y="51"/>
                  <a:pt x="849" y="51"/>
                </a:cubicBezTo>
                <a:cubicBezTo>
                  <a:pt x="704" y="51"/>
                  <a:pt x="704" y="51"/>
                  <a:pt x="704" y="51"/>
                </a:cubicBezTo>
                <a:cubicBezTo>
                  <a:pt x="687" y="51"/>
                  <a:pt x="679" y="42"/>
                  <a:pt x="679" y="25"/>
                </a:cubicBezTo>
                <a:cubicBezTo>
                  <a:pt x="679" y="17"/>
                  <a:pt x="687" y="0"/>
                  <a:pt x="704" y="0"/>
                </a:cubicBezTo>
                <a:cubicBezTo>
                  <a:pt x="857" y="0"/>
                  <a:pt x="857" y="0"/>
                  <a:pt x="857" y="0"/>
                </a:cubicBezTo>
                <a:cubicBezTo>
                  <a:pt x="882" y="0"/>
                  <a:pt x="899" y="17"/>
                  <a:pt x="899" y="42"/>
                </a:cubicBezTo>
                <a:cubicBezTo>
                  <a:pt x="899" y="1027"/>
                  <a:pt x="899" y="1027"/>
                  <a:pt x="899" y="1027"/>
                </a:cubicBezTo>
                <a:cubicBezTo>
                  <a:pt x="899" y="1052"/>
                  <a:pt x="882" y="1069"/>
                  <a:pt x="857" y="1069"/>
                </a:cubicBezTo>
                <a:close/>
                <a:moveTo>
                  <a:pt x="857" y="51"/>
                </a:moveTo>
                <a:lnTo>
                  <a:pt x="857" y="51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6" name="Freeform 994">
            <a:extLst>
              <a:ext uri="{FF2B5EF4-FFF2-40B4-BE49-F238E27FC236}">
                <a16:creationId xmlns:a16="http://schemas.microsoft.com/office/drawing/2014/main" id="{ACBDEDE4-BD17-4D3A-A06F-5E7E84316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079405"/>
            <a:ext cx="137887" cy="137278"/>
          </a:xfrm>
          <a:custGeom>
            <a:avLst/>
            <a:gdLst>
              <a:gd name="T0" fmla="*/ 55324 w 180"/>
              <a:gd name="T1" fmla="*/ 64723 h 179"/>
              <a:gd name="T2" fmla="*/ 55324 w 180"/>
              <a:gd name="T3" fmla="*/ 64723 h 179"/>
              <a:gd name="T4" fmla="*/ 9401 w 180"/>
              <a:gd name="T5" fmla="*/ 64723 h 179"/>
              <a:gd name="T6" fmla="*/ 0 w 180"/>
              <a:gd name="T7" fmla="*/ 55269 h 179"/>
              <a:gd name="T8" fmla="*/ 0 w 180"/>
              <a:gd name="T9" fmla="*/ 9090 h 179"/>
              <a:gd name="T10" fmla="*/ 9401 w 180"/>
              <a:gd name="T11" fmla="*/ 0 h 179"/>
              <a:gd name="T12" fmla="*/ 55324 w 180"/>
              <a:gd name="T13" fmla="*/ 0 h 179"/>
              <a:gd name="T14" fmla="*/ 64725 w 180"/>
              <a:gd name="T15" fmla="*/ 9090 h 179"/>
              <a:gd name="T16" fmla="*/ 64725 w 180"/>
              <a:gd name="T17" fmla="*/ 55269 h 179"/>
              <a:gd name="T18" fmla="*/ 55324 w 180"/>
              <a:gd name="T19" fmla="*/ 64723 h 179"/>
              <a:gd name="T20" fmla="*/ 18441 w 180"/>
              <a:gd name="T21" fmla="*/ 46179 h 179"/>
              <a:gd name="T22" fmla="*/ 18441 w 180"/>
              <a:gd name="T23" fmla="*/ 46179 h 179"/>
              <a:gd name="T24" fmla="*/ 46284 w 180"/>
              <a:gd name="T25" fmla="*/ 46179 h 179"/>
              <a:gd name="T26" fmla="*/ 46284 w 180"/>
              <a:gd name="T27" fmla="*/ 18181 h 179"/>
              <a:gd name="T28" fmla="*/ 18441 w 180"/>
              <a:gd name="T29" fmla="*/ 18181 h 179"/>
              <a:gd name="T30" fmla="*/ 18441 w 180"/>
              <a:gd name="T31" fmla="*/ 46179 h 1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9">
                <a:moveTo>
                  <a:pt x="153" y="178"/>
                </a:moveTo>
                <a:lnTo>
                  <a:pt x="153" y="178"/>
                </a:lnTo>
                <a:cubicBezTo>
                  <a:pt x="26" y="178"/>
                  <a:pt x="26" y="178"/>
                  <a:pt x="26" y="178"/>
                </a:cubicBezTo>
                <a:cubicBezTo>
                  <a:pt x="9" y="178"/>
                  <a:pt x="0" y="161"/>
                  <a:pt x="0" y="1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8"/>
                  <a:pt x="179" y="25"/>
                </a:cubicBezTo>
                <a:cubicBezTo>
                  <a:pt x="179" y="152"/>
                  <a:pt x="179" y="152"/>
                  <a:pt x="179" y="152"/>
                </a:cubicBezTo>
                <a:cubicBezTo>
                  <a:pt x="179" y="161"/>
                  <a:pt x="162" y="178"/>
                  <a:pt x="153" y="178"/>
                </a:cubicBezTo>
                <a:close/>
                <a:moveTo>
                  <a:pt x="51" y="127"/>
                </a:moveTo>
                <a:lnTo>
                  <a:pt x="51" y="127"/>
                </a:lnTo>
                <a:cubicBezTo>
                  <a:pt x="128" y="127"/>
                  <a:pt x="128" y="127"/>
                  <a:pt x="128" y="127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51" y="50"/>
                  <a:pt x="51" y="50"/>
                  <a:pt x="51" y="50"/>
                </a:cubicBezTo>
                <a:lnTo>
                  <a:pt x="51" y="127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7" name="Freeform 995">
            <a:extLst>
              <a:ext uri="{FF2B5EF4-FFF2-40B4-BE49-F238E27FC236}">
                <a16:creationId xmlns:a16="http://schemas.microsoft.com/office/drawing/2014/main" id="{7C4C8CB3-1114-430B-B23C-F50D560A6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273604"/>
            <a:ext cx="137887" cy="130582"/>
          </a:xfrm>
          <a:custGeom>
            <a:avLst/>
            <a:gdLst>
              <a:gd name="T0" fmla="*/ 55324 w 180"/>
              <a:gd name="T1" fmla="*/ 61550 h 171"/>
              <a:gd name="T2" fmla="*/ 55324 w 180"/>
              <a:gd name="T3" fmla="*/ 61550 h 171"/>
              <a:gd name="T4" fmla="*/ 9401 w 180"/>
              <a:gd name="T5" fmla="*/ 61550 h 171"/>
              <a:gd name="T6" fmla="*/ 0 w 180"/>
              <a:gd name="T7" fmla="*/ 52136 h 171"/>
              <a:gd name="T8" fmla="*/ 0 w 180"/>
              <a:gd name="T9" fmla="*/ 9414 h 171"/>
              <a:gd name="T10" fmla="*/ 9401 w 180"/>
              <a:gd name="T11" fmla="*/ 0 h 171"/>
              <a:gd name="T12" fmla="*/ 55324 w 180"/>
              <a:gd name="T13" fmla="*/ 0 h 171"/>
              <a:gd name="T14" fmla="*/ 64725 w 180"/>
              <a:gd name="T15" fmla="*/ 9414 h 171"/>
              <a:gd name="T16" fmla="*/ 64725 w 180"/>
              <a:gd name="T17" fmla="*/ 52136 h 171"/>
              <a:gd name="T18" fmla="*/ 55324 w 180"/>
              <a:gd name="T19" fmla="*/ 61550 h 171"/>
              <a:gd name="T20" fmla="*/ 18441 w 180"/>
              <a:gd name="T21" fmla="*/ 43085 h 171"/>
              <a:gd name="T22" fmla="*/ 18441 w 180"/>
              <a:gd name="T23" fmla="*/ 43085 h 171"/>
              <a:gd name="T24" fmla="*/ 46284 w 180"/>
              <a:gd name="T25" fmla="*/ 43085 h 171"/>
              <a:gd name="T26" fmla="*/ 46284 w 180"/>
              <a:gd name="T27" fmla="*/ 15206 h 171"/>
              <a:gd name="T28" fmla="*/ 18441 w 180"/>
              <a:gd name="T29" fmla="*/ 15206 h 171"/>
              <a:gd name="T30" fmla="*/ 18441 w 180"/>
              <a:gd name="T31" fmla="*/ 43085 h 1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71">
                <a:moveTo>
                  <a:pt x="153" y="170"/>
                </a:moveTo>
                <a:lnTo>
                  <a:pt x="153" y="170"/>
                </a:lnTo>
                <a:cubicBezTo>
                  <a:pt x="26" y="170"/>
                  <a:pt x="26" y="170"/>
                  <a:pt x="26" y="170"/>
                </a:cubicBezTo>
                <a:cubicBezTo>
                  <a:pt x="9" y="170"/>
                  <a:pt x="0" y="161"/>
                  <a:pt x="0" y="144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9"/>
                  <a:pt x="179" y="26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9" y="161"/>
                  <a:pt x="162" y="170"/>
                  <a:pt x="153" y="170"/>
                </a:cubicBezTo>
                <a:close/>
                <a:moveTo>
                  <a:pt x="51" y="119"/>
                </a:moveTo>
                <a:lnTo>
                  <a:pt x="51" y="119"/>
                </a:lnTo>
                <a:cubicBezTo>
                  <a:pt x="128" y="119"/>
                  <a:pt x="128" y="119"/>
                  <a:pt x="128" y="119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1" y="42"/>
                  <a:pt x="51" y="42"/>
                  <a:pt x="51" y="42"/>
                </a:cubicBezTo>
                <a:lnTo>
                  <a:pt x="51" y="11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8" name="Freeform 996">
            <a:extLst>
              <a:ext uri="{FF2B5EF4-FFF2-40B4-BE49-F238E27FC236}">
                <a16:creationId xmlns:a16="http://schemas.microsoft.com/office/drawing/2014/main" id="{8588F888-9A9D-41CD-8E35-D3D1D38798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04967" y="7461106"/>
            <a:ext cx="137887" cy="137278"/>
          </a:xfrm>
          <a:custGeom>
            <a:avLst/>
            <a:gdLst>
              <a:gd name="T0" fmla="*/ 55324 w 180"/>
              <a:gd name="T1" fmla="*/ 64725 h 180"/>
              <a:gd name="T2" fmla="*/ 55324 w 180"/>
              <a:gd name="T3" fmla="*/ 64725 h 180"/>
              <a:gd name="T4" fmla="*/ 9401 w 180"/>
              <a:gd name="T5" fmla="*/ 64725 h 180"/>
              <a:gd name="T6" fmla="*/ 0 w 180"/>
              <a:gd name="T7" fmla="*/ 55324 h 180"/>
              <a:gd name="T8" fmla="*/ 0 w 180"/>
              <a:gd name="T9" fmla="*/ 9401 h 180"/>
              <a:gd name="T10" fmla="*/ 9401 w 180"/>
              <a:gd name="T11" fmla="*/ 0 h 180"/>
              <a:gd name="T12" fmla="*/ 55324 w 180"/>
              <a:gd name="T13" fmla="*/ 0 h 180"/>
              <a:gd name="T14" fmla="*/ 64725 w 180"/>
              <a:gd name="T15" fmla="*/ 9401 h 180"/>
              <a:gd name="T16" fmla="*/ 64725 w 180"/>
              <a:gd name="T17" fmla="*/ 55324 h 180"/>
              <a:gd name="T18" fmla="*/ 55324 w 180"/>
              <a:gd name="T19" fmla="*/ 64725 h 180"/>
              <a:gd name="T20" fmla="*/ 18441 w 180"/>
              <a:gd name="T21" fmla="*/ 46284 h 180"/>
              <a:gd name="T22" fmla="*/ 18441 w 180"/>
              <a:gd name="T23" fmla="*/ 46284 h 180"/>
              <a:gd name="T24" fmla="*/ 46284 w 180"/>
              <a:gd name="T25" fmla="*/ 46284 h 180"/>
              <a:gd name="T26" fmla="*/ 46284 w 180"/>
              <a:gd name="T27" fmla="*/ 18441 h 180"/>
              <a:gd name="T28" fmla="*/ 18441 w 180"/>
              <a:gd name="T29" fmla="*/ 18441 h 180"/>
              <a:gd name="T30" fmla="*/ 18441 w 180"/>
              <a:gd name="T31" fmla="*/ 46284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180">
                <a:moveTo>
                  <a:pt x="153" y="179"/>
                </a:moveTo>
                <a:lnTo>
                  <a:pt x="153" y="179"/>
                </a:lnTo>
                <a:cubicBezTo>
                  <a:pt x="26" y="179"/>
                  <a:pt x="26" y="179"/>
                  <a:pt x="26" y="179"/>
                </a:cubicBezTo>
                <a:cubicBezTo>
                  <a:pt x="9" y="179"/>
                  <a:pt x="0" y="170"/>
                  <a:pt x="0" y="1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17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62" y="0"/>
                  <a:pt x="179" y="17"/>
                  <a:pt x="179" y="26"/>
                </a:cubicBezTo>
                <a:cubicBezTo>
                  <a:pt x="179" y="153"/>
                  <a:pt x="179" y="153"/>
                  <a:pt x="179" y="153"/>
                </a:cubicBezTo>
                <a:cubicBezTo>
                  <a:pt x="179" y="170"/>
                  <a:pt x="162" y="179"/>
                  <a:pt x="153" y="179"/>
                </a:cubicBezTo>
                <a:close/>
                <a:moveTo>
                  <a:pt x="51" y="128"/>
                </a:moveTo>
                <a:lnTo>
                  <a:pt x="51" y="128"/>
                </a:lnTo>
                <a:cubicBezTo>
                  <a:pt x="128" y="128"/>
                  <a:pt x="128" y="128"/>
                  <a:pt x="128" y="128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51" y="51"/>
                  <a:pt x="51" y="51"/>
                  <a:pt x="51" y="51"/>
                </a:cubicBezTo>
                <a:lnTo>
                  <a:pt x="51" y="128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399" name="Freeform 997">
            <a:extLst>
              <a:ext uri="{FF2B5EF4-FFF2-40B4-BE49-F238E27FC236}">
                <a16:creationId xmlns:a16="http://schemas.microsoft.com/office/drawing/2014/main" id="{BF5CA5D1-0929-444B-B010-E4E723B3FF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126281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159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159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42"/>
                  <a:pt x="0" y="25"/>
                </a:cubicBezTo>
                <a:cubicBezTo>
                  <a:pt x="0" y="17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17"/>
                  <a:pt x="297" y="25"/>
                </a:cubicBezTo>
                <a:cubicBezTo>
                  <a:pt x="297" y="42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0" name="Freeform 998">
            <a:extLst>
              <a:ext uri="{FF2B5EF4-FFF2-40B4-BE49-F238E27FC236}">
                <a16:creationId xmlns:a16="http://schemas.microsoft.com/office/drawing/2014/main" id="{3CE96516-AB9D-4D6B-8784-EC569722DF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317131"/>
            <a:ext cx="228693" cy="40180"/>
          </a:xfrm>
          <a:custGeom>
            <a:avLst/>
            <a:gdLst>
              <a:gd name="T0" fmla="*/ 101430 w 298"/>
              <a:gd name="T1" fmla="*/ 18676 h 51"/>
              <a:gd name="T2" fmla="*/ 101430 w 298"/>
              <a:gd name="T3" fmla="*/ 18676 h 51"/>
              <a:gd name="T4" fmla="*/ 9418 w 298"/>
              <a:gd name="T5" fmla="*/ 18676 h 51"/>
              <a:gd name="T6" fmla="*/ 0 w 298"/>
              <a:gd name="T7" fmla="*/ 9338 h 51"/>
              <a:gd name="T8" fmla="*/ 9418 w 298"/>
              <a:gd name="T9" fmla="*/ 0 h 51"/>
              <a:gd name="T10" fmla="*/ 101430 w 298"/>
              <a:gd name="T11" fmla="*/ 0 h 51"/>
              <a:gd name="T12" fmla="*/ 107588 w 298"/>
              <a:gd name="T13" fmla="*/ 9338 h 51"/>
              <a:gd name="T14" fmla="*/ 101430 w 298"/>
              <a:gd name="T15" fmla="*/ 18676 h 5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1">
                <a:moveTo>
                  <a:pt x="280" y="50"/>
                </a:moveTo>
                <a:lnTo>
                  <a:pt x="280" y="50"/>
                </a:lnTo>
                <a:cubicBezTo>
                  <a:pt x="26" y="50"/>
                  <a:pt x="26" y="50"/>
                  <a:pt x="26" y="50"/>
                </a:cubicBezTo>
                <a:cubicBezTo>
                  <a:pt x="9" y="50"/>
                  <a:pt x="0" y="42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8"/>
                  <a:pt x="297" y="25"/>
                </a:cubicBezTo>
                <a:cubicBezTo>
                  <a:pt x="297" y="42"/>
                  <a:pt x="289" y="50"/>
                  <a:pt x="280" y="50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1" name="Freeform 999">
            <a:extLst>
              <a:ext uri="{FF2B5EF4-FFF2-40B4-BE49-F238E27FC236}">
                <a16:creationId xmlns:a16="http://schemas.microsoft.com/office/drawing/2014/main" id="{FD353D14-0162-4434-81F9-8EFBDDB8F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00029" y="7511330"/>
            <a:ext cx="228693" cy="40180"/>
          </a:xfrm>
          <a:custGeom>
            <a:avLst/>
            <a:gdLst>
              <a:gd name="T0" fmla="*/ 101430 w 298"/>
              <a:gd name="T1" fmla="*/ 18684 h 52"/>
              <a:gd name="T2" fmla="*/ 101430 w 298"/>
              <a:gd name="T3" fmla="*/ 18684 h 52"/>
              <a:gd name="T4" fmla="*/ 9418 w 298"/>
              <a:gd name="T5" fmla="*/ 18684 h 52"/>
              <a:gd name="T6" fmla="*/ 0 w 298"/>
              <a:gd name="T7" fmla="*/ 9525 h 52"/>
              <a:gd name="T8" fmla="*/ 9418 w 298"/>
              <a:gd name="T9" fmla="*/ 0 h 52"/>
              <a:gd name="T10" fmla="*/ 101430 w 298"/>
              <a:gd name="T11" fmla="*/ 0 h 52"/>
              <a:gd name="T12" fmla="*/ 107588 w 298"/>
              <a:gd name="T13" fmla="*/ 9525 h 52"/>
              <a:gd name="T14" fmla="*/ 101430 w 298"/>
              <a:gd name="T15" fmla="*/ 186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98" h="52">
                <a:moveTo>
                  <a:pt x="280" y="51"/>
                </a:moveTo>
                <a:lnTo>
                  <a:pt x="280" y="51"/>
                </a:lnTo>
                <a:cubicBezTo>
                  <a:pt x="26" y="51"/>
                  <a:pt x="26" y="51"/>
                  <a:pt x="26" y="51"/>
                </a:cubicBezTo>
                <a:cubicBezTo>
                  <a:pt x="9" y="51"/>
                  <a:pt x="0" y="34"/>
                  <a:pt x="0" y="26"/>
                </a:cubicBezTo>
                <a:cubicBezTo>
                  <a:pt x="0" y="9"/>
                  <a:pt x="9" y="0"/>
                  <a:pt x="26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89" y="0"/>
                  <a:pt x="297" y="9"/>
                  <a:pt x="297" y="26"/>
                </a:cubicBezTo>
                <a:cubicBezTo>
                  <a:pt x="297" y="34"/>
                  <a:pt x="289" y="51"/>
                  <a:pt x="280" y="51"/>
                </a:cubicBezTo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02" name="Freeform 1000">
            <a:extLst>
              <a:ext uri="{FF2B5EF4-FFF2-40B4-BE49-F238E27FC236}">
                <a16:creationId xmlns:a16="http://schemas.microsoft.com/office/drawing/2014/main" id="{014ACAB3-6894-47BD-BB7D-0B110CDC0E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778" y="6794801"/>
            <a:ext cx="326222" cy="214289"/>
          </a:xfrm>
          <a:custGeom>
            <a:avLst/>
            <a:gdLst>
              <a:gd name="T0" fmla="*/ 141335 w 426"/>
              <a:gd name="T1" fmla="*/ 101238 h 281"/>
              <a:gd name="T2" fmla="*/ 141335 w 426"/>
              <a:gd name="T3" fmla="*/ 101238 h 281"/>
              <a:gd name="T4" fmla="*/ 9398 w 426"/>
              <a:gd name="T5" fmla="*/ 101238 h 281"/>
              <a:gd name="T6" fmla="*/ 0 w 426"/>
              <a:gd name="T7" fmla="*/ 88945 h 281"/>
              <a:gd name="T8" fmla="*/ 0 w 426"/>
              <a:gd name="T9" fmla="*/ 52065 h 281"/>
              <a:gd name="T10" fmla="*/ 0 w 426"/>
              <a:gd name="T11" fmla="*/ 49173 h 281"/>
              <a:gd name="T12" fmla="*/ 30725 w 426"/>
              <a:gd name="T13" fmla="*/ 12293 h 281"/>
              <a:gd name="T14" fmla="*/ 76994 w 426"/>
              <a:gd name="T15" fmla="*/ 0 h 281"/>
              <a:gd name="T16" fmla="*/ 122900 w 426"/>
              <a:gd name="T17" fmla="*/ 12293 h 281"/>
              <a:gd name="T18" fmla="*/ 150372 w 426"/>
              <a:gd name="T19" fmla="*/ 49173 h 281"/>
              <a:gd name="T20" fmla="*/ 153626 w 426"/>
              <a:gd name="T21" fmla="*/ 52065 h 281"/>
              <a:gd name="T22" fmla="*/ 153626 w 426"/>
              <a:gd name="T23" fmla="*/ 88945 h 281"/>
              <a:gd name="T24" fmla="*/ 141335 w 426"/>
              <a:gd name="T25" fmla="*/ 101238 h 281"/>
              <a:gd name="T26" fmla="*/ 18435 w 426"/>
              <a:gd name="T27" fmla="*/ 82799 h 281"/>
              <a:gd name="T28" fmla="*/ 18435 w 426"/>
              <a:gd name="T29" fmla="*/ 82799 h 281"/>
              <a:gd name="T30" fmla="*/ 135190 w 426"/>
              <a:gd name="T31" fmla="*/ 82799 h 281"/>
              <a:gd name="T32" fmla="*/ 135190 w 426"/>
              <a:gd name="T33" fmla="*/ 55320 h 281"/>
              <a:gd name="T34" fmla="*/ 113502 w 426"/>
              <a:gd name="T35" fmla="*/ 27841 h 281"/>
              <a:gd name="T36" fmla="*/ 76994 w 426"/>
              <a:gd name="T37" fmla="*/ 15547 h 281"/>
              <a:gd name="T38" fmla="*/ 40123 w 426"/>
              <a:gd name="T39" fmla="*/ 27841 h 281"/>
              <a:gd name="T40" fmla="*/ 18435 w 426"/>
              <a:gd name="T41" fmla="*/ 55320 h 281"/>
              <a:gd name="T42" fmla="*/ 18435 w 426"/>
              <a:gd name="T43" fmla="*/ 82799 h 2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26" h="281">
                <a:moveTo>
                  <a:pt x="391" y="280"/>
                </a:moveTo>
                <a:lnTo>
                  <a:pt x="391" y="280"/>
                </a:lnTo>
                <a:cubicBezTo>
                  <a:pt x="26" y="280"/>
                  <a:pt x="26" y="280"/>
                  <a:pt x="26" y="280"/>
                </a:cubicBezTo>
                <a:cubicBezTo>
                  <a:pt x="17" y="280"/>
                  <a:pt x="0" y="263"/>
                  <a:pt x="0" y="246"/>
                </a:cubicBezTo>
                <a:cubicBezTo>
                  <a:pt x="0" y="144"/>
                  <a:pt x="0" y="144"/>
                  <a:pt x="0" y="144"/>
                </a:cubicBezTo>
                <a:lnTo>
                  <a:pt x="0" y="136"/>
                </a:lnTo>
                <a:cubicBezTo>
                  <a:pt x="17" y="93"/>
                  <a:pt x="43" y="59"/>
                  <a:pt x="85" y="34"/>
                </a:cubicBezTo>
                <a:cubicBezTo>
                  <a:pt x="119" y="9"/>
                  <a:pt x="162" y="0"/>
                  <a:pt x="213" y="0"/>
                </a:cubicBezTo>
                <a:cubicBezTo>
                  <a:pt x="255" y="0"/>
                  <a:pt x="298" y="9"/>
                  <a:pt x="340" y="34"/>
                </a:cubicBezTo>
                <a:cubicBezTo>
                  <a:pt x="374" y="59"/>
                  <a:pt x="408" y="93"/>
                  <a:pt x="416" y="136"/>
                </a:cubicBezTo>
                <a:cubicBezTo>
                  <a:pt x="425" y="136"/>
                  <a:pt x="425" y="144"/>
                  <a:pt x="425" y="144"/>
                </a:cubicBezTo>
                <a:cubicBezTo>
                  <a:pt x="425" y="246"/>
                  <a:pt x="425" y="246"/>
                  <a:pt x="425" y="246"/>
                </a:cubicBezTo>
                <a:cubicBezTo>
                  <a:pt x="425" y="263"/>
                  <a:pt x="408" y="280"/>
                  <a:pt x="391" y="280"/>
                </a:cubicBezTo>
                <a:close/>
                <a:moveTo>
                  <a:pt x="51" y="229"/>
                </a:moveTo>
                <a:lnTo>
                  <a:pt x="51" y="229"/>
                </a:lnTo>
                <a:cubicBezTo>
                  <a:pt x="374" y="229"/>
                  <a:pt x="374" y="229"/>
                  <a:pt x="374" y="229"/>
                </a:cubicBezTo>
                <a:cubicBezTo>
                  <a:pt x="374" y="153"/>
                  <a:pt x="374" y="153"/>
                  <a:pt x="374" y="153"/>
                </a:cubicBezTo>
                <a:cubicBezTo>
                  <a:pt x="357" y="119"/>
                  <a:pt x="340" y="93"/>
                  <a:pt x="314" y="77"/>
                </a:cubicBezTo>
                <a:cubicBezTo>
                  <a:pt x="280" y="59"/>
                  <a:pt x="246" y="43"/>
                  <a:pt x="213" y="43"/>
                </a:cubicBezTo>
                <a:cubicBezTo>
                  <a:pt x="170" y="43"/>
                  <a:pt x="136" y="59"/>
                  <a:pt x="111" y="77"/>
                </a:cubicBezTo>
                <a:cubicBezTo>
                  <a:pt x="85" y="93"/>
                  <a:pt x="60" y="119"/>
                  <a:pt x="51" y="153"/>
                </a:cubicBezTo>
                <a:lnTo>
                  <a:pt x="51" y="229"/>
                </a:lnTo>
                <a:close/>
              </a:path>
            </a:pathLst>
          </a:custGeom>
          <a:solidFill>
            <a:srgbClr val="00416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  <a:latin typeface="Trebuchet"/>
            </a:endParaRPr>
          </a:p>
        </p:txBody>
      </p:sp>
      <p:sp>
        <p:nvSpPr>
          <p:cNvPr id="403" name="CuadroTexto 395">
            <a:extLst>
              <a:ext uri="{FF2B5EF4-FFF2-40B4-BE49-F238E27FC236}">
                <a16:creationId xmlns:a16="http://schemas.microsoft.com/office/drawing/2014/main" id="{79B8F1CF-7E8A-4FE0-8BAF-4760D6184066}"/>
              </a:ext>
            </a:extLst>
          </p:cNvPr>
          <p:cNvSpPr txBox="1"/>
          <p:nvPr userDrawn="1"/>
        </p:nvSpPr>
        <p:spPr>
          <a:xfrm>
            <a:off x="7562158" y="2766582"/>
            <a:ext cx="2249590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esquisa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e </a:t>
            </a:r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Satisfaç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4" name="CuadroTexto 395">
            <a:extLst>
              <a:ext uri="{FF2B5EF4-FFF2-40B4-BE49-F238E27FC236}">
                <a16:creationId xmlns:a16="http://schemas.microsoft.com/office/drawing/2014/main" id="{A1BCD024-7372-46CF-814C-8BC0569CE1E8}"/>
              </a:ext>
            </a:extLst>
          </p:cNvPr>
          <p:cNvSpPr txBox="1"/>
          <p:nvPr userDrawn="1"/>
        </p:nvSpPr>
        <p:spPr>
          <a:xfrm>
            <a:off x="10775350" y="2767122"/>
            <a:ext cx="1758930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Relatório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Final</a:t>
            </a:r>
          </a:p>
        </p:txBody>
      </p:sp>
      <p:sp>
        <p:nvSpPr>
          <p:cNvPr id="405" name="CuadroTexto 395">
            <a:extLst>
              <a:ext uri="{FF2B5EF4-FFF2-40B4-BE49-F238E27FC236}">
                <a16:creationId xmlns:a16="http://schemas.microsoft.com/office/drawing/2014/main" id="{95DDD58E-A317-4E91-8E51-185D92974733}"/>
              </a:ext>
            </a:extLst>
          </p:cNvPr>
          <p:cNvSpPr txBox="1"/>
          <p:nvPr userDrawn="1"/>
        </p:nvSpPr>
        <p:spPr>
          <a:xfrm>
            <a:off x="12987438" y="2767122"/>
            <a:ext cx="3081905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companhamento</a:t>
            </a:r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 das </a:t>
            </a:r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ções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07" name="CuadroTexto 395">
            <a:extLst>
              <a:ext uri="{FF2B5EF4-FFF2-40B4-BE49-F238E27FC236}">
                <a16:creationId xmlns:a16="http://schemas.microsoft.com/office/drawing/2014/main" id="{F851D7B0-C06E-4256-9B76-A3B7965A7FC7}"/>
              </a:ext>
            </a:extLst>
          </p:cNvPr>
          <p:cNvSpPr txBox="1"/>
          <p:nvPr/>
        </p:nvSpPr>
        <p:spPr>
          <a:xfrm>
            <a:off x="7481526" y="5378484"/>
            <a:ext cx="2420158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presentaç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0" name="CuadroTexto 395">
            <a:extLst>
              <a:ext uri="{FF2B5EF4-FFF2-40B4-BE49-F238E27FC236}">
                <a16:creationId xmlns:a16="http://schemas.microsoft.com/office/drawing/2014/main" id="{E0947B8F-13EC-4AEE-B215-504608D02E3A}"/>
              </a:ext>
            </a:extLst>
          </p:cNvPr>
          <p:cNvSpPr txBox="1"/>
          <p:nvPr/>
        </p:nvSpPr>
        <p:spPr>
          <a:xfrm>
            <a:off x="10550342" y="5378484"/>
            <a:ext cx="2128245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Conclusã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13" name="CuadroTexto 395">
            <a:extLst>
              <a:ext uri="{FF2B5EF4-FFF2-40B4-BE49-F238E27FC236}">
                <a16:creationId xmlns:a16="http://schemas.microsoft.com/office/drawing/2014/main" id="{2441EB75-C4C9-46E4-BF8E-21D9963ECEC2}"/>
              </a:ext>
            </a:extLst>
          </p:cNvPr>
          <p:cNvSpPr txBox="1"/>
          <p:nvPr/>
        </p:nvSpPr>
        <p:spPr>
          <a:xfrm>
            <a:off x="13555809" y="5359816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Testes</a:t>
            </a:r>
          </a:p>
        </p:txBody>
      </p:sp>
      <p:sp>
        <p:nvSpPr>
          <p:cNvPr id="416" name="CuadroTexto 395">
            <a:extLst>
              <a:ext uri="{FF2B5EF4-FFF2-40B4-BE49-F238E27FC236}">
                <a16:creationId xmlns:a16="http://schemas.microsoft.com/office/drawing/2014/main" id="{B6B8AAAE-4FEC-4406-B6DD-3789C7298F2F}"/>
              </a:ext>
            </a:extLst>
          </p:cNvPr>
          <p:cNvSpPr txBox="1"/>
          <p:nvPr/>
        </p:nvSpPr>
        <p:spPr>
          <a:xfrm>
            <a:off x="7767739" y="8028248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o</a:t>
            </a:r>
          </a:p>
        </p:txBody>
      </p:sp>
      <p:sp>
        <p:nvSpPr>
          <p:cNvPr id="419" name="CuadroTexto 395">
            <a:extLst>
              <a:ext uri="{FF2B5EF4-FFF2-40B4-BE49-F238E27FC236}">
                <a16:creationId xmlns:a16="http://schemas.microsoft.com/office/drawing/2014/main" id="{7CE93F1D-6021-42E6-AD64-E80F88023975}"/>
              </a:ext>
            </a:extLst>
          </p:cNvPr>
          <p:cNvSpPr txBox="1"/>
          <p:nvPr/>
        </p:nvSpPr>
        <p:spPr>
          <a:xfrm>
            <a:off x="10260125" y="8028248"/>
            <a:ext cx="2714377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Planejamento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2" name="CuadroTexto 395">
            <a:extLst>
              <a:ext uri="{FF2B5EF4-FFF2-40B4-BE49-F238E27FC236}">
                <a16:creationId xmlns:a16="http://schemas.microsoft.com/office/drawing/2014/main" id="{4D8A3DDB-871E-42BC-912B-B301C2332C60}"/>
              </a:ext>
            </a:extLst>
          </p:cNvPr>
          <p:cNvSpPr txBox="1"/>
          <p:nvPr/>
        </p:nvSpPr>
        <p:spPr>
          <a:xfrm>
            <a:off x="13630813" y="8028248"/>
            <a:ext cx="1758930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43808"/>
            <a:r>
              <a:rPr lang="en-US" sz="2646" b="1" err="1">
                <a:solidFill>
                  <a:srgbClr val="353E49"/>
                </a:solidFill>
                <a:latin typeface="Trebuchet"/>
                <a:ea typeface="Lato" charset="0"/>
                <a:cs typeface="Lato" charset="0"/>
              </a:rPr>
              <a:t>Abertura</a:t>
            </a:r>
            <a:endParaRPr lang="en-US" sz="2646" b="1">
              <a:solidFill>
                <a:srgbClr val="353E49"/>
              </a:solidFill>
              <a:latin typeface="Trebuchet"/>
              <a:ea typeface="Lato" charset="0"/>
              <a:cs typeface="Lato" charset="0"/>
            </a:endParaRPr>
          </a:p>
        </p:txBody>
      </p:sp>
      <p:sp>
        <p:nvSpPr>
          <p:cNvPr id="424" name="Freeform 747">
            <a:extLst>
              <a:ext uri="{FF2B5EF4-FFF2-40B4-BE49-F238E27FC236}">
                <a16:creationId xmlns:a16="http://schemas.microsoft.com/office/drawing/2014/main" id="{4783C306-DCB0-42E7-B793-C48B008FB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025026" y="6647479"/>
            <a:ext cx="1197273" cy="1191982"/>
          </a:xfrm>
          <a:custGeom>
            <a:avLst/>
            <a:gdLst>
              <a:gd name="T0" fmla="*/ 510075 w 1570"/>
              <a:gd name="T1" fmla="*/ 564790 h 1571"/>
              <a:gd name="T2" fmla="*/ 510075 w 1570"/>
              <a:gd name="T3" fmla="*/ 564790 h 1571"/>
              <a:gd name="T4" fmla="*/ 52195 w 1570"/>
              <a:gd name="T5" fmla="*/ 564790 h 1571"/>
              <a:gd name="T6" fmla="*/ 0 w 1570"/>
              <a:gd name="T7" fmla="*/ 512988 h 1571"/>
              <a:gd name="T8" fmla="*/ 0 w 1570"/>
              <a:gd name="T9" fmla="*/ 55040 h 1571"/>
              <a:gd name="T10" fmla="*/ 52195 w 1570"/>
              <a:gd name="T11" fmla="*/ 0 h 1571"/>
              <a:gd name="T12" fmla="*/ 510075 w 1570"/>
              <a:gd name="T13" fmla="*/ 0 h 1571"/>
              <a:gd name="T14" fmla="*/ 564790 w 1570"/>
              <a:gd name="T15" fmla="*/ 55040 h 1571"/>
              <a:gd name="T16" fmla="*/ 564790 w 1570"/>
              <a:gd name="T17" fmla="*/ 512988 h 1571"/>
              <a:gd name="T18" fmla="*/ 510075 w 1570"/>
              <a:gd name="T19" fmla="*/ 564790 h 15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0" h="1571">
                <a:moveTo>
                  <a:pt x="1417" y="1570"/>
                </a:moveTo>
                <a:lnTo>
                  <a:pt x="1417" y="1570"/>
                </a:lnTo>
                <a:cubicBezTo>
                  <a:pt x="145" y="1570"/>
                  <a:pt x="145" y="1570"/>
                  <a:pt x="145" y="1570"/>
                </a:cubicBezTo>
                <a:cubicBezTo>
                  <a:pt x="68" y="1570"/>
                  <a:pt x="0" y="1502"/>
                  <a:pt x="0" y="1426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68"/>
                  <a:pt x="68" y="0"/>
                  <a:pt x="145" y="0"/>
                </a:cubicBezTo>
                <a:cubicBezTo>
                  <a:pt x="1417" y="0"/>
                  <a:pt x="1417" y="0"/>
                  <a:pt x="1417" y="0"/>
                </a:cubicBezTo>
                <a:cubicBezTo>
                  <a:pt x="1502" y="0"/>
                  <a:pt x="1569" y="68"/>
                  <a:pt x="1569" y="153"/>
                </a:cubicBezTo>
                <a:cubicBezTo>
                  <a:pt x="1569" y="1426"/>
                  <a:pt x="1569" y="1426"/>
                  <a:pt x="1569" y="1426"/>
                </a:cubicBezTo>
                <a:cubicBezTo>
                  <a:pt x="1569" y="1502"/>
                  <a:pt x="1502" y="1570"/>
                  <a:pt x="1417" y="1570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202B4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5" name="Gráfico 424" descr="Marca de verificação do selo com preenchimento sólido">
            <a:extLst>
              <a:ext uri="{FF2B5EF4-FFF2-40B4-BE49-F238E27FC236}">
                <a16:creationId xmlns:a16="http://schemas.microsoft.com/office/drawing/2014/main" id="{E80A37E3-2EE5-4667-96F5-D5EFE57D0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8890" y="6799451"/>
            <a:ext cx="939063" cy="934913"/>
          </a:xfrm>
          <a:prstGeom prst="rect">
            <a:avLst/>
          </a:prstGeom>
        </p:spPr>
      </p:pic>
      <p:sp>
        <p:nvSpPr>
          <p:cNvPr id="426" name="Freeform 746">
            <a:extLst>
              <a:ext uri="{FF2B5EF4-FFF2-40B4-BE49-F238E27FC236}">
                <a16:creationId xmlns:a16="http://schemas.microsoft.com/office/drawing/2014/main" id="{66F9DD58-260A-4B08-804F-9138455CA9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836506" y="4059269"/>
            <a:ext cx="1197273" cy="1198679"/>
          </a:xfrm>
          <a:custGeom>
            <a:avLst/>
            <a:gdLst>
              <a:gd name="T0" fmla="*/ 512988 w 1571"/>
              <a:gd name="T1" fmla="*/ 567965 h 1578"/>
              <a:gd name="T2" fmla="*/ 512988 w 1571"/>
              <a:gd name="T3" fmla="*/ 567965 h 1578"/>
              <a:gd name="T4" fmla="*/ 55040 w 1571"/>
              <a:gd name="T5" fmla="*/ 567965 h 1578"/>
              <a:gd name="T6" fmla="*/ 0 w 1571"/>
              <a:gd name="T7" fmla="*/ 512861 h 1578"/>
              <a:gd name="T8" fmla="*/ 0 w 1571"/>
              <a:gd name="T9" fmla="*/ 54744 h 1578"/>
              <a:gd name="T10" fmla="*/ 55040 w 1571"/>
              <a:gd name="T11" fmla="*/ 0 h 1578"/>
              <a:gd name="T12" fmla="*/ 512988 w 1571"/>
              <a:gd name="T13" fmla="*/ 0 h 1578"/>
              <a:gd name="T14" fmla="*/ 564790 w 1571"/>
              <a:gd name="T15" fmla="*/ 54744 h 1578"/>
              <a:gd name="T16" fmla="*/ 564790 w 1571"/>
              <a:gd name="T17" fmla="*/ 512861 h 1578"/>
              <a:gd name="T18" fmla="*/ 512988 w 1571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71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0" y="67"/>
                  <a:pt x="1570" y="152"/>
                </a:cubicBezTo>
                <a:cubicBezTo>
                  <a:pt x="1570" y="1424"/>
                  <a:pt x="1570" y="1424"/>
                  <a:pt x="1570" y="1424"/>
                </a:cubicBezTo>
                <a:cubicBezTo>
                  <a:pt x="1570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8AABCA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27" name="Gráfico 426" descr="Análise do cliente com preenchimento sólido">
            <a:extLst>
              <a:ext uri="{FF2B5EF4-FFF2-40B4-BE49-F238E27FC236}">
                <a16:creationId xmlns:a16="http://schemas.microsoft.com/office/drawing/2014/main" id="{4CA941C0-45E4-48D2-A80A-E5C6E802D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9163" y="4225592"/>
            <a:ext cx="851955" cy="848189"/>
          </a:xfrm>
          <a:prstGeom prst="rect">
            <a:avLst/>
          </a:prstGeom>
        </p:spPr>
      </p:pic>
      <p:pic>
        <p:nvPicPr>
          <p:cNvPr id="428" name="Gráfico 427" descr="Apresentação com lista de verificação com preenchimento sólido">
            <a:extLst>
              <a:ext uri="{FF2B5EF4-FFF2-40B4-BE49-F238E27FC236}">
                <a16:creationId xmlns:a16="http://schemas.microsoft.com/office/drawing/2014/main" id="{293E3D97-C3CF-413A-A942-75202E79EA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49434" y="4221502"/>
            <a:ext cx="851955" cy="848189"/>
          </a:xfrm>
          <a:prstGeom prst="rect">
            <a:avLst/>
          </a:prstGeom>
        </p:spPr>
      </p:pic>
      <p:sp>
        <p:nvSpPr>
          <p:cNvPr id="429" name="Line 551">
            <a:extLst>
              <a:ext uri="{FF2B5EF4-FFF2-40B4-BE49-F238E27FC236}">
                <a16:creationId xmlns:a16="http://schemas.microsoft.com/office/drawing/2014/main" id="{036000FA-7E43-45DA-963D-2407AF86D98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918840" y="7280179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0" name="Line 552">
            <a:extLst>
              <a:ext uri="{FF2B5EF4-FFF2-40B4-BE49-F238E27FC236}">
                <a16:creationId xmlns:a16="http://schemas.microsoft.com/office/drawing/2014/main" id="{0A8742C1-6B96-46D0-B81A-86F6901140A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713691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1" name="Line 553">
            <a:extLst>
              <a:ext uri="{FF2B5EF4-FFF2-40B4-BE49-F238E27FC236}">
                <a16:creationId xmlns:a16="http://schemas.microsoft.com/office/drawing/2014/main" id="{123518FE-426F-419A-BE07-8B36031F8173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505178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2" name="Line 554">
            <a:extLst>
              <a:ext uri="{FF2B5EF4-FFF2-40B4-BE49-F238E27FC236}">
                <a16:creationId xmlns:a16="http://schemas.microsoft.com/office/drawing/2014/main" id="{0EA0BB59-C4E4-4042-A760-84BC1D215BD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296663" y="7280179"/>
            <a:ext cx="110982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3" name="Line 555">
            <a:extLst>
              <a:ext uri="{FF2B5EF4-FFF2-40B4-BE49-F238E27FC236}">
                <a16:creationId xmlns:a16="http://schemas.microsoft.com/office/drawing/2014/main" id="{A26B4481-C68F-4E41-A208-74C54C5F4771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4091511" y="7280179"/>
            <a:ext cx="110985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4" name="Line 648">
            <a:extLst>
              <a:ext uri="{FF2B5EF4-FFF2-40B4-BE49-F238E27FC236}">
                <a16:creationId xmlns:a16="http://schemas.microsoft.com/office/drawing/2014/main" id="{E84E94BE-A2CE-4434-9E4B-44DF3FA4A9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148685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5" name="Line 649">
            <a:extLst>
              <a:ext uri="{FF2B5EF4-FFF2-40B4-BE49-F238E27FC236}">
                <a16:creationId xmlns:a16="http://schemas.microsoft.com/office/drawing/2014/main" id="{B0A5A7EE-8140-4D7C-8383-474D2B6B9A8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353836" y="7280179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6" name="Line 650">
            <a:extLst>
              <a:ext uri="{FF2B5EF4-FFF2-40B4-BE49-F238E27FC236}">
                <a16:creationId xmlns:a16="http://schemas.microsoft.com/office/drawing/2014/main" id="{DF5F3856-B351-464F-93B1-63B51A4AE60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562350" y="7280179"/>
            <a:ext cx="104258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7" name="Line 651">
            <a:extLst>
              <a:ext uri="{FF2B5EF4-FFF2-40B4-BE49-F238E27FC236}">
                <a16:creationId xmlns:a16="http://schemas.microsoft.com/office/drawing/2014/main" id="{E4F5D741-4D83-4BA7-A9C6-A26AF3B9E1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767501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8" name="Line 652">
            <a:extLst>
              <a:ext uri="{FF2B5EF4-FFF2-40B4-BE49-F238E27FC236}">
                <a16:creationId xmlns:a16="http://schemas.microsoft.com/office/drawing/2014/main" id="{11B78DA9-5BF0-471E-8A4F-986B14F590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4976014" y="7280179"/>
            <a:ext cx="104257" cy="3350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39" name="Freeform 745">
            <a:extLst>
              <a:ext uri="{FF2B5EF4-FFF2-40B4-BE49-F238E27FC236}">
                <a16:creationId xmlns:a16="http://schemas.microsoft.com/office/drawing/2014/main" id="{84BF3944-148B-42A1-A7A9-27B2185139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7522" y="6680841"/>
            <a:ext cx="1204000" cy="1198679"/>
          </a:xfrm>
          <a:custGeom>
            <a:avLst/>
            <a:gdLst>
              <a:gd name="T0" fmla="*/ 512931 w 1580"/>
              <a:gd name="T1" fmla="*/ 567965 h 1578"/>
              <a:gd name="T2" fmla="*/ 512931 w 1580"/>
              <a:gd name="T3" fmla="*/ 567965 h 1578"/>
              <a:gd name="T4" fmla="*/ 55034 w 1580"/>
              <a:gd name="T5" fmla="*/ 567965 h 1578"/>
              <a:gd name="T6" fmla="*/ 0 w 1580"/>
              <a:gd name="T7" fmla="*/ 512861 h 1578"/>
              <a:gd name="T8" fmla="*/ 0 w 1580"/>
              <a:gd name="T9" fmla="*/ 54744 h 1578"/>
              <a:gd name="T10" fmla="*/ 55034 w 1580"/>
              <a:gd name="T11" fmla="*/ 0 h 1578"/>
              <a:gd name="T12" fmla="*/ 512931 w 1580"/>
              <a:gd name="T13" fmla="*/ 0 h 1578"/>
              <a:gd name="T14" fmla="*/ 567965 w 1580"/>
              <a:gd name="T15" fmla="*/ 54744 h 1578"/>
              <a:gd name="T16" fmla="*/ 567965 w 1580"/>
              <a:gd name="T17" fmla="*/ 512861 h 1578"/>
              <a:gd name="T18" fmla="*/ 512931 w 1580"/>
              <a:gd name="T19" fmla="*/ 567965 h 157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0" h="1578">
                <a:moveTo>
                  <a:pt x="1426" y="1577"/>
                </a:moveTo>
                <a:lnTo>
                  <a:pt x="1426" y="1577"/>
                </a:lnTo>
                <a:cubicBezTo>
                  <a:pt x="153" y="1577"/>
                  <a:pt x="153" y="1577"/>
                  <a:pt x="153" y="1577"/>
                </a:cubicBezTo>
                <a:cubicBezTo>
                  <a:pt x="68" y="1577"/>
                  <a:pt x="0" y="1509"/>
                  <a:pt x="0" y="14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67"/>
                  <a:pt x="68" y="0"/>
                  <a:pt x="153" y="0"/>
                </a:cubicBezTo>
                <a:cubicBezTo>
                  <a:pt x="1426" y="0"/>
                  <a:pt x="1426" y="0"/>
                  <a:pt x="1426" y="0"/>
                </a:cubicBezTo>
                <a:cubicBezTo>
                  <a:pt x="1511" y="0"/>
                  <a:pt x="1579" y="67"/>
                  <a:pt x="1579" y="152"/>
                </a:cubicBezTo>
                <a:cubicBezTo>
                  <a:pt x="1579" y="1424"/>
                  <a:pt x="1579" y="1424"/>
                  <a:pt x="1579" y="1424"/>
                </a:cubicBezTo>
                <a:cubicBezTo>
                  <a:pt x="1579" y="1509"/>
                  <a:pt x="1511" y="1577"/>
                  <a:pt x="1426" y="1577"/>
                </a:cubicBezTo>
              </a:path>
            </a:pathLst>
          </a:custGeom>
          <a:solidFill>
            <a:srgbClr val="FFFFFF"/>
          </a:solidFill>
          <a:ln w="38100" cap="flat">
            <a:solidFill>
              <a:srgbClr val="006298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0" name="Freeform 966">
            <a:extLst>
              <a:ext uri="{FF2B5EF4-FFF2-40B4-BE49-F238E27FC236}">
                <a16:creationId xmlns:a16="http://schemas.microsoft.com/office/drawing/2014/main" id="{0FA8A307-33F5-42B8-944C-8428255AF0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458093" y="6814772"/>
            <a:ext cx="319496" cy="800234"/>
          </a:xfrm>
          <a:custGeom>
            <a:avLst/>
            <a:gdLst>
              <a:gd name="T0" fmla="*/ 122964 w 417"/>
              <a:gd name="T1" fmla="*/ 379052 h 1053"/>
              <a:gd name="T2" fmla="*/ 122964 w 417"/>
              <a:gd name="T3" fmla="*/ 379052 h 1053"/>
              <a:gd name="T4" fmla="*/ 27848 w 417"/>
              <a:gd name="T5" fmla="*/ 379052 h 1053"/>
              <a:gd name="T6" fmla="*/ 15551 w 417"/>
              <a:gd name="T7" fmla="*/ 366801 h 1053"/>
              <a:gd name="T8" fmla="*/ 6148 w 417"/>
              <a:gd name="T9" fmla="*/ 256905 h 1053"/>
              <a:gd name="T10" fmla="*/ 58589 w 417"/>
              <a:gd name="T11" fmla="*/ 21259 h 1053"/>
              <a:gd name="T12" fmla="*/ 64737 w 417"/>
              <a:gd name="T13" fmla="*/ 6125 h 1053"/>
              <a:gd name="T14" fmla="*/ 73779 w 417"/>
              <a:gd name="T15" fmla="*/ 0 h 1053"/>
              <a:gd name="T16" fmla="*/ 73779 w 417"/>
              <a:gd name="T17" fmla="*/ 0 h 1053"/>
              <a:gd name="T18" fmla="*/ 83182 w 417"/>
              <a:gd name="T19" fmla="*/ 6125 h 1053"/>
              <a:gd name="T20" fmla="*/ 86075 w 417"/>
              <a:gd name="T21" fmla="*/ 12251 h 1053"/>
              <a:gd name="T22" fmla="*/ 141409 w 417"/>
              <a:gd name="T23" fmla="*/ 269156 h 1053"/>
              <a:gd name="T24" fmla="*/ 132006 w 417"/>
              <a:gd name="T25" fmla="*/ 269156 h 1053"/>
              <a:gd name="T26" fmla="*/ 141409 w 417"/>
              <a:gd name="T27" fmla="*/ 269156 h 1053"/>
              <a:gd name="T28" fmla="*/ 132006 w 417"/>
              <a:gd name="T29" fmla="*/ 370044 h 1053"/>
              <a:gd name="T30" fmla="*/ 122964 w 417"/>
              <a:gd name="T31" fmla="*/ 379052 h 1053"/>
              <a:gd name="T32" fmla="*/ 36889 w 417"/>
              <a:gd name="T33" fmla="*/ 357793 h 1053"/>
              <a:gd name="T34" fmla="*/ 36889 w 417"/>
              <a:gd name="T35" fmla="*/ 357793 h 1053"/>
              <a:gd name="T36" fmla="*/ 113561 w 417"/>
              <a:gd name="T37" fmla="*/ 357793 h 1053"/>
              <a:gd name="T38" fmla="*/ 122964 w 417"/>
              <a:gd name="T39" fmla="*/ 269156 h 1053"/>
              <a:gd name="T40" fmla="*/ 73779 w 417"/>
              <a:gd name="T41" fmla="*/ 33509 h 1053"/>
              <a:gd name="T42" fmla="*/ 27848 w 417"/>
              <a:gd name="T43" fmla="*/ 253662 h 1053"/>
              <a:gd name="T44" fmla="*/ 36889 w 417"/>
              <a:gd name="T45" fmla="*/ 357793 h 105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17" h="1053">
                <a:moveTo>
                  <a:pt x="340" y="1052"/>
                </a:moveTo>
                <a:lnTo>
                  <a:pt x="340" y="1052"/>
                </a:lnTo>
                <a:cubicBezTo>
                  <a:pt x="77" y="1052"/>
                  <a:pt x="77" y="1052"/>
                  <a:pt x="77" y="1052"/>
                </a:cubicBezTo>
                <a:cubicBezTo>
                  <a:pt x="60" y="1052"/>
                  <a:pt x="43" y="1035"/>
                  <a:pt x="43" y="1018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501"/>
                  <a:pt x="51" y="280"/>
                  <a:pt x="162" y="59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7" y="8"/>
                  <a:pt x="196" y="0"/>
                  <a:pt x="204" y="0"/>
                </a:cubicBezTo>
                <a:cubicBezTo>
                  <a:pt x="213" y="0"/>
                  <a:pt x="230" y="8"/>
                  <a:pt x="230" y="17"/>
                </a:cubicBezTo>
                <a:cubicBezTo>
                  <a:pt x="238" y="34"/>
                  <a:pt x="238" y="34"/>
                  <a:pt x="238" y="34"/>
                </a:cubicBezTo>
                <a:cubicBezTo>
                  <a:pt x="365" y="254"/>
                  <a:pt x="416" y="501"/>
                  <a:pt x="391" y="747"/>
                </a:cubicBezTo>
                <a:cubicBezTo>
                  <a:pt x="365" y="747"/>
                  <a:pt x="365" y="747"/>
                  <a:pt x="365" y="747"/>
                </a:cubicBezTo>
                <a:cubicBezTo>
                  <a:pt x="391" y="747"/>
                  <a:pt x="391" y="747"/>
                  <a:pt x="391" y="747"/>
                </a:cubicBezTo>
                <a:cubicBezTo>
                  <a:pt x="365" y="1027"/>
                  <a:pt x="365" y="1027"/>
                  <a:pt x="365" y="1027"/>
                </a:cubicBezTo>
                <a:cubicBezTo>
                  <a:pt x="365" y="1035"/>
                  <a:pt x="357" y="1052"/>
                  <a:pt x="340" y="1052"/>
                </a:cubicBezTo>
                <a:close/>
                <a:moveTo>
                  <a:pt x="102" y="993"/>
                </a:moveTo>
                <a:lnTo>
                  <a:pt x="102" y="993"/>
                </a:lnTo>
                <a:cubicBezTo>
                  <a:pt x="314" y="993"/>
                  <a:pt x="314" y="993"/>
                  <a:pt x="314" y="993"/>
                </a:cubicBezTo>
                <a:cubicBezTo>
                  <a:pt x="340" y="747"/>
                  <a:pt x="340" y="747"/>
                  <a:pt x="340" y="747"/>
                </a:cubicBezTo>
                <a:cubicBezTo>
                  <a:pt x="357" y="518"/>
                  <a:pt x="314" y="297"/>
                  <a:pt x="204" y="93"/>
                </a:cubicBezTo>
                <a:cubicBezTo>
                  <a:pt x="102" y="297"/>
                  <a:pt x="60" y="501"/>
                  <a:pt x="77" y="704"/>
                </a:cubicBezTo>
                <a:lnTo>
                  <a:pt x="102" y="993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1" name="Freeform 967">
            <a:extLst>
              <a:ext uri="{FF2B5EF4-FFF2-40B4-BE49-F238E27FC236}">
                <a16:creationId xmlns:a16="http://schemas.microsoft.com/office/drawing/2014/main" id="{318E693C-FF7B-45C1-A48E-79C090D4C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690147" y="7397370"/>
            <a:ext cx="161430" cy="348220"/>
          </a:xfrm>
          <a:custGeom>
            <a:avLst/>
            <a:gdLst>
              <a:gd name="T0" fmla="*/ 66899 w 213"/>
              <a:gd name="T1" fmla="*/ 164740 h 458"/>
              <a:gd name="T2" fmla="*/ 66899 w 213"/>
              <a:gd name="T3" fmla="*/ 164740 h 458"/>
              <a:gd name="T4" fmla="*/ 57597 w 213"/>
              <a:gd name="T5" fmla="*/ 161495 h 458"/>
              <a:gd name="T6" fmla="*/ 2862 w 213"/>
              <a:gd name="T7" fmla="*/ 94806 h 458"/>
              <a:gd name="T8" fmla="*/ 6082 w 213"/>
              <a:gd name="T9" fmla="*/ 79306 h 458"/>
              <a:gd name="T10" fmla="*/ 21107 w 213"/>
              <a:gd name="T11" fmla="*/ 79306 h 458"/>
              <a:gd name="T12" fmla="*/ 54735 w 213"/>
              <a:gd name="T13" fmla="*/ 125447 h 458"/>
              <a:gd name="T14" fmla="*/ 54735 w 213"/>
              <a:gd name="T15" fmla="*/ 107063 h 458"/>
              <a:gd name="T16" fmla="*/ 8944 w 213"/>
              <a:gd name="T17" fmla="*/ 18024 h 458"/>
              <a:gd name="T18" fmla="*/ 15025 w 213"/>
              <a:gd name="T19" fmla="*/ 2884 h 458"/>
              <a:gd name="T20" fmla="*/ 27189 w 213"/>
              <a:gd name="T21" fmla="*/ 9012 h 458"/>
              <a:gd name="T22" fmla="*/ 75842 w 213"/>
              <a:gd name="T23" fmla="*/ 100934 h 458"/>
              <a:gd name="T24" fmla="*/ 75842 w 213"/>
              <a:gd name="T25" fmla="*/ 103818 h 458"/>
              <a:gd name="T26" fmla="*/ 75842 w 213"/>
              <a:gd name="T27" fmla="*/ 155728 h 458"/>
              <a:gd name="T28" fmla="*/ 69761 w 213"/>
              <a:gd name="T29" fmla="*/ 164740 h 458"/>
              <a:gd name="T30" fmla="*/ 66899 w 213"/>
              <a:gd name="T31" fmla="*/ 164740 h 4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13" h="458">
                <a:moveTo>
                  <a:pt x="187" y="457"/>
                </a:moveTo>
                <a:lnTo>
                  <a:pt x="187" y="457"/>
                </a:lnTo>
                <a:cubicBezTo>
                  <a:pt x="178" y="457"/>
                  <a:pt x="170" y="457"/>
                  <a:pt x="161" y="448"/>
                </a:cubicBezTo>
                <a:cubicBezTo>
                  <a:pt x="8" y="263"/>
                  <a:pt x="8" y="263"/>
                  <a:pt x="8" y="263"/>
                </a:cubicBezTo>
                <a:cubicBezTo>
                  <a:pt x="0" y="246"/>
                  <a:pt x="8" y="229"/>
                  <a:pt x="17" y="220"/>
                </a:cubicBezTo>
                <a:cubicBezTo>
                  <a:pt x="25" y="212"/>
                  <a:pt x="51" y="212"/>
                  <a:pt x="59" y="220"/>
                </a:cubicBezTo>
                <a:cubicBezTo>
                  <a:pt x="153" y="348"/>
                  <a:pt x="153" y="348"/>
                  <a:pt x="153" y="348"/>
                </a:cubicBezTo>
                <a:cubicBezTo>
                  <a:pt x="153" y="297"/>
                  <a:pt x="153" y="297"/>
                  <a:pt x="153" y="297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34"/>
                  <a:pt x="25" y="17"/>
                  <a:pt x="42" y="8"/>
                </a:cubicBezTo>
                <a:cubicBezTo>
                  <a:pt x="59" y="0"/>
                  <a:pt x="76" y="8"/>
                  <a:pt x="76" y="25"/>
                </a:cubicBezTo>
                <a:cubicBezTo>
                  <a:pt x="212" y="280"/>
                  <a:pt x="212" y="280"/>
                  <a:pt x="212" y="280"/>
                </a:cubicBezTo>
                <a:lnTo>
                  <a:pt x="212" y="288"/>
                </a:lnTo>
                <a:cubicBezTo>
                  <a:pt x="212" y="432"/>
                  <a:pt x="212" y="432"/>
                  <a:pt x="212" y="432"/>
                </a:cubicBezTo>
                <a:cubicBezTo>
                  <a:pt x="212" y="440"/>
                  <a:pt x="204" y="448"/>
                  <a:pt x="195" y="457"/>
                </a:cubicBezTo>
                <a:cubicBezTo>
                  <a:pt x="187" y="457"/>
                  <a:pt x="187" y="457"/>
                  <a:pt x="187" y="457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2" name="Freeform 968">
            <a:extLst>
              <a:ext uri="{FF2B5EF4-FFF2-40B4-BE49-F238E27FC236}">
                <a16:creationId xmlns:a16="http://schemas.microsoft.com/office/drawing/2014/main" id="{B65F1AA9-E852-4BF4-8125-BAB18721D1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387466" y="7400717"/>
            <a:ext cx="147978" cy="341523"/>
          </a:xfrm>
          <a:custGeom>
            <a:avLst/>
            <a:gdLst>
              <a:gd name="T0" fmla="*/ 8909 w 196"/>
              <a:gd name="T1" fmla="*/ 161565 h 450"/>
              <a:gd name="T2" fmla="*/ 8909 w 196"/>
              <a:gd name="T3" fmla="*/ 161565 h 450"/>
              <a:gd name="T4" fmla="*/ 6058 w 196"/>
              <a:gd name="T5" fmla="*/ 161565 h 450"/>
              <a:gd name="T6" fmla="*/ 0 w 196"/>
              <a:gd name="T7" fmla="*/ 152569 h 450"/>
              <a:gd name="T8" fmla="*/ 0 w 196"/>
              <a:gd name="T9" fmla="*/ 100753 h 450"/>
              <a:gd name="T10" fmla="*/ 0 w 196"/>
              <a:gd name="T11" fmla="*/ 97875 h 450"/>
              <a:gd name="T12" fmla="*/ 45260 w 196"/>
              <a:gd name="T13" fmla="*/ 9356 h 450"/>
              <a:gd name="T14" fmla="*/ 57377 w 196"/>
              <a:gd name="T15" fmla="*/ 3239 h 450"/>
              <a:gd name="T16" fmla="*/ 63435 w 196"/>
              <a:gd name="T17" fmla="*/ 18352 h 450"/>
              <a:gd name="T18" fmla="*/ 18175 w 196"/>
              <a:gd name="T19" fmla="*/ 103992 h 450"/>
              <a:gd name="T20" fmla="*/ 18175 w 196"/>
              <a:gd name="T21" fmla="*/ 122343 h 450"/>
              <a:gd name="T22" fmla="*/ 51318 w 196"/>
              <a:gd name="T23" fmla="*/ 82402 h 450"/>
              <a:gd name="T24" fmla="*/ 63435 w 196"/>
              <a:gd name="T25" fmla="*/ 79523 h 450"/>
              <a:gd name="T26" fmla="*/ 66643 w 196"/>
              <a:gd name="T27" fmla="*/ 94636 h 450"/>
              <a:gd name="T28" fmla="*/ 18175 w 196"/>
              <a:gd name="T29" fmla="*/ 158327 h 450"/>
              <a:gd name="T30" fmla="*/ 8909 w 196"/>
              <a:gd name="T31" fmla="*/ 161565 h 4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6" h="450">
                <a:moveTo>
                  <a:pt x="25" y="449"/>
                </a:moveTo>
                <a:lnTo>
                  <a:pt x="25" y="449"/>
                </a:lnTo>
                <a:lnTo>
                  <a:pt x="17" y="449"/>
                </a:lnTo>
                <a:cubicBezTo>
                  <a:pt x="8" y="440"/>
                  <a:pt x="0" y="432"/>
                  <a:pt x="0" y="424"/>
                </a:cubicBezTo>
                <a:cubicBezTo>
                  <a:pt x="0" y="280"/>
                  <a:pt x="0" y="280"/>
                  <a:pt x="0" y="280"/>
                </a:cubicBezTo>
                <a:lnTo>
                  <a:pt x="0" y="272"/>
                </a:lnTo>
                <a:cubicBezTo>
                  <a:pt x="127" y="26"/>
                  <a:pt x="127" y="26"/>
                  <a:pt x="127" y="26"/>
                </a:cubicBezTo>
                <a:cubicBezTo>
                  <a:pt x="127" y="9"/>
                  <a:pt x="144" y="0"/>
                  <a:pt x="161" y="9"/>
                </a:cubicBezTo>
                <a:cubicBezTo>
                  <a:pt x="178" y="17"/>
                  <a:pt x="178" y="34"/>
                  <a:pt x="178" y="51"/>
                </a:cubicBezTo>
                <a:cubicBezTo>
                  <a:pt x="51" y="289"/>
                  <a:pt x="51" y="289"/>
                  <a:pt x="51" y="289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144" y="229"/>
                  <a:pt x="144" y="229"/>
                  <a:pt x="144" y="229"/>
                </a:cubicBezTo>
                <a:cubicBezTo>
                  <a:pt x="153" y="212"/>
                  <a:pt x="170" y="212"/>
                  <a:pt x="178" y="221"/>
                </a:cubicBezTo>
                <a:cubicBezTo>
                  <a:pt x="195" y="238"/>
                  <a:pt x="195" y="255"/>
                  <a:pt x="187" y="263"/>
                </a:cubicBezTo>
                <a:cubicBezTo>
                  <a:pt x="51" y="440"/>
                  <a:pt x="51" y="440"/>
                  <a:pt x="51" y="440"/>
                </a:cubicBezTo>
                <a:cubicBezTo>
                  <a:pt x="42" y="449"/>
                  <a:pt x="34" y="449"/>
                  <a:pt x="25" y="449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3" name="Freeform 969">
            <a:extLst>
              <a:ext uri="{FF2B5EF4-FFF2-40B4-BE49-F238E27FC236}">
                <a16:creationId xmlns:a16="http://schemas.microsoft.com/office/drawing/2014/main" id="{BF2A7272-F818-4738-984B-B5409FB1C7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48896" y="7568129"/>
            <a:ext cx="137890" cy="83708"/>
          </a:xfrm>
          <a:custGeom>
            <a:avLst/>
            <a:gdLst>
              <a:gd name="T0" fmla="*/ 55325 w 180"/>
              <a:gd name="T1" fmla="*/ 39330 h 111"/>
              <a:gd name="T2" fmla="*/ 55325 w 180"/>
              <a:gd name="T3" fmla="*/ 39330 h 111"/>
              <a:gd name="T4" fmla="*/ 9402 w 180"/>
              <a:gd name="T5" fmla="*/ 39330 h 111"/>
              <a:gd name="T6" fmla="*/ 0 w 180"/>
              <a:gd name="T7" fmla="*/ 30392 h 111"/>
              <a:gd name="T8" fmla="*/ 0 w 180"/>
              <a:gd name="T9" fmla="*/ 8939 h 111"/>
              <a:gd name="T10" fmla="*/ 9402 w 180"/>
              <a:gd name="T11" fmla="*/ 0 h 111"/>
              <a:gd name="T12" fmla="*/ 55325 w 180"/>
              <a:gd name="T13" fmla="*/ 0 h 111"/>
              <a:gd name="T14" fmla="*/ 64726 w 180"/>
              <a:gd name="T15" fmla="*/ 8939 h 111"/>
              <a:gd name="T16" fmla="*/ 64726 w 180"/>
              <a:gd name="T17" fmla="*/ 30392 h 111"/>
              <a:gd name="T18" fmla="*/ 55325 w 180"/>
              <a:gd name="T19" fmla="*/ 39330 h 111"/>
              <a:gd name="T20" fmla="*/ 18442 w 180"/>
              <a:gd name="T21" fmla="*/ 21095 h 111"/>
              <a:gd name="T22" fmla="*/ 18442 w 180"/>
              <a:gd name="T23" fmla="*/ 21095 h 111"/>
              <a:gd name="T24" fmla="*/ 45923 w 180"/>
              <a:gd name="T25" fmla="*/ 21095 h 111"/>
              <a:gd name="T26" fmla="*/ 45923 w 180"/>
              <a:gd name="T27" fmla="*/ 21095 h 111"/>
              <a:gd name="T28" fmla="*/ 18442 w 180"/>
              <a:gd name="T29" fmla="*/ 21095 h 11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0" h="111">
                <a:moveTo>
                  <a:pt x="153" y="110"/>
                </a:moveTo>
                <a:lnTo>
                  <a:pt x="153" y="110"/>
                </a:lnTo>
                <a:cubicBezTo>
                  <a:pt x="26" y="110"/>
                  <a:pt x="26" y="110"/>
                  <a:pt x="26" y="110"/>
                </a:cubicBezTo>
                <a:cubicBezTo>
                  <a:pt x="9" y="110"/>
                  <a:pt x="0" y="102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9" y="0"/>
                  <a:pt x="2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70" y="0"/>
                  <a:pt x="179" y="8"/>
                  <a:pt x="179" y="25"/>
                </a:cubicBezTo>
                <a:cubicBezTo>
                  <a:pt x="179" y="85"/>
                  <a:pt x="179" y="85"/>
                  <a:pt x="179" y="85"/>
                </a:cubicBezTo>
                <a:cubicBezTo>
                  <a:pt x="179" y="102"/>
                  <a:pt x="170" y="110"/>
                  <a:pt x="153" y="110"/>
                </a:cubicBezTo>
                <a:close/>
                <a:moveTo>
                  <a:pt x="51" y="59"/>
                </a:moveTo>
                <a:lnTo>
                  <a:pt x="51" y="59"/>
                </a:lnTo>
                <a:cubicBezTo>
                  <a:pt x="127" y="59"/>
                  <a:pt x="127" y="59"/>
                  <a:pt x="127" y="59"/>
                </a:cubicBezTo>
                <a:cubicBezTo>
                  <a:pt x="51" y="59"/>
                  <a:pt x="51" y="59"/>
                  <a:pt x="51" y="59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4" name="Freeform 970">
            <a:extLst>
              <a:ext uri="{FF2B5EF4-FFF2-40B4-BE49-F238E27FC236}">
                <a16:creationId xmlns:a16="http://schemas.microsoft.com/office/drawing/2014/main" id="{6C5E4509-8C8D-414C-88C5-5798DB3879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55622" y="7052497"/>
            <a:ext cx="124437" cy="123887"/>
          </a:xfrm>
          <a:custGeom>
            <a:avLst/>
            <a:gdLst>
              <a:gd name="T0" fmla="*/ 30819 w 162"/>
              <a:gd name="T1" fmla="*/ 58375 h 162"/>
              <a:gd name="T2" fmla="*/ 30819 w 162"/>
              <a:gd name="T3" fmla="*/ 58375 h 162"/>
              <a:gd name="T4" fmla="*/ 0 w 162"/>
              <a:gd name="T5" fmla="*/ 27556 h 162"/>
              <a:gd name="T6" fmla="*/ 30819 w 162"/>
              <a:gd name="T7" fmla="*/ 0 h 162"/>
              <a:gd name="T8" fmla="*/ 58375 w 162"/>
              <a:gd name="T9" fmla="*/ 27556 h 162"/>
              <a:gd name="T10" fmla="*/ 30819 w 162"/>
              <a:gd name="T11" fmla="*/ 58375 h 162"/>
              <a:gd name="T12" fmla="*/ 30819 w 162"/>
              <a:gd name="T13" fmla="*/ 18492 h 162"/>
              <a:gd name="T14" fmla="*/ 30819 w 162"/>
              <a:gd name="T15" fmla="*/ 18492 h 162"/>
              <a:gd name="T16" fmla="*/ 18492 w 162"/>
              <a:gd name="T17" fmla="*/ 27556 h 162"/>
              <a:gd name="T18" fmla="*/ 30819 w 162"/>
              <a:gd name="T19" fmla="*/ 39884 h 162"/>
              <a:gd name="T20" fmla="*/ 39884 w 162"/>
              <a:gd name="T21" fmla="*/ 27556 h 162"/>
              <a:gd name="T22" fmla="*/ 30819 w 162"/>
              <a:gd name="T23" fmla="*/ 18492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62" h="162">
                <a:moveTo>
                  <a:pt x="85" y="161"/>
                </a:moveTo>
                <a:lnTo>
                  <a:pt x="85" y="161"/>
                </a:lnTo>
                <a:cubicBezTo>
                  <a:pt x="34" y="161"/>
                  <a:pt x="0" y="127"/>
                  <a:pt x="0" y="76"/>
                </a:cubicBezTo>
                <a:cubicBezTo>
                  <a:pt x="0" y="34"/>
                  <a:pt x="34" y="0"/>
                  <a:pt x="85" y="0"/>
                </a:cubicBezTo>
                <a:cubicBezTo>
                  <a:pt x="127" y="0"/>
                  <a:pt x="161" y="34"/>
                  <a:pt x="161" y="76"/>
                </a:cubicBezTo>
                <a:cubicBezTo>
                  <a:pt x="161" y="127"/>
                  <a:pt x="127" y="161"/>
                  <a:pt x="85" y="161"/>
                </a:cubicBezTo>
                <a:close/>
                <a:moveTo>
                  <a:pt x="85" y="51"/>
                </a:moveTo>
                <a:lnTo>
                  <a:pt x="85" y="51"/>
                </a:lnTo>
                <a:cubicBezTo>
                  <a:pt x="68" y="51"/>
                  <a:pt x="51" y="68"/>
                  <a:pt x="51" y="76"/>
                </a:cubicBezTo>
                <a:cubicBezTo>
                  <a:pt x="51" y="93"/>
                  <a:pt x="68" y="110"/>
                  <a:pt x="85" y="110"/>
                </a:cubicBezTo>
                <a:cubicBezTo>
                  <a:pt x="93" y="110"/>
                  <a:pt x="110" y="93"/>
                  <a:pt x="110" y="76"/>
                </a:cubicBezTo>
                <a:cubicBezTo>
                  <a:pt x="110" y="68"/>
                  <a:pt x="93" y="51"/>
                  <a:pt x="85" y="51"/>
                </a:cubicBezTo>
                <a:close/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sp>
        <p:nvSpPr>
          <p:cNvPr id="445" name="Freeform 971">
            <a:extLst>
              <a:ext uri="{FF2B5EF4-FFF2-40B4-BE49-F238E27FC236}">
                <a16:creationId xmlns:a16="http://schemas.microsoft.com/office/drawing/2014/main" id="{C5694439-A9C1-4665-8ABB-C32C0DD8B2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92617" y="7407412"/>
            <a:ext cx="47083" cy="334827"/>
          </a:xfrm>
          <a:custGeom>
            <a:avLst/>
            <a:gdLst>
              <a:gd name="T0" fmla="*/ 9260 w 60"/>
              <a:gd name="T1" fmla="*/ 158390 h 441"/>
              <a:gd name="T2" fmla="*/ 9260 w 60"/>
              <a:gd name="T3" fmla="*/ 158390 h 441"/>
              <a:gd name="T4" fmla="*/ 0 w 60"/>
              <a:gd name="T5" fmla="*/ 149391 h 441"/>
              <a:gd name="T6" fmla="*/ 0 w 60"/>
              <a:gd name="T7" fmla="*/ 8999 h 441"/>
              <a:gd name="T8" fmla="*/ 9260 w 60"/>
              <a:gd name="T9" fmla="*/ 0 h 441"/>
              <a:gd name="T10" fmla="*/ 21855 w 60"/>
              <a:gd name="T11" fmla="*/ 8999 h 441"/>
              <a:gd name="T12" fmla="*/ 21855 w 60"/>
              <a:gd name="T13" fmla="*/ 149391 h 441"/>
              <a:gd name="T14" fmla="*/ 9260 w 60"/>
              <a:gd name="T15" fmla="*/ 158390 h 4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0" h="441">
                <a:moveTo>
                  <a:pt x="25" y="440"/>
                </a:moveTo>
                <a:lnTo>
                  <a:pt x="25" y="440"/>
                </a:lnTo>
                <a:cubicBezTo>
                  <a:pt x="17" y="440"/>
                  <a:pt x="0" y="431"/>
                  <a:pt x="0" y="4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8"/>
                  <a:pt x="17" y="0"/>
                  <a:pt x="25" y="0"/>
                </a:cubicBezTo>
                <a:cubicBezTo>
                  <a:pt x="42" y="0"/>
                  <a:pt x="59" y="8"/>
                  <a:pt x="59" y="25"/>
                </a:cubicBezTo>
                <a:cubicBezTo>
                  <a:pt x="59" y="415"/>
                  <a:pt x="59" y="415"/>
                  <a:pt x="59" y="415"/>
                </a:cubicBezTo>
                <a:cubicBezTo>
                  <a:pt x="59" y="431"/>
                  <a:pt x="42" y="440"/>
                  <a:pt x="25" y="440"/>
                </a:cubicBezTo>
              </a:path>
            </a:pathLst>
          </a:custGeom>
          <a:solidFill>
            <a:srgbClr val="00629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1343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646" b="0" i="0" u="none" strike="noStrike" kern="0" cap="none" spc="0" normalizeH="0" baseline="0" noProof="0">
              <a:ln>
                <a:noFill/>
              </a:ln>
              <a:solidFill>
                <a:srgbClr val="9A989A"/>
              </a:solidFill>
              <a:effectLst/>
              <a:uLnTx/>
              <a:uFillTx/>
            </a:endParaRPr>
          </a:p>
        </p:txBody>
      </p:sp>
      <p:pic>
        <p:nvPicPr>
          <p:cNvPr id="446" name="Gráfico 445" descr="Aperto de mão com preenchimento sólido">
            <a:extLst>
              <a:ext uri="{FF2B5EF4-FFF2-40B4-BE49-F238E27FC236}">
                <a16:creationId xmlns:a16="http://schemas.microsoft.com/office/drawing/2014/main" id="{6F55FA37-6204-4165-90A9-D0143AB983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85632" y="1674419"/>
            <a:ext cx="988700" cy="984331"/>
          </a:xfrm>
          <a:prstGeom prst="rect">
            <a:avLst/>
          </a:prstGeom>
        </p:spPr>
      </p:pic>
      <p:grpSp>
        <p:nvGrpSpPr>
          <p:cNvPr id="447" name="Agrupar 446">
            <a:extLst>
              <a:ext uri="{FF2B5EF4-FFF2-40B4-BE49-F238E27FC236}">
                <a16:creationId xmlns:a16="http://schemas.microsoft.com/office/drawing/2014/main" id="{08D28F02-F404-4873-AE71-671FC4960EF0}"/>
              </a:ext>
            </a:extLst>
          </p:cNvPr>
          <p:cNvGrpSpPr/>
          <p:nvPr userDrawn="1"/>
        </p:nvGrpSpPr>
        <p:grpSpPr>
          <a:xfrm>
            <a:off x="8008211" y="1469504"/>
            <a:ext cx="1197273" cy="1191982"/>
            <a:chOff x="12445208" y="734178"/>
            <a:chExt cx="810923" cy="810923"/>
          </a:xfrm>
        </p:grpSpPr>
        <p:sp>
          <p:nvSpPr>
            <p:cNvPr id="448" name="Freeform 741">
              <a:extLst>
                <a:ext uri="{FF2B5EF4-FFF2-40B4-BE49-F238E27FC236}">
                  <a16:creationId xmlns:a16="http://schemas.microsoft.com/office/drawing/2014/main" id="{D425A1DB-BDC9-4D91-9A2E-88AACE4B9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5208" y="734178"/>
              <a:ext cx="810923" cy="810923"/>
            </a:xfrm>
            <a:custGeom>
              <a:avLst/>
              <a:gdLst>
                <a:gd name="T0" fmla="*/ 510075 w 1570"/>
                <a:gd name="T1" fmla="*/ 564790 h 1571"/>
                <a:gd name="T2" fmla="*/ 510075 w 1570"/>
                <a:gd name="T3" fmla="*/ 564790 h 1571"/>
                <a:gd name="T4" fmla="*/ 52195 w 1570"/>
                <a:gd name="T5" fmla="*/ 564790 h 1571"/>
                <a:gd name="T6" fmla="*/ 0 w 1570"/>
                <a:gd name="T7" fmla="*/ 509750 h 1571"/>
                <a:gd name="T8" fmla="*/ 0 w 1570"/>
                <a:gd name="T9" fmla="*/ 55040 h 1571"/>
                <a:gd name="T10" fmla="*/ 52195 w 1570"/>
                <a:gd name="T11" fmla="*/ 0 h 1571"/>
                <a:gd name="T12" fmla="*/ 510075 w 1570"/>
                <a:gd name="T13" fmla="*/ 0 h 1571"/>
                <a:gd name="T14" fmla="*/ 564790 w 1570"/>
                <a:gd name="T15" fmla="*/ 55040 h 1571"/>
                <a:gd name="T16" fmla="*/ 564790 w 1570"/>
                <a:gd name="T17" fmla="*/ 509750 h 1571"/>
                <a:gd name="T18" fmla="*/ 510075 w 1570"/>
                <a:gd name="T19" fmla="*/ 564790 h 157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70" h="1571">
                  <a:moveTo>
                    <a:pt x="1417" y="1570"/>
                  </a:moveTo>
                  <a:lnTo>
                    <a:pt x="1417" y="1570"/>
                  </a:lnTo>
                  <a:cubicBezTo>
                    <a:pt x="145" y="1570"/>
                    <a:pt x="145" y="1570"/>
                    <a:pt x="145" y="1570"/>
                  </a:cubicBezTo>
                  <a:cubicBezTo>
                    <a:pt x="68" y="1570"/>
                    <a:pt x="0" y="1502"/>
                    <a:pt x="0" y="141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68"/>
                    <a:pt x="68" y="0"/>
                    <a:pt x="145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502" y="0"/>
                    <a:pt x="1569" y="68"/>
                    <a:pt x="1569" y="153"/>
                  </a:cubicBezTo>
                  <a:cubicBezTo>
                    <a:pt x="1569" y="1417"/>
                    <a:pt x="1569" y="1417"/>
                    <a:pt x="1569" y="1417"/>
                  </a:cubicBezTo>
                  <a:cubicBezTo>
                    <a:pt x="1569" y="1502"/>
                    <a:pt x="1502" y="1570"/>
                    <a:pt x="1417" y="1570"/>
                  </a:cubicBezTo>
                </a:path>
              </a:pathLst>
            </a:custGeom>
            <a:solidFill>
              <a:srgbClr val="FFFFFF"/>
            </a:solidFill>
            <a:ln w="38100" cap="flat">
              <a:solidFill>
                <a:srgbClr val="8AABCA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34380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646" b="0" i="0" u="none" strike="noStrike" kern="0" cap="none" spc="0" normalizeH="0" baseline="0" noProof="0">
                <a:ln>
                  <a:noFill/>
                </a:ln>
                <a:solidFill>
                  <a:srgbClr val="9A989A"/>
                </a:solidFill>
                <a:effectLst/>
                <a:uLnTx/>
                <a:uFillTx/>
              </a:endParaRPr>
            </a:p>
          </p:txBody>
        </p:sp>
        <p:pic>
          <p:nvPicPr>
            <p:cNvPr id="449" name="Gráfico 448" descr="Sementes brotando com preenchimento sólido">
              <a:extLst>
                <a:ext uri="{FF2B5EF4-FFF2-40B4-BE49-F238E27FC236}">
                  <a16:creationId xmlns:a16="http://schemas.microsoft.com/office/drawing/2014/main" id="{8BBE1393-B066-4A26-9802-74539168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491024" y="745537"/>
              <a:ext cx="732960" cy="732960"/>
            </a:xfrm>
            <a:prstGeom prst="rect">
              <a:avLst/>
            </a:prstGeom>
          </p:spPr>
        </p:pic>
      </p:grpSp>
      <p:pic>
        <p:nvPicPr>
          <p:cNvPr id="450" name="Gráfico 449" descr="Reunião com preenchimento sólido">
            <a:extLst>
              <a:ext uri="{FF2B5EF4-FFF2-40B4-BE49-F238E27FC236}">
                <a16:creationId xmlns:a16="http://schemas.microsoft.com/office/drawing/2014/main" id="{5768EC7E-B931-4C08-ABA0-F648AE4111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91663" y="1647231"/>
            <a:ext cx="874159" cy="870295"/>
          </a:xfrm>
          <a:prstGeom prst="rect">
            <a:avLst/>
          </a:prstGeom>
        </p:spPr>
      </p:pic>
      <p:pic>
        <p:nvPicPr>
          <p:cNvPr id="451" name="Imagem 450">
            <a:extLst>
              <a:ext uri="{FF2B5EF4-FFF2-40B4-BE49-F238E27FC236}">
                <a16:creationId xmlns:a16="http://schemas.microsoft.com/office/drawing/2014/main" id="{F7D2F15D-932C-471B-B9AA-B115EABA7AB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9742" y="9162643"/>
            <a:ext cx="2198950" cy="6343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2" name="Espaço Reservado para Conteúdo 2">
            <a:extLst>
              <a:ext uri="{FF2B5EF4-FFF2-40B4-BE49-F238E27FC236}">
                <a16:creationId xmlns:a16="http://schemas.microsoft.com/office/drawing/2014/main" id="{5F6FE98F-4F92-4B5C-BEFC-D4A9F4D63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2408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3" name="Espaço Reservado para Conteúdo 2">
            <a:extLst>
              <a:ext uri="{FF2B5EF4-FFF2-40B4-BE49-F238E27FC236}">
                <a16:creationId xmlns:a16="http://schemas.microsoft.com/office/drawing/2014/main" id="{F73C517F-BE08-4C22-8E46-C737249F842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285016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4" name="Espaço Reservado para Conteúdo 2">
            <a:extLst>
              <a:ext uri="{FF2B5EF4-FFF2-40B4-BE49-F238E27FC236}">
                <a16:creationId xmlns:a16="http://schemas.microsoft.com/office/drawing/2014/main" id="{AEE5D094-F050-4211-9E7D-9101EC64725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436705" y="8438801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5" name="Espaço Reservado para Conteúdo 2">
            <a:extLst>
              <a:ext uri="{FF2B5EF4-FFF2-40B4-BE49-F238E27FC236}">
                <a16:creationId xmlns:a16="http://schemas.microsoft.com/office/drawing/2014/main" id="{7AFEFE9E-5F00-471C-9F1F-407B24D96E1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3072911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6" name="Espaço Reservado para Conteúdo 2">
            <a:extLst>
              <a:ext uri="{FF2B5EF4-FFF2-40B4-BE49-F238E27FC236}">
                <a16:creationId xmlns:a16="http://schemas.microsoft.com/office/drawing/2014/main" id="{CFCCF986-0667-465D-B0BA-0AD74A493C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0165519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7" name="Espaço Reservado para Conteúdo 2">
            <a:extLst>
              <a:ext uri="{FF2B5EF4-FFF2-40B4-BE49-F238E27FC236}">
                <a16:creationId xmlns:a16="http://schemas.microsoft.com/office/drawing/2014/main" id="{44894242-CE24-4CC7-B27A-6EE5AF4B1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7208" y="5783350"/>
            <a:ext cx="2629108" cy="581057"/>
          </a:xfrm>
        </p:spPr>
        <p:txBody>
          <a:bodyPr wrap="square">
            <a:spAutoFit/>
          </a:bodyPr>
          <a:lstStyle>
            <a:lvl1pPr marL="0" indent="0">
              <a:buNone/>
              <a:defRPr lang="pt-BR" sz="1764" smtClean="0">
                <a:solidFill>
                  <a:srgbClr val="9A989A"/>
                </a:solidFill>
                <a:latin typeface="Trebuche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 lang="pt-BR" sz="1333" smtClean="0"/>
            </a:lvl2pPr>
            <a:lvl3pPr>
              <a:defRPr lang="pt-BR" sz="1333" smtClean="0"/>
            </a:lvl3pPr>
            <a:lvl4pPr>
              <a:defRPr lang="pt-BR" sz="1333" smtClean="0"/>
            </a:lvl4pPr>
            <a:lvl5pPr>
              <a:defRPr lang="pt-BR" sz="1333"/>
            </a:lvl5pPr>
          </a:lstStyle>
          <a:p>
            <a:pPr marL="0" lvl="0" algn="ctr" defTabSz="1343808"/>
            <a:r>
              <a:rPr lang="pt-BR"/>
              <a:t>Clique para editar os estilos de texto Mestres</a:t>
            </a:r>
          </a:p>
        </p:txBody>
      </p:sp>
      <p:sp>
        <p:nvSpPr>
          <p:cNvPr id="458" name="Espaço Reservado para Conteúdo 2">
            <a:extLst>
              <a:ext uri="{FF2B5EF4-FFF2-40B4-BE49-F238E27FC236}">
                <a16:creationId xmlns:a16="http://schemas.microsoft.com/office/drawing/2014/main" id="{A66E5C75-438F-401E-A0FF-03C647D6413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267160" y="5595638"/>
            <a:ext cx="4050149" cy="65158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pt-BR" sz="2352" dirty="0" smtClean="0">
                <a:solidFill>
                  <a:schemeClr val="bg2"/>
                </a:solidFill>
                <a:latin typeface="Trebuchet MS" panose="020B0603020202020204" pitchFamily="34" charset="0"/>
              </a:defRPr>
            </a:lvl1pPr>
          </a:lstStyle>
          <a:p>
            <a:pPr marL="0" lvl="0" defTabSz="33864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4209353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F09BFB-09BB-BB0E-F420-13ECAC347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DF9DEF9-D995-00EC-1F5C-18D6F5895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4F288E6-5AD8-026C-5B3B-5F497AACF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89AB63-D637-02F6-C383-313D382E9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384951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B133063-71DA-D8B0-9E80-B684BB72C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44D7F79-A110-D252-A5EA-8A88F8F70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AD880AE-9B3E-7FDE-8A76-0AF4169B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29232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FB7D63-A79E-A088-2EE5-02E24C0EE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0DAF68A-9C15-33C8-11A6-A21EACE8A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>
              <a:defRPr sz="4704"/>
            </a:lvl1pPr>
            <a:lvl2pPr>
              <a:defRPr sz="4116"/>
            </a:lvl2pPr>
            <a:lvl3pPr>
              <a:defRPr sz="3528"/>
            </a:lvl3pPr>
            <a:lvl4pPr>
              <a:defRPr sz="2940"/>
            </a:lvl4pPr>
            <a:lvl5pPr>
              <a:defRPr sz="2940"/>
            </a:lvl5pPr>
            <a:lvl6pPr>
              <a:defRPr sz="2940"/>
            </a:lvl6pPr>
            <a:lvl7pPr>
              <a:defRPr sz="2940"/>
            </a:lvl7pPr>
            <a:lvl8pPr>
              <a:defRPr sz="2940"/>
            </a:lvl8pPr>
            <a:lvl9pPr>
              <a:defRPr sz="294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20DC06C-4CB7-F9D4-00A1-7476214DBB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1FB1AC-0316-91DB-3F34-BF0AEDCB5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8E861B2-B029-6A02-BF58-A5A14A081A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C4432B7-1B04-BF12-1040-BBDE92A13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42135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6D0E18-0163-B313-15EE-66A0DE62A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91" y="672042"/>
            <a:ext cx="5805682" cy="2352146"/>
          </a:xfrm>
        </p:spPr>
        <p:txBody>
          <a:bodyPr anchor="b"/>
          <a:lstStyle>
            <a:lvl1pPr>
              <a:defRPr sz="470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CE7EFFD-747F-1C0F-3CA4-0673AE66E5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652626" y="1451424"/>
            <a:ext cx="9112836" cy="7163777"/>
          </a:xfrm>
        </p:spPr>
        <p:txBody>
          <a:bodyPr/>
          <a:lstStyle>
            <a:lvl1pPr marL="0" indent="0">
              <a:buNone/>
              <a:defRPr sz="4704"/>
            </a:lvl1pPr>
            <a:lvl2pPr marL="672038" indent="0">
              <a:buNone/>
              <a:defRPr sz="4116"/>
            </a:lvl2pPr>
            <a:lvl3pPr marL="1344077" indent="0">
              <a:buNone/>
              <a:defRPr sz="3528"/>
            </a:lvl3pPr>
            <a:lvl4pPr marL="2016115" indent="0">
              <a:buNone/>
              <a:defRPr sz="2940"/>
            </a:lvl4pPr>
            <a:lvl5pPr marL="2688153" indent="0">
              <a:buNone/>
              <a:defRPr sz="2940"/>
            </a:lvl5pPr>
            <a:lvl6pPr marL="3360191" indent="0">
              <a:buNone/>
              <a:defRPr sz="2940"/>
            </a:lvl6pPr>
            <a:lvl7pPr marL="4032230" indent="0">
              <a:buNone/>
              <a:defRPr sz="2940"/>
            </a:lvl7pPr>
            <a:lvl8pPr marL="4704268" indent="0">
              <a:buNone/>
              <a:defRPr sz="2940"/>
            </a:lvl8pPr>
            <a:lvl9pPr marL="5376306" indent="0">
              <a:buNone/>
              <a:defRPr sz="294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01B4CF1-1BA5-78D2-90CA-9576A3EC9B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39891" y="3024188"/>
            <a:ext cx="5805682" cy="5602681"/>
          </a:xfrm>
        </p:spPr>
        <p:txBody>
          <a:bodyPr/>
          <a:lstStyle>
            <a:lvl1pPr marL="0" indent="0">
              <a:buNone/>
              <a:defRPr sz="2352"/>
            </a:lvl1pPr>
            <a:lvl2pPr marL="672038" indent="0">
              <a:buNone/>
              <a:defRPr sz="2058"/>
            </a:lvl2pPr>
            <a:lvl3pPr marL="1344077" indent="0">
              <a:buNone/>
              <a:defRPr sz="1764"/>
            </a:lvl3pPr>
            <a:lvl4pPr marL="2016115" indent="0">
              <a:buNone/>
              <a:defRPr sz="1470"/>
            </a:lvl4pPr>
            <a:lvl5pPr marL="2688153" indent="0">
              <a:buNone/>
              <a:defRPr sz="1470"/>
            </a:lvl5pPr>
            <a:lvl6pPr marL="3360191" indent="0">
              <a:buNone/>
              <a:defRPr sz="1470"/>
            </a:lvl6pPr>
            <a:lvl7pPr marL="4032230" indent="0">
              <a:buNone/>
              <a:defRPr sz="1470"/>
            </a:lvl7pPr>
            <a:lvl8pPr marL="4704268" indent="0">
              <a:buNone/>
              <a:defRPr sz="1470"/>
            </a:lvl8pPr>
            <a:lvl9pPr marL="5376306" indent="0">
              <a:buNone/>
              <a:defRPr sz="147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22D8881-D84F-447C-FF54-7B191EE30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88BBD90-3BEF-E74F-9F96-6440762BC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B7078F7-0C4B-BA90-F841-54F92E36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122832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053867-418C-003F-60CB-492E0BF26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D7D9275-346A-860A-6473-F9BDB1589A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285CF59-55EB-1710-1270-0EA0CA3A4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2A189E3-8119-B6A1-623D-CFF77EEEB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C1D7F15-E4A0-1AC4-5B87-68D4D92E8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91762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C03FC96-D5C8-1D88-5402-CB5F374800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881724" y="536700"/>
            <a:ext cx="3881393" cy="854286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F34D945-683D-6B69-BFD2-510F1553B9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37545" y="536700"/>
            <a:ext cx="11419171" cy="8542864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E418275-3E2A-C09E-8463-16A795B39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E7B93DC-030F-FCD0-F892-2B830D518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D38C8D9-1952-313F-A1BE-15A0E7D51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784484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17971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77F37848-86BD-0103-FA2A-031798B999C9}"/>
              </a:ext>
            </a:extLst>
          </p:cNvPr>
          <p:cNvSpPr/>
          <p:nvPr userDrawn="1"/>
        </p:nvSpPr>
        <p:spPr>
          <a:xfrm>
            <a:off x="8193406" y="9501279"/>
            <a:ext cx="1582817" cy="448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/>
          </a:p>
        </p:txBody>
      </p:sp>
    </p:spTree>
    <p:extLst>
      <p:ext uri="{BB962C8B-B14F-4D97-AF65-F5344CB8AC3E}">
        <p14:creationId xmlns:p14="http://schemas.microsoft.com/office/powerpoint/2010/main" val="1558218006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594761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899977" y="401906"/>
            <a:ext cx="16198949" cy="1682502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algn="ctr">
              <a:buNone/>
              <a:defRPr/>
            </a:lvl1pPr>
          </a:lstStyle>
          <a:p>
            <a:pPr indent="0" algn="ctr">
              <a:buNone/>
            </a:pPr>
            <a:endParaRPr lang="en-US" sz="7821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899977" y="2358319"/>
            <a:ext cx="16198949" cy="5845556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algn="ctr">
              <a:buNone/>
              <a:defRPr/>
            </a:lvl1pPr>
          </a:lstStyle>
          <a:p>
            <a:pPr indent="0" algn="ctr">
              <a:buNone/>
            </a:pPr>
            <a:endParaRPr lang="en-US" sz="5689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2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E6AF0FC-CBDC-4C45-A0F1-AEA011496BB5}" type="slidenum">
              <a:t>‹nº›</a:t>
            </a:fld>
            <a:endParaRPr/>
          </a:p>
        </p:txBody>
      </p:sp>
      <p:sp>
        <p:nvSpPr>
          <p:cNvPr id="3" name="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14576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0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image" Target="../media/image30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image" Target="../media/image30.emf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image" Target="../media/image36.svg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image" Target="../media/image35.png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image" Target="../media/image34.svg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image" Target="../media/image33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image" Target="../media/image51.sv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image" Target="../media/image52.sv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image" Target="../media/image51.svg"/><Relationship Id="rId5" Type="http://schemas.openxmlformats.org/officeDocument/2006/relationships/slideLayout" Target="../slideLayouts/slideLayout144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43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42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76.xml"/><Relationship Id="rId41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40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4" Type="http://schemas.openxmlformats.org/officeDocument/2006/relationships/theme" Target="../theme/theme9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43" Type="http://schemas.openxmlformats.org/officeDocument/2006/relationships/slideLayout" Target="../slideLayouts/slideLayout190.xml"/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46" y="536701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74972" y="2683500"/>
            <a:ext cx="6588146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62720" y="9343247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05B3D5F-42EC-466A-8C5C-903EF7FE2A6F}"/>
              </a:ext>
            </a:extLst>
          </p:cNvPr>
          <p:cNvGrpSpPr/>
          <p:nvPr userDrawn="1"/>
        </p:nvGrpSpPr>
        <p:grpSpPr>
          <a:xfrm rot="5400000" flipV="1">
            <a:off x="14830426" y="3381376"/>
            <a:ext cx="7467600" cy="704847"/>
            <a:chOff x="31376" y="-1105651"/>
            <a:chExt cx="11627224" cy="838200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AE156479-98B1-46DE-917C-4E9816A01F3A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0" name="Retângulo 9">
                <a:extLst>
                  <a:ext uri="{FF2B5EF4-FFF2-40B4-BE49-F238E27FC236}">
                    <a16:creationId xmlns:a16="http://schemas.microsoft.com/office/drawing/2014/main" id="{C96BA2F8-F623-42B1-B6F6-D861058C7547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21C8CCEC-FBA9-4FB5-A58E-D66DB9C1D5AA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D4BDA8AF-8E5E-4A47-9137-91EC812F84B7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4A66E2F-D804-4949-994E-1C4CEAE1F174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C0C40336-24EC-4152-8570-134F7FF55269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54783C5A-C6A0-4699-82F3-05052BEE5315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880F9A75-28D4-49D8-82D1-C6532F5B0913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7F353894-5102-4322-99B8-10D8E0DEC861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9AED6FFB-A57C-4A67-8336-0F3364E69E69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EAC1861-4938-49D1-A93B-22B0751B7B71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A47F9BF-E42F-4787-9E86-14EC5D416A8C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64"/>
            </a:p>
          </p:txBody>
        </p:sp>
      </p:grpSp>
      <p:sp>
        <p:nvSpPr>
          <p:cNvPr id="20" name="Retângulo 19">
            <a:extLst>
              <a:ext uri="{FF2B5EF4-FFF2-40B4-BE49-F238E27FC236}">
                <a16:creationId xmlns:a16="http://schemas.microsoft.com/office/drawing/2014/main" id="{E6710E80-663E-44BA-95EE-6E08D04F567A}"/>
              </a:ext>
            </a:extLst>
          </p:cNvPr>
          <p:cNvSpPr/>
          <p:nvPr userDrawn="1"/>
        </p:nvSpPr>
        <p:spPr>
          <a:xfrm>
            <a:off x="0" y="-659542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5ED492D-F9B9-4FDA-9DB3-F5174EFA5999}"/>
              </a:ext>
            </a:extLst>
          </p:cNvPr>
          <p:cNvSpPr/>
          <p:nvPr userDrawn="1"/>
        </p:nvSpPr>
        <p:spPr>
          <a:xfrm>
            <a:off x="905206" y="-659542"/>
            <a:ext cx="819150" cy="536699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EDBE3CA-CD13-441F-9C06-E3E07B974241}"/>
              </a:ext>
            </a:extLst>
          </p:cNvPr>
          <p:cNvSpPr/>
          <p:nvPr userDrawn="1"/>
        </p:nvSpPr>
        <p:spPr>
          <a:xfrm>
            <a:off x="1808913" y="-659542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MSIPCMContentMarking" descr="{&quot;HashCode&quot;:-1748113468,&quot;Placement&quot;:&quot;Footer&quot;,&quot;Top&quot;:774.9748,&quot;Left&quot;:0.0,&quot;SlideWidth&quot;:1417,&quot;SlideHeight&quot;:793}">
            <a:extLst>
              <a:ext uri="{FF2B5EF4-FFF2-40B4-BE49-F238E27FC236}">
                <a16:creationId xmlns:a16="http://schemas.microsoft.com/office/drawing/2014/main" id="{3A7D5858-9F1C-400D-A84E-D633791CD669}"/>
              </a:ext>
            </a:extLst>
          </p:cNvPr>
          <p:cNvSpPr txBox="1"/>
          <p:nvPr userDrawn="1"/>
        </p:nvSpPr>
        <p:spPr>
          <a:xfrm>
            <a:off x="0" y="9842180"/>
            <a:ext cx="1005877" cy="23844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FDC82F"/>
                </a:solidFill>
                <a:latin typeface="Trebuchet MS" panose="020B0603020202020204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379563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72" r:id="rId10"/>
    <p:sldLayoutId id="2147483673" r:id="rId11"/>
    <p:sldLayoutId id="2147483674" r:id="rId12"/>
    <p:sldLayoutId id="2147483667" r:id="rId13"/>
    <p:sldLayoutId id="2147483684" r:id="rId14"/>
    <p:sldLayoutId id="2147483685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30" r:id="rId21"/>
    <p:sldLayoutId id="2147483836" r:id="rId22"/>
    <p:sldLayoutId id="2147483841" r:id="rId23"/>
    <p:sldLayoutId id="2147483842" r:id="rId24"/>
    <p:sldLayoutId id="2147483844" r:id="rId25"/>
    <p:sldLayoutId id="2147483845" r:id="rId26"/>
    <p:sldLayoutId id="2147483846" r:id="rId27"/>
    <p:sldLayoutId id="2147483847" r:id="rId28"/>
  </p:sldLayoutIdLst>
  <p:txStyles>
    <p:titleStyle>
      <a:lvl1pPr algn="l" defTabSz="1344077" rtl="0" eaLnBrk="1" latinLnBrk="0" hangingPunct="1">
        <a:lnSpc>
          <a:spcPct val="90000"/>
        </a:lnSpc>
        <a:spcBef>
          <a:spcPct val="0"/>
        </a:spcBef>
        <a:buNone/>
        <a:defRPr sz="64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344077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None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211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249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8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325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91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23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6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306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46" y="536702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74973" y="2683500"/>
            <a:ext cx="6588147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62720" y="9343248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05B3D5F-42EC-466A-8C5C-903EF7FE2A6F}"/>
              </a:ext>
            </a:extLst>
          </p:cNvPr>
          <p:cNvGrpSpPr/>
          <p:nvPr userDrawn="1"/>
        </p:nvGrpSpPr>
        <p:grpSpPr>
          <a:xfrm rot="5400000" flipV="1">
            <a:off x="14830426" y="3381378"/>
            <a:ext cx="7467600" cy="704847"/>
            <a:chOff x="31376" y="-1105651"/>
            <a:chExt cx="11627224" cy="838200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AE156479-98B1-46DE-917C-4E9816A01F3A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0" name="Retângulo 9">
                <a:extLst>
                  <a:ext uri="{FF2B5EF4-FFF2-40B4-BE49-F238E27FC236}">
                    <a16:creationId xmlns:a16="http://schemas.microsoft.com/office/drawing/2014/main" id="{C96BA2F8-F623-42B1-B6F6-D861058C7547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21C8CCEC-FBA9-4FB5-A58E-D66DB9C1D5AA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D4BDA8AF-8E5E-4A47-9137-91EC812F84B7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4A66E2F-D804-4949-994E-1C4CEAE1F174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C0C40336-24EC-4152-8570-134F7FF55269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54783C5A-C6A0-4699-82F3-05052BEE5315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880F9A75-28D4-49D8-82D1-C6532F5B0913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7F353894-5102-4322-99B8-10D8E0DEC861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9AED6FFB-A57C-4A67-8336-0F3364E69E69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EAC1861-4938-49D1-A93B-22B0751B7B71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A47F9BF-E42F-4787-9E86-14EC5D416A8C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47"/>
            </a:p>
          </p:txBody>
        </p:sp>
      </p:grpSp>
      <p:sp>
        <p:nvSpPr>
          <p:cNvPr id="20" name="Retângulo 19">
            <a:extLst>
              <a:ext uri="{FF2B5EF4-FFF2-40B4-BE49-F238E27FC236}">
                <a16:creationId xmlns:a16="http://schemas.microsoft.com/office/drawing/2014/main" id="{E6710E80-663E-44BA-95EE-6E08D04F567A}"/>
              </a:ext>
            </a:extLst>
          </p:cNvPr>
          <p:cNvSpPr/>
          <p:nvPr userDrawn="1"/>
        </p:nvSpPr>
        <p:spPr>
          <a:xfrm>
            <a:off x="1" y="-659541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5ED492D-F9B9-4FDA-9DB3-F5174EFA5999}"/>
              </a:ext>
            </a:extLst>
          </p:cNvPr>
          <p:cNvSpPr/>
          <p:nvPr userDrawn="1"/>
        </p:nvSpPr>
        <p:spPr>
          <a:xfrm>
            <a:off x="905207" y="-659541"/>
            <a:ext cx="819150" cy="53669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EDBE3CA-CD13-441F-9C06-E3E07B974241}"/>
              </a:ext>
            </a:extLst>
          </p:cNvPr>
          <p:cNvSpPr/>
          <p:nvPr userDrawn="1"/>
        </p:nvSpPr>
        <p:spPr>
          <a:xfrm>
            <a:off x="1808914" y="-659541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851EF7D-F2BC-7CCF-A48D-4DD55AEA5B5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93754" y="9785674"/>
            <a:ext cx="1143792" cy="203582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323">
                <a:solidFill>
                  <a:srgbClr val="FDC82F"/>
                </a:solidFill>
                <a:latin typeface="Trebuchet MS" panose="020B0603020202020204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110861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  <p:sldLayoutId id="2147484086" r:id="rId20"/>
    <p:sldLayoutId id="2147484087" r:id="rId21"/>
    <p:sldLayoutId id="2147484088" r:id="rId22"/>
    <p:sldLayoutId id="2147484089" r:id="rId23"/>
  </p:sldLayoutIdLst>
  <p:txStyles>
    <p:titleStyle>
      <a:lvl1pPr algn="l" defTabSz="1338113" rtl="0" eaLnBrk="1" latinLnBrk="0" hangingPunct="1">
        <a:lnSpc>
          <a:spcPct val="90000"/>
        </a:lnSpc>
        <a:spcBef>
          <a:spcPct val="0"/>
        </a:spcBef>
        <a:buNone/>
        <a:defRPr sz="64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338113" rtl="0" eaLnBrk="1" latinLnBrk="0" hangingPunct="1">
        <a:lnSpc>
          <a:spcPct val="90000"/>
        </a:lnSpc>
        <a:spcBef>
          <a:spcPts val="1464"/>
        </a:spcBef>
        <a:buFont typeface="Arial" panose="020B0604020202020204" pitchFamily="34" charset="0"/>
        <a:buNone/>
        <a:defRPr sz="4098" kern="1200">
          <a:solidFill>
            <a:schemeClr val="tx1"/>
          </a:solidFill>
          <a:latin typeface="+mn-lt"/>
          <a:ea typeface="+mn-ea"/>
          <a:cs typeface="+mn-cs"/>
        </a:defRPr>
      </a:lvl1pPr>
      <a:lvl2pPr marL="669056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3513" kern="1200">
          <a:solidFill>
            <a:schemeClr val="tx1"/>
          </a:solidFill>
          <a:latin typeface="+mn-lt"/>
          <a:ea typeface="+mn-ea"/>
          <a:cs typeface="+mn-cs"/>
        </a:defRPr>
      </a:lvl2pPr>
      <a:lvl3pPr marL="1338113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927" kern="1200">
          <a:solidFill>
            <a:schemeClr val="tx1"/>
          </a:solidFill>
          <a:latin typeface="+mn-lt"/>
          <a:ea typeface="+mn-ea"/>
          <a:cs typeface="+mn-cs"/>
        </a:defRPr>
      </a:lvl3pPr>
      <a:lvl4pPr marL="2007170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634" kern="1200">
          <a:solidFill>
            <a:schemeClr val="tx1"/>
          </a:solidFill>
          <a:latin typeface="+mn-lt"/>
          <a:ea typeface="+mn-ea"/>
          <a:cs typeface="+mn-cs"/>
        </a:defRPr>
      </a:lvl4pPr>
      <a:lvl5pPr marL="2676226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634" kern="1200">
          <a:solidFill>
            <a:schemeClr val="tx1"/>
          </a:solidFill>
          <a:latin typeface="+mn-lt"/>
          <a:ea typeface="+mn-ea"/>
          <a:cs typeface="+mn-cs"/>
        </a:defRPr>
      </a:lvl5pPr>
      <a:lvl6pPr marL="3679812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6pPr>
      <a:lvl7pPr marL="4348868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7pPr>
      <a:lvl8pPr marL="5017924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8pPr>
      <a:lvl9pPr marL="5686981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1pPr>
      <a:lvl2pPr marL="669056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2pPr>
      <a:lvl3pPr marL="1338113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3pPr>
      <a:lvl4pPr marL="200717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4pPr>
      <a:lvl5pPr marL="2676226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5pPr>
      <a:lvl6pPr marL="3345282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6pPr>
      <a:lvl7pPr marL="401434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7pPr>
      <a:lvl8pPr marL="4683397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8pPr>
      <a:lvl9pPr marL="5352453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46" y="536702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74973" y="2683500"/>
            <a:ext cx="6588147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37547" y="9343248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2E6E43-E78C-4911-9157-3D8F3BF4E0EA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62720" y="9343248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12968" y="9343248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05B3D5F-42EC-466A-8C5C-903EF7FE2A6F}"/>
              </a:ext>
            </a:extLst>
          </p:cNvPr>
          <p:cNvGrpSpPr/>
          <p:nvPr userDrawn="1"/>
        </p:nvGrpSpPr>
        <p:grpSpPr>
          <a:xfrm rot="5400000" flipV="1">
            <a:off x="14830426" y="3381378"/>
            <a:ext cx="7467600" cy="704847"/>
            <a:chOff x="31376" y="-1105651"/>
            <a:chExt cx="11627224" cy="838200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AE156479-98B1-46DE-917C-4E9816A01F3A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0" name="Retângulo 9">
                <a:extLst>
                  <a:ext uri="{FF2B5EF4-FFF2-40B4-BE49-F238E27FC236}">
                    <a16:creationId xmlns:a16="http://schemas.microsoft.com/office/drawing/2014/main" id="{C96BA2F8-F623-42B1-B6F6-D861058C7547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21C8CCEC-FBA9-4FB5-A58E-D66DB9C1D5AA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D4BDA8AF-8E5E-4A47-9137-91EC812F84B7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4A66E2F-D804-4949-994E-1C4CEAE1F174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C0C40336-24EC-4152-8570-134F7FF55269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54783C5A-C6A0-4699-82F3-05052BEE5315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880F9A75-28D4-49D8-82D1-C6532F5B0913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7F353894-5102-4322-99B8-10D8E0DEC861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9AED6FFB-A57C-4A67-8336-0F3364E69E69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EAC1861-4938-49D1-A93B-22B0751B7B71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47"/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A47F9BF-E42F-4787-9E86-14EC5D416A8C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47"/>
            </a:p>
          </p:txBody>
        </p:sp>
      </p:grpSp>
      <p:sp>
        <p:nvSpPr>
          <p:cNvPr id="20" name="Retângulo 19">
            <a:extLst>
              <a:ext uri="{FF2B5EF4-FFF2-40B4-BE49-F238E27FC236}">
                <a16:creationId xmlns:a16="http://schemas.microsoft.com/office/drawing/2014/main" id="{E6710E80-663E-44BA-95EE-6E08D04F567A}"/>
              </a:ext>
            </a:extLst>
          </p:cNvPr>
          <p:cNvSpPr/>
          <p:nvPr userDrawn="1"/>
        </p:nvSpPr>
        <p:spPr>
          <a:xfrm>
            <a:off x="1" y="-659541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5ED492D-F9B9-4FDA-9DB3-F5174EFA5999}"/>
              </a:ext>
            </a:extLst>
          </p:cNvPr>
          <p:cNvSpPr/>
          <p:nvPr userDrawn="1"/>
        </p:nvSpPr>
        <p:spPr>
          <a:xfrm>
            <a:off x="905207" y="-659541"/>
            <a:ext cx="819150" cy="536698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EDBE3CA-CD13-441F-9C06-E3E07B974241}"/>
              </a:ext>
            </a:extLst>
          </p:cNvPr>
          <p:cNvSpPr/>
          <p:nvPr userDrawn="1"/>
        </p:nvSpPr>
        <p:spPr>
          <a:xfrm>
            <a:off x="1808914" y="-659541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92"/>
          </a:p>
        </p:txBody>
      </p:sp>
      <p:sp>
        <p:nvSpPr>
          <p:cNvPr id="23" name="MSIPCMContentMarking" descr="{&quot;HashCode&quot;:-1748113468,&quot;Placement&quot;:&quot;Footer&quot;,&quot;Top&quot;:774.9748,&quot;Left&quot;:0.0,&quot;SlideWidth&quot;:1417,&quot;SlideHeight&quot;:793}">
            <a:extLst>
              <a:ext uri="{FF2B5EF4-FFF2-40B4-BE49-F238E27FC236}">
                <a16:creationId xmlns:a16="http://schemas.microsoft.com/office/drawing/2014/main" id="{C30234EB-44DA-FA8C-9524-397C7C429BAF}"/>
              </a:ext>
            </a:extLst>
          </p:cNvPr>
          <p:cNvSpPr txBox="1"/>
          <p:nvPr userDrawn="1"/>
        </p:nvSpPr>
        <p:spPr>
          <a:xfrm>
            <a:off x="0" y="9842180"/>
            <a:ext cx="1005877" cy="23844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FDC82F"/>
                </a:solidFill>
                <a:latin typeface="Trebuchet MS" panose="020B0603020202020204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2020008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948" r:id="rId16"/>
    <p:sldLayoutId id="2147483950" r:id="rId17"/>
    <p:sldLayoutId id="2147483954" r:id="rId18"/>
    <p:sldLayoutId id="2147483956" r:id="rId19"/>
    <p:sldLayoutId id="2147483959" r:id="rId20"/>
    <p:sldLayoutId id="2147483960" r:id="rId21"/>
  </p:sldLayoutIdLst>
  <p:txStyles>
    <p:titleStyle>
      <a:lvl1pPr algn="l" defTabSz="1338113" rtl="0" eaLnBrk="1" latinLnBrk="0" hangingPunct="1">
        <a:lnSpc>
          <a:spcPct val="90000"/>
        </a:lnSpc>
        <a:spcBef>
          <a:spcPct val="0"/>
        </a:spcBef>
        <a:buNone/>
        <a:defRPr sz="64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338113" rtl="0" eaLnBrk="1" latinLnBrk="0" hangingPunct="1">
        <a:lnSpc>
          <a:spcPct val="90000"/>
        </a:lnSpc>
        <a:spcBef>
          <a:spcPts val="1464"/>
        </a:spcBef>
        <a:buFont typeface="Arial" panose="020B0604020202020204" pitchFamily="34" charset="0"/>
        <a:buNone/>
        <a:defRPr sz="4098" kern="1200">
          <a:solidFill>
            <a:schemeClr val="tx1"/>
          </a:solidFill>
          <a:latin typeface="+mn-lt"/>
          <a:ea typeface="+mn-ea"/>
          <a:cs typeface="+mn-cs"/>
        </a:defRPr>
      </a:lvl1pPr>
      <a:lvl2pPr marL="669056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3513" kern="1200">
          <a:solidFill>
            <a:schemeClr val="tx1"/>
          </a:solidFill>
          <a:latin typeface="+mn-lt"/>
          <a:ea typeface="+mn-ea"/>
          <a:cs typeface="+mn-cs"/>
        </a:defRPr>
      </a:lvl2pPr>
      <a:lvl3pPr marL="1338113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927" kern="1200">
          <a:solidFill>
            <a:schemeClr val="tx1"/>
          </a:solidFill>
          <a:latin typeface="+mn-lt"/>
          <a:ea typeface="+mn-ea"/>
          <a:cs typeface="+mn-cs"/>
        </a:defRPr>
      </a:lvl3pPr>
      <a:lvl4pPr marL="2007170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634" kern="1200">
          <a:solidFill>
            <a:schemeClr val="tx1"/>
          </a:solidFill>
          <a:latin typeface="+mn-lt"/>
          <a:ea typeface="+mn-ea"/>
          <a:cs typeface="+mn-cs"/>
        </a:defRPr>
      </a:lvl4pPr>
      <a:lvl5pPr marL="2676226" indent="0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None/>
        <a:defRPr sz="2634" kern="1200">
          <a:solidFill>
            <a:schemeClr val="tx1"/>
          </a:solidFill>
          <a:latin typeface="+mn-lt"/>
          <a:ea typeface="+mn-ea"/>
          <a:cs typeface="+mn-cs"/>
        </a:defRPr>
      </a:lvl5pPr>
      <a:lvl6pPr marL="3679812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6pPr>
      <a:lvl7pPr marL="4348868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7pPr>
      <a:lvl8pPr marL="5017924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8pPr>
      <a:lvl9pPr marL="5686981" indent="-334529" algn="l" defTabSz="1338113" rtl="0" eaLnBrk="1" latinLnBrk="0" hangingPunct="1">
        <a:lnSpc>
          <a:spcPct val="90000"/>
        </a:lnSpc>
        <a:spcBef>
          <a:spcPts val="732"/>
        </a:spcBef>
        <a:buFont typeface="Arial" panose="020B0604020202020204" pitchFamily="34" charset="0"/>
        <a:buChar char="•"/>
        <a:defRPr sz="263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1pPr>
      <a:lvl2pPr marL="669056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2pPr>
      <a:lvl3pPr marL="1338113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3pPr>
      <a:lvl4pPr marL="200717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4pPr>
      <a:lvl5pPr marL="2676226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5pPr>
      <a:lvl6pPr marL="3345282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6pPr>
      <a:lvl7pPr marL="4014340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7pPr>
      <a:lvl8pPr marL="4683397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8pPr>
      <a:lvl9pPr marL="5352453" algn="l" defTabSz="1338113" rtl="0" eaLnBrk="1" latinLnBrk="0" hangingPunct="1">
        <a:defRPr sz="26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46" y="536701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74972" y="2683500"/>
            <a:ext cx="6588146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FA9C5A-5EA4-42B4-81A0-E26A3432D11F}" type="datetime1">
              <a:rPr lang="pt-BR" smtClean="0"/>
              <a:t>27/11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62720" y="9343247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FBC8B-161F-49A6-BA62-A6AC35154014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05B3D5F-42EC-466A-8C5C-903EF7FE2A6F}"/>
              </a:ext>
            </a:extLst>
          </p:cNvPr>
          <p:cNvGrpSpPr/>
          <p:nvPr userDrawn="1"/>
        </p:nvGrpSpPr>
        <p:grpSpPr>
          <a:xfrm rot="5400000" flipV="1">
            <a:off x="14830426" y="3381376"/>
            <a:ext cx="7467600" cy="704847"/>
            <a:chOff x="31376" y="-1105651"/>
            <a:chExt cx="11627224" cy="838200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AE156479-98B1-46DE-917C-4E9816A01F3A}"/>
                </a:ext>
              </a:extLst>
            </p:cNvPr>
            <p:cNvGrpSpPr/>
            <p:nvPr/>
          </p:nvGrpSpPr>
          <p:grpSpPr>
            <a:xfrm>
              <a:off x="31376" y="-1105651"/>
              <a:ext cx="11627224" cy="838200"/>
              <a:chOff x="31376" y="-1105651"/>
              <a:chExt cx="11627224" cy="838200"/>
            </a:xfrm>
          </p:grpSpPr>
          <p:sp>
            <p:nvSpPr>
              <p:cNvPr id="10" name="Retângulo 9">
                <a:extLst>
                  <a:ext uri="{FF2B5EF4-FFF2-40B4-BE49-F238E27FC236}">
                    <a16:creationId xmlns:a16="http://schemas.microsoft.com/office/drawing/2014/main" id="{C96BA2F8-F623-42B1-B6F6-D861058C7547}"/>
                  </a:ext>
                </a:extLst>
              </p:cNvPr>
              <p:cNvSpPr/>
              <p:nvPr/>
            </p:nvSpPr>
            <p:spPr>
              <a:xfrm>
                <a:off x="1101725" y="-1105651"/>
                <a:ext cx="914400" cy="838200"/>
              </a:xfrm>
              <a:prstGeom prst="rect">
                <a:avLst/>
              </a:prstGeom>
              <a:solidFill>
                <a:srgbClr val="004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21C8CCEC-FBA9-4FB5-A58E-D66DB9C1D5AA}"/>
                  </a:ext>
                </a:extLst>
              </p:cNvPr>
              <p:cNvSpPr/>
              <p:nvPr/>
            </p:nvSpPr>
            <p:spPr>
              <a:xfrm>
                <a:off x="10744200" y="-1105651"/>
                <a:ext cx="914400" cy="838200"/>
              </a:xfrm>
              <a:prstGeom prst="rect">
                <a:avLst/>
              </a:prstGeom>
              <a:solidFill>
                <a:srgbClr val="F9F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D4BDA8AF-8E5E-4A47-9137-91EC812F84B7}"/>
                  </a:ext>
                </a:extLst>
              </p:cNvPr>
              <p:cNvSpPr/>
              <p:nvPr/>
            </p:nvSpPr>
            <p:spPr>
              <a:xfrm>
                <a:off x="3242423" y="-1105651"/>
                <a:ext cx="914400" cy="838200"/>
              </a:xfrm>
              <a:prstGeom prst="rect">
                <a:avLst/>
              </a:prstGeom>
              <a:solidFill>
                <a:srgbClr val="8AA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4A66E2F-D804-4949-994E-1C4CEAE1F174}"/>
                  </a:ext>
                </a:extLst>
              </p:cNvPr>
              <p:cNvSpPr/>
              <p:nvPr/>
            </p:nvSpPr>
            <p:spPr>
              <a:xfrm>
                <a:off x="31376" y="-1105651"/>
                <a:ext cx="914400" cy="838200"/>
              </a:xfrm>
              <a:prstGeom prst="rect">
                <a:avLst/>
              </a:prstGeom>
              <a:solidFill>
                <a:srgbClr val="202B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C0C40336-24EC-4152-8570-134F7FF55269}"/>
                  </a:ext>
                </a:extLst>
              </p:cNvPr>
              <p:cNvSpPr/>
              <p:nvPr/>
            </p:nvSpPr>
            <p:spPr>
              <a:xfrm>
                <a:off x="9673852" y="-1105651"/>
                <a:ext cx="914400" cy="838200"/>
              </a:xfrm>
              <a:prstGeom prst="rect">
                <a:avLst/>
              </a:prstGeom>
              <a:solidFill>
                <a:srgbClr val="D0D1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54783C5A-C6A0-4699-82F3-05052BEE5315}"/>
                  </a:ext>
                </a:extLst>
              </p:cNvPr>
              <p:cNvSpPr/>
              <p:nvPr/>
            </p:nvSpPr>
            <p:spPr>
              <a:xfrm>
                <a:off x="6477000" y="-1105651"/>
                <a:ext cx="914400" cy="838200"/>
              </a:xfrm>
              <a:prstGeom prst="rect">
                <a:avLst/>
              </a:prstGeom>
              <a:solidFill>
                <a:srgbClr val="C4D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880F9A75-28D4-49D8-82D1-C6532F5B0913}"/>
                  </a:ext>
                </a:extLst>
              </p:cNvPr>
              <p:cNvSpPr/>
              <p:nvPr/>
            </p:nvSpPr>
            <p:spPr>
              <a:xfrm>
                <a:off x="2172074" y="-1105651"/>
                <a:ext cx="914400" cy="838200"/>
              </a:xfrm>
              <a:prstGeom prst="rect">
                <a:avLst/>
              </a:prstGeom>
              <a:solidFill>
                <a:srgbClr val="0062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7F353894-5102-4322-99B8-10D8E0DEC861}"/>
                  </a:ext>
                </a:extLst>
              </p:cNvPr>
              <p:cNvSpPr/>
              <p:nvPr/>
            </p:nvSpPr>
            <p:spPr>
              <a:xfrm>
                <a:off x="7533154" y="-1105651"/>
                <a:ext cx="914400" cy="838200"/>
              </a:xfrm>
              <a:prstGeom prst="rect">
                <a:avLst/>
              </a:prstGeom>
              <a:solidFill>
                <a:srgbClr val="FDC8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8" name="Retângulo 17">
                <a:extLst>
                  <a:ext uri="{FF2B5EF4-FFF2-40B4-BE49-F238E27FC236}">
                    <a16:creationId xmlns:a16="http://schemas.microsoft.com/office/drawing/2014/main" id="{9AED6FFB-A57C-4A67-8336-0F3364E69E69}"/>
                  </a:ext>
                </a:extLst>
              </p:cNvPr>
              <p:cNvSpPr/>
              <p:nvPr/>
            </p:nvSpPr>
            <p:spPr>
              <a:xfrm>
                <a:off x="4312772" y="-1105651"/>
                <a:ext cx="914400" cy="838200"/>
              </a:xfrm>
              <a:prstGeom prst="rect">
                <a:avLst/>
              </a:prstGeom>
              <a:solidFill>
                <a:srgbClr val="B2E8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EAC1861-4938-49D1-A93B-22B0751B7B71}"/>
                  </a:ext>
                </a:extLst>
              </p:cNvPr>
              <p:cNvSpPr/>
              <p:nvPr/>
            </p:nvSpPr>
            <p:spPr>
              <a:xfrm>
                <a:off x="8603503" y="-1105651"/>
                <a:ext cx="914400" cy="838200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964"/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A47F9BF-E42F-4787-9E86-14EC5D416A8C}"/>
                </a:ext>
              </a:extLst>
            </p:cNvPr>
            <p:cNvSpPr/>
            <p:nvPr/>
          </p:nvSpPr>
          <p:spPr>
            <a:xfrm>
              <a:off x="5394886" y="-1105651"/>
              <a:ext cx="914400" cy="83820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964"/>
            </a:p>
          </p:txBody>
        </p:sp>
      </p:grpSp>
      <p:sp>
        <p:nvSpPr>
          <p:cNvPr id="20" name="Retângulo 19">
            <a:extLst>
              <a:ext uri="{FF2B5EF4-FFF2-40B4-BE49-F238E27FC236}">
                <a16:creationId xmlns:a16="http://schemas.microsoft.com/office/drawing/2014/main" id="{E6710E80-663E-44BA-95EE-6E08D04F567A}"/>
              </a:ext>
            </a:extLst>
          </p:cNvPr>
          <p:cNvSpPr/>
          <p:nvPr userDrawn="1"/>
        </p:nvSpPr>
        <p:spPr>
          <a:xfrm>
            <a:off x="0" y="-659542"/>
            <a:ext cx="819150" cy="555621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5ED492D-F9B9-4FDA-9DB3-F5174EFA5999}"/>
              </a:ext>
            </a:extLst>
          </p:cNvPr>
          <p:cNvSpPr/>
          <p:nvPr userDrawn="1"/>
        </p:nvSpPr>
        <p:spPr>
          <a:xfrm>
            <a:off x="905206" y="-659542"/>
            <a:ext cx="819150" cy="536699"/>
          </a:xfrm>
          <a:prstGeom prst="rect">
            <a:avLst/>
          </a:prstGeom>
          <a:solidFill>
            <a:srgbClr val="0062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EDBE3CA-CD13-441F-9C06-E3E07B974241}"/>
              </a:ext>
            </a:extLst>
          </p:cNvPr>
          <p:cNvSpPr/>
          <p:nvPr userDrawn="1"/>
        </p:nvSpPr>
        <p:spPr>
          <a:xfrm>
            <a:off x="1808913" y="-659542"/>
            <a:ext cx="819150" cy="55562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03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</p:sldLayoutIdLst>
  <p:hf hdr="0" ftr="0" dt="0"/>
  <p:txStyles>
    <p:titleStyle>
      <a:lvl1pPr algn="l" defTabSz="1344077" rtl="0" eaLnBrk="1" latinLnBrk="0" hangingPunct="1">
        <a:lnSpc>
          <a:spcPct val="90000"/>
        </a:lnSpc>
        <a:spcBef>
          <a:spcPct val="0"/>
        </a:spcBef>
        <a:buNone/>
        <a:defRPr sz="64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344077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None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indent="0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None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211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249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8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325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91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23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6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306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04ADCD2-081C-0201-226E-036AB8279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07163349"/>
              </p:ext>
            </p:extLst>
          </p:nvPr>
        </p:nvGraphicFramePr>
        <p:xfrm>
          <a:off x="2344" y="2334"/>
          <a:ext cx="2345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2" imgW="354" imgH="354" progId="TCLayout.ActiveDocument.1">
                  <p:embed/>
                </p:oleObj>
              </mc:Choice>
              <mc:Fallback>
                <p:oleObj name="Slide do think-cell" r:id="rId22" imgW="354" imgH="3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ADCD2-081C-0201-226E-036AB8279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344" y="2334"/>
                        <a:ext cx="2345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CAA43E8-5ECB-5057-6FCC-12ED5EEC5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7546" y="536701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21B4878-7B06-73A0-97DC-C60FA38DE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7546" y="2683500"/>
            <a:ext cx="15525572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C75630E-175F-BE7F-ABAF-ACA163DB49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4C5F915-6503-679C-23A1-B3FFCDF75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962720" y="9343247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D4795AB-EAD5-6858-F28A-4549E9481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5569BAED-9AED-AEF6-17A2-4FC4C6D26C2F}"/>
              </a:ext>
            </a:extLst>
          </p:cNvPr>
          <p:cNvSpPr>
            <a:spLocks noChangeAspect="1"/>
          </p:cNvSpPr>
          <p:nvPr userDrawn="1"/>
        </p:nvSpPr>
        <p:spPr>
          <a:xfrm>
            <a:off x="-865031" y="9440840"/>
            <a:ext cx="318909" cy="317500"/>
          </a:xfrm>
          <a:prstGeom prst="rect">
            <a:avLst/>
          </a:prstGeom>
          <a:solidFill>
            <a:srgbClr val="002A4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204C0C4D-C219-EFFC-C7C8-D3B0BC725852}"/>
              </a:ext>
            </a:extLst>
          </p:cNvPr>
          <p:cNvSpPr>
            <a:spLocks noChangeAspect="1"/>
          </p:cNvSpPr>
          <p:nvPr userDrawn="1"/>
        </p:nvSpPr>
        <p:spPr>
          <a:xfrm>
            <a:off x="-865031" y="9758340"/>
            <a:ext cx="318909" cy="3175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94F8C97E-34E3-4DE5-D660-06F37EAAC8C1}"/>
              </a:ext>
            </a:extLst>
          </p:cNvPr>
          <p:cNvSpPr>
            <a:spLocks noChangeAspect="1"/>
          </p:cNvSpPr>
          <p:nvPr userDrawn="1"/>
        </p:nvSpPr>
        <p:spPr>
          <a:xfrm>
            <a:off x="-546122" y="9758340"/>
            <a:ext cx="318909" cy="317500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7A292AFA-2C6F-4730-719B-4650A11AD849}"/>
              </a:ext>
            </a:extLst>
          </p:cNvPr>
          <p:cNvSpPr>
            <a:spLocks noChangeAspect="1"/>
          </p:cNvSpPr>
          <p:nvPr userDrawn="1"/>
        </p:nvSpPr>
        <p:spPr>
          <a:xfrm>
            <a:off x="-546122" y="9440840"/>
            <a:ext cx="318909" cy="317500"/>
          </a:xfrm>
          <a:prstGeom prst="rect">
            <a:avLst/>
          </a:prstGeom>
          <a:solidFill>
            <a:srgbClr val="8C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4734A112-D4AB-A652-848C-5D3843F8C214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8390567"/>
            <a:ext cx="318909" cy="317500"/>
          </a:xfrm>
          <a:prstGeom prst="rect">
            <a:avLst/>
          </a:prstGeom>
          <a:solidFill>
            <a:srgbClr val="00629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64A468E1-28D9-6C75-13FF-A37543668AE2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8708067"/>
            <a:ext cx="318909" cy="317500"/>
          </a:xfrm>
          <a:prstGeom prst="rect">
            <a:avLst/>
          </a:prstGeom>
          <a:solidFill>
            <a:srgbClr val="80B0C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147371FE-6EDC-692C-58E8-5F4A54E55BA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8708067"/>
            <a:ext cx="318909" cy="317500"/>
          </a:xfrm>
          <a:prstGeom prst="rect">
            <a:avLst/>
          </a:prstGeom>
          <a:solidFill>
            <a:srgbClr val="BFD8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4E29E889-0C3B-AAE2-3FFE-746513B267AE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8390567"/>
            <a:ext cx="318909" cy="317500"/>
          </a:xfrm>
          <a:prstGeom prst="rect">
            <a:avLst/>
          </a:prstGeom>
          <a:solidFill>
            <a:srgbClr val="4089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75903941-EC0B-50EF-7976-8073CAF588EF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7338332"/>
            <a:ext cx="318909" cy="317500"/>
          </a:xfrm>
          <a:prstGeom prst="rect">
            <a:avLst/>
          </a:prstGeom>
          <a:solidFill>
            <a:srgbClr val="3DDA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8" name="Retângulo 57">
            <a:extLst>
              <a:ext uri="{FF2B5EF4-FFF2-40B4-BE49-F238E27FC236}">
                <a16:creationId xmlns:a16="http://schemas.microsoft.com/office/drawing/2014/main" id="{6B6B088B-C430-0D58-D022-1D40323AA97A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7655832"/>
            <a:ext cx="318909" cy="317500"/>
          </a:xfrm>
          <a:prstGeom prst="rect">
            <a:avLst/>
          </a:prstGeom>
          <a:solidFill>
            <a:srgbClr val="9EEC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BFDAB5D0-FAE9-1C40-1CC2-4481D512397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7655832"/>
            <a:ext cx="318909" cy="317500"/>
          </a:xfrm>
          <a:prstGeom prst="rect">
            <a:avLst/>
          </a:prstGeom>
          <a:solidFill>
            <a:srgbClr val="CFF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EEF16E23-F360-BDD6-3BD9-D7970ED4309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7338332"/>
            <a:ext cx="318909" cy="317500"/>
          </a:xfrm>
          <a:prstGeom prst="rect">
            <a:avLst/>
          </a:prstGeom>
          <a:solidFill>
            <a:srgbClr val="6EE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69EE69E6-49EA-E2FC-1FA7-EAB77C403EA4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6294805"/>
            <a:ext cx="318909" cy="317500"/>
          </a:xfrm>
          <a:prstGeom prst="rect">
            <a:avLst/>
          </a:prstGeom>
          <a:solidFill>
            <a:srgbClr val="6366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2" name="Retângulo 61">
            <a:extLst>
              <a:ext uri="{FF2B5EF4-FFF2-40B4-BE49-F238E27FC236}">
                <a16:creationId xmlns:a16="http://schemas.microsoft.com/office/drawing/2014/main" id="{3E42285B-F981-844D-5148-38D6DC515DA8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6612305"/>
            <a:ext cx="318909" cy="317500"/>
          </a:xfrm>
          <a:prstGeom prst="rect">
            <a:avLst/>
          </a:prstGeom>
          <a:solidFill>
            <a:srgbClr val="B1B3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3" name="Retângulo 62">
            <a:extLst>
              <a:ext uri="{FF2B5EF4-FFF2-40B4-BE49-F238E27FC236}">
                <a16:creationId xmlns:a16="http://schemas.microsoft.com/office/drawing/2014/main" id="{0584B660-9FD5-5F1D-7197-D6FFC0C4B557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6612305"/>
            <a:ext cx="318909" cy="317500"/>
          </a:xfrm>
          <a:prstGeom prst="rect">
            <a:avLst/>
          </a:prstGeom>
          <a:solidFill>
            <a:srgbClr val="D8D9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4" name="Retângulo 63">
            <a:extLst>
              <a:ext uri="{FF2B5EF4-FFF2-40B4-BE49-F238E27FC236}">
                <a16:creationId xmlns:a16="http://schemas.microsoft.com/office/drawing/2014/main" id="{22C91C1B-87D8-B2BB-D5FF-51EE11AC81A7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6294805"/>
            <a:ext cx="318909" cy="317500"/>
          </a:xfrm>
          <a:prstGeom prst="rect">
            <a:avLst/>
          </a:prstGeom>
          <a:solidFill>
            <a:srgbClr val="8A8C8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5" name="Retângulo 64">
            <a:extLst>
              <a:ext uri="{FF2B5EF4-FFF2-40B4-BE49-F238E27FC236}">
                <a16:creationId xmlns:a16="http://schemas.microsoft.com/office/drawing/2014/main" id="{DCE0AA1B-4DFE-A9B2-6228-3A84A0AB57AF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5244533"/>
            <a:ext cx="318909" cy="31750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A3D00062-7F50-3A08-0954-BEEC8408B441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5562033"/>
            <a:ext cx="318909" cy="317500"/>
          </a:xfrm>
          <a:prstGeom prst="rect">
            <a:avLst/>
          </a:prstGeom>
          <a:solidFill>
            <a:srgbClr val="F6C5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759B9EFF-E0BA-9546-D09F-B7AE98EDF070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5562033"/>
            <a:ext cx="318909" cy="317500"/>
          </a:xfrm>
          <a:prstGeom prst="rect">
            <a:avLst/>
          </a:prstGeom>
          <a:solidFill>
            <a:srgbClr val="FAE2B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8" name="Retângulo 67">
            <a:extLst>
              <a:ext uri="{FF2B5EF4-FFF2-40B4-BE49-F238E27FC236}">
                <a16:creationId xmlns:a16="http://schemas.microsoft.com/office/drawing/2014/main" id="{0171EDC5-E15B-2F17-D00C-8315B69AE349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5244533"/>
            <a:ext cx="318909" cy="317500"/>
          </a:xfrm>
          <a:prstGeom prst="rect">
            <a:avLst/>
          </a:prstGeom>
          <a:solidFill>
            <a:srgbClr val="F1A8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453C4200-0C9B-1105-7E74-93944AF4319D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4194262"/>
            <a:ext cx="318909" cy="317500"/>
          </a:xfrm>
          <a:prstGeom prst="rect">
            <a:avLst/>
          </a:prstGeom>
          <a:solidFill>
            <a:srgbClr val="EBFF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C98AF9FF-A002-04BC-12E6-7CA0BA4E3EDC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4511762"/>
            <a:ext cx="318909" cy="317500"/>
          </a:xfrm>
          <a:prstGeom prst="rect">
            <a:avLst/>
          </a:prstGeom>
          <a:solidFill>
            <a:srgbClr val="F5FF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CA63DAD7-6A64-0E14-3F2A-2A821D128FE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4511762"/>
            <a:ext cx="318909" cy="317500"/>
          </a:xfrm>
          <a:prstGeom prst="rect">
            <a:avLst/>
          </a:prstGeom>
          <a:solidFill>
            <a:srgbClr val="FAFFB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id="{406B1D95-A1A3-67FE-F154-085214FD3F96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4194262"/>
            <a:ext cx="318909" cy="317500"/>
          </a:xfrm>
          <a:prstGeom prst="rect">
            <a:avLst/>
          </a:prstGeom>
          <a:solidFill>
            <a:srgbClr val="F0FF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3" name="Retângulo 72">
            <a:extLst>
              <a:ext uri="{FF2B5EF4-FFF2-40B4-BE49-F238E27FC236}">
                <a16:creationId xmlns:a16="http://schemas.microsoft.com/office/drawing/2014/main" id="{B1B43B00-B3D9-02EA-72BB-BC31897B9440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3143989"/>
            <a:ext cx="318909" cy="317500"/>
          </a:xfrm>
          <a:prstGeom prst="rect">
            <a:avLst/>
          </a:prstGeom>
          <a:solidFill>
            <a:srgbClr val="C4D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4" name="Retângulo 73">
            <a:extLst>
              <a:ext uri="{FF2B5EF4-FFF2-40B4-BE49-F238E27FC236}">
                <a16:creationId xmlns:a16="http://schemas.microsoft.com/office/drawing/2014/main" id="{56A2D93C-9AD7-45D8-5225-73C8529F99EC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3461489"/>
            <a:ext cx="318909" cy="317500"/>
          </a:xfrm>
          <a:prstGeom prst="rect">
            <a:avLst/>
          </a:prstGeom>
          <a:solidFill>
            <a:srgbClr val="E1E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5" name="Retângulo 74">
            <a:extLst>
              <a:ext uri="{FF2B5EF4-FFF2-40B4-BE49-F238E27FC236}">
                <a16:creationId xmlns:a16="http://schemas.microsoft.com/office/drawing/2014/main" id="{92C19AA4-15CB-6757-A9BE-9F861F570D6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3461489"/>
            <a:ext cx="318909" cy="317500"/>
          </a:xfrm>
          <a:prstGeom prst="rect">
            <a:avLst/>
          </a:prstGeom>
          <a:solidFill>
            <a:srgbClr val="F0F5B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10F9868C-6547-067D-711D-5BF5243A6E66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3143989"/>
            <a:ext cx="318909" cy="317500"/>
          </a:xfrm>
          <a:prstGeom prst="rect">
            <a:avLst/>
          </a:prstGeom>
          <a:solidFill>
            <a:srgbClr val="D3E0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7" name="Retângulo 76">
            <a:extLst>
              <a:ext uri="{FF2B5EF4-FFF2-40B4-BE49-F238E27FC236}">
                <a16:creationId xmlns:a16="http://schemas.microsoft.com/office/drawing/2014/main" id="{89741077-7A11-7DC8-7648-820B0B58CF6E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2093717"/>
            <a:ext cx="318909" cy="317500"/>
          </a:xfrm>
          <a:prstGeom prst="rect">
            <a:avLst/>
          </a:prstGeom>
          <a:solidFill>
            <a:srgbClr val="00B2A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8" name="Retângulo 77">
            <a:extLst>
              <a:ext uri="{FF2B5EF4-FFF2-40B4-BE49-F238E27FC236}">
                <a16:creationId xmlns:a16="http://schemas.microsoft.com/office/drawing/2014/main" id="{8F0AEE39-9CE9-DA3E-991D-AD141CDC0C10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2411217"/>
            <a:ext cx="318909" cy="317500"/>
          </a:xfrm>
          <a:prstGeom prst="rect">
            <a:avLst/>
          </a:prstGeom>
          <a:solidFill>
            <a:srgbClr val="80D8D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9" name="Retângulo 78">
            <a:extLst>
              <a:ext uri="{FF2B5EF4-FFF2-40B4-BE49-F238E27FC236}">
                <a16:creationId xmlns:a16="http://schemas.microsoft.com/office/drawing/2014/main" id="{EACE23A4-96E9-B767-7E42-6F85D6CE45E4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2411217"/>
            <a:ext cx="318909" cy="317500"/>
          </a:xfrm>
          <a:prstGeom prst="rect">
            <a:avLst/>
          </a:prstGeom>
          <a:solidFill>
            <a:srgbClr val="BFEC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0" name="Retângulo 79">
            <a:extLst>
              <a:ext uri="{FF2B5EF4-FFF2-40B4-BE49-F238E27FC236}">
                <a16:creationId xmlns:a16="http://schemas.microsoft.com/office/drawing/2014/main" id="{62C9E5B3-6AD0-0015-179C-99E602258647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2093717"/>
            <a:ext cx="318909" cy="317500"/>
          </a:xfrm>
          <a:prstGeom prst="rect">
            <a:avLst/>
          </a:prstGeom>
          <a:solidFill>
            <a:srgbClr val="40C5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1" name="Retângulo 80">
            <a:extLst>
              <a:ext uri="{FF2B5EF4-FFF2-40B4-BE49-F238E27FC236}">
                <a16:creationId xmlns:a16="http://schemas.microsoft.com/office/drawing/2014/main" id="{2C67F97C-B90D-425D-B64C-CFD9688B464F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1043445"/>
            <a:ext cx="318909" cy="317500"/>
          </a:xfrm>
          <a:prstGeom prst="rect">
            <a:avLst/>
          </a:prstGeom>
          <a:solidFill>
            <a:srgbClr val="FDC8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2" name="Retângulo 81">
            <a:extLst>
              <a:ext uri="{FF2B5EF4-FFF2-40B4-BE49-F238E27FC236}">
                <a16:creationId xmlns:a16="http://schemas.microsoft.com/office/drawing/2014/main" id="{1EB0A2BF-5906-2004-3AAC-D99661048995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1360945"/>
            <a:ext cx="318909" cy="317500"/>
          </a:xfrm>
          <a:prstGeom prst="rect">
            <a:avLst/>
          </a:prstGeom>
          <a:solidFill>
            <a:srgbClr val="FEE3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3" name="Retângulo 82">
            <a:extLst>
              <a:ext uri="{FF2B5EF4-FFF2-40B4-BE49-F238E27FC236}">
                <a16:creationId xmlns:a16="http://schemas.microsoft.com/office/drawing/2014/main" id="{AF8545E1-273A-4B86-9629-4D730C6A161B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1360945"/>
            <a:ext cx="318909" cy="317500"/>
          </a:xfrm>
          <a:prstGeom prst="rect">
            <a:avLst/>
          </a:prstGeom>
          <a:solidFill>
            <a:srgbClr val="FEF1C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4" name="Retângulo 83">
            <a:extLst>
              <a:ext uri="{FF2B5EF4-FFF2-40B4-BE49-F238E27FC236}">
                <a16:creationId xmlns:a16="http://schemas.microsoft.com/office/drawing/2014/main" id="{4A50D1C2-598E-BB25-9FDE-9A7A53DFF27E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1043445"/>
            <a:ext cx="318909" cy="317500"/>
          </a:xfrm>
          <a:prstGeom prst="rect">
            <a:avLst/>
          </a:prstGeom>
          <a:solidFill>
            <a:srgbClr val="FDD66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5" name="Retângulo 84">
            <a:extLst>
              <a:ext uri="{FF2B5EF4-FFF2-40B4-BE49-F238E27FC236}">
                <a16:creationId xmlns:a16="http://schemas.microsoft.com/office/drawing/2014/main" id="{FDB80E04-C134-36C9-3A7A-28F5710921A1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310672"/>
            <a:ext cx="318909" cy="317500"/>
          </a:xfrm>
          <a:prstGeom prst="rect">
            <a:avLst/>
          </a:prstGeom>
          <a:solidFill>
            <a:srgbClr val="80C2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4A052D11-2C51-607F-6FC7-BAADCFE87731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310672"/>
            <a:ext cx="318909" cy="317500"/>
          </a:xfrm>
          <a:prstGeom prst="rect">
            <a:avLst/>
          </a:prstGeom>
          <a:solidFill>
            <a:srgbClr val="BFE0D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8BC380ED-064E-A5E3-6424-C3DB00E29D7E}"/>
              </a:ext>
            </a:extLst>
          </p:cNvPr>
          <p:cNvSpPr txBox="1"/>
          <p:nvPr userDrawn="1"/>
        </p:nvSpPr>
        <p:spPr>
          <a:xfrm rot="16200000">
            <a:off x="-4993732" y="4266272"/>
            <a:ext cx="7646060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70">
                <a:solidFill>
                  <a:prstClr val="white"/>
                </a:solidFill>
                <a:latin typeface="Trebuchet MS" panose="020B0603020202020204"/>
              </a:rPr>
              <a:t>Paleta Petrobras (cores principais e secundárias)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CF2A7F28-0F97-C39E-1794-21B89FED762B}"/>
              </a:ext>
            </a:extLst>
          </p:cNvPr>
          <p:cNvCxnSpPr>
            <a:cxnSpLocks/>
          </p:cNvCxnSpPr>
          <p:nvPr userDrawn="1"/>
        </p:nvCxnSpPr>
        <p:spPr>
          <a:xfrm>
            <a:off x="-1105768" y="9017861"/>
            <a:ext cx="202265" cy="0"/>
          </a:xfrm>
          <a:prstGeom prst="line">
            <a:avLst/>
          </a:pr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89" name="Retângulo 88">
            <a:extLst>
              <a:ext uri="{FF2B5EF4-FFF2-40B4-BE49-F238E27FC236}">
                <a16:creationId xmlns:a16="http://schemas.microsoft.com/office/drawing/2014/main" id="{CB4A3958-5641-878E-7566-D990C5E02CDC}"/>
              </a:ext>
            </a:extLst>
          </p:cNvPr>
          <p:cNvSpPr>
            <a:spLocks noChangeAspect="1"/>
          </p:cNvSpPr>
          <p:nvPr userDrawn="1"/>
        </p:nvSpPr>
        <p:spPr>
          <a:xfrm>
            <a:off x="-867088" y="-6828"/>
            <a:ext cx="318909" cy="317500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>
              <a:solidFill>
                <a:schemeClr val="accent4"/>
              </a:solidFill>
            </a:endParaRPr>
          </a:p>
        </p:txBody>
      </p:sp>
      <p:sp>
        <p:nvSpPr>
          <p:cNvPr id="90" name="Retângulo 89">
            <a:extLst>
              <a:ext uri="{FF2B5EF4-FFF2-40B4-BE49-F238E27FC236}">
                <a16:creationId xmlns:a16="http://schemas.microsoft.com/office/drawing/2014/main" id="{74F77B0D-CFBA-2CDC-59AB-E2DD1DFB14A3}"/>
              </a:ext>
            </a:extLst>
          </p:cNvPr>
          <p:cNvSpPr>
            <a:spLocks noChangeAspect="1"/>
          </p:cNvSpPr>
          <p:nvPr userDrawn="1"/>
        </p:nvSpPr>
        <p:spPr>
          <a:xfrm>
            <a:off x="-548178" y="-6828"/>
            <a:ext cx="318909" cy="317500"/>
          </a:xfrm>
          <a:prstGeom prst="rect">
            <a:avLst/>
          </a:prstGeom>
          <a:solidFill>
            <a:srgbClr val="40A3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6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143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90" r:id="rId18"/>
    <p:sldLayoutId id="2147483891" r:id="rId19"/>
  </p:sldLayoutIdLst>
  <p:transition>
    <p:fade/>
  </p:transition>
  <p:txStyles>
    <p:titleStyle>
      <a:lvl1pPr algn="l" defTabSz="1344077" rtl="0" eaLnBrk="1" latinLnBrk="0" hangingPunct="1">
        <a:lnSpc>
          <a:spcPct val="90000"/>
        </a:lnSpc>
        <a:spcBef>
          <a:spcPct val="0"/>
        </a:spcBef>
        <a:buNone/>
        <a:defRPr sz="4704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19" indent="-336019" algn="l" defTabSz="1344077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5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680096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352134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172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211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249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8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325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91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23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6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306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04ADCD2-081C-0201-226E-036AB8279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07163349"/>
              </p:ext>
            </p:extLst>
          </p:nvPr>
        </p:nvGraphicFramePr>
        <p:xfrm>
          <a:off x="2344" y="2334"/>
          <a:ext cx="2345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5" imgW="354" imgH="354" progId="TCLayout.ActiveDocument.1">
                  <p:embed/>
                </p:oleObj>
              </mc:Choice>
              <mc:Fallback>
                <p:oleObj name="Slide do think-cell" r:id="rId25" imgW="354" imgH="3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ADCD2-081C-0201-226E-036AB8279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344" y="2334"/>
                        <a:ext cx="2345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CAA43E8-5ECB-5057-6FCC-12ED5EEC5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7546" y="536701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21B4878-7B06-73A0-97DC-C60FA38DE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7546" y="2683500"/>
            <a:ext cx="15525572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C75630E-175F-BE7F-ABAF-ACA163DB49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4265871-5635-49B2-9B31-7D2C167026A7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4C5F915-6503-679C-23A1-B3FFCDF75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962720" y="9343247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D4795AB-EAD5-6858-F28A-4549E9481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B301561-2448-42B4-B00F-9EA51076D58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2595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</p:sldLayoutIdLst>
  <p:transition>
    <p:fade/>
  </p:transition>
  <p:txStyles>
    <p:titleStyle>
      <a:lvl1pPr algn="l" defTabSz="1344077" rtl="0" eaLnBrk="1" latinLnBrk="0" hangingPunct="1">
        <a:lnSpc>
          <a:spcPct val="90000"/>
        </a:lnSpc>
        <a:spcBef>
          <a:spcPct val="0"/>
        </a:spcBef>
        <a:buNone/>
        <a:defRPr sz="4704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19" indent="-336019" algn="l" defTabSz="1344077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5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680096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352134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172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211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249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8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325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91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23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6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306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85CFC426-13DE-4FFC-C398-9872F7FC70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8350122" y="3665149"/>
            <a:ext cx="4250813" cy="64154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2C10DB0-06D3-C03D-170A-E2D6CE317BD6}"/>
              </a:ext>
            </a:extLst>
          </p:cNvPr>
          <p:cNvSpPr txBox="1">
            <a:spLocks/>
          </p:cNvSpPr>
          <p:nvPr userDrawn="1"/>
        </p:nvSpPr>
        <p:spPr>
          <a:xfrm>
            <a:off x="18650640" y="5517058"/>
            <a:ext cx="3679771" cy="188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37">
              <a:spcAft>
                <a:spcPts val="489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Cores Principais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2B4CA34-E286-81DE-671B-AA474F1749EB}"/>
              </a:ext>
            </a:extLst>
          </p:cNvPr>
          <p:cNvSpPr txBox="1">
            <a:spLocks/>
          </p:cNvSpPr>
          <p:nvPr userDrawn="1"/>
        </p:nvSpPr>
        <p:spPr>
          <a:xfrm>
            <a:off x="18650640" y="7075401"/>
            <a:ext cx="3679771" cy="188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37">
              <a:spcAft>
                <a:spcPts val="489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Combinações proibidas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96C7E4E-03D8-EF1C-6197-EA2DEA60FA17}"/>
              </a:ext>
            </a:extLst>
          </p:cNvPr>
          <p:cNvSpPr txBox="1">
            <a:spLocks/>
          </p:cNvSpPr>
          <p:nvPr userDrawn="1"/>
        </p:nvSpPr>
        <p:spPr>
          <a:xfrm>
            <a:off x="18650639" y="6263987"/>
            <a:ext cx="3679771" cy="188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37">
              <a:spcAft>
                <a:spcPts val="489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Cores de Apoio</a:t>
            </a:r>
            <a:endParaRPr lang="pt-BR" sz="1224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536989A-93CC-D3B8-1DDF-399A942F2EB1}"/>
              </a:ext>
            </a:extLst>
          </p:cNvPr>
          <p:cNvSpPr txBox="1">
            <a:spLocks/>
          </p:cNvSpPr>
          <p:nvPr userDrawn="1"/>
        </p:nvSpPr>
        <p:spPr>
          <a:xfrm>
            <a:off x="18635641" y="3910893"/>
            <a:ext cx="3679771" cy="13996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defTabSz="1120037">
              <a:spcAft>
                <a:spcPts val="735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Uso de cores e combinações permitidas:</a:t>
            </a:r>
          </a:p>
          <a:p>
            <a:pPr marL="112780" lvl="1" indent="-112780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4" b="0" kern="0">
                <a:solidFill>
                  <a:schemeClr val="tx1"/>
                </a:solidFill>
                <a:latin typeface="+mn-lt"/>
              </a:rPr>
              <a:t>Sempre utilize uma ou duas cores principais</a:t>
            </a:r>
            <a:br>
              <a:rPr lang="pt-BR" sz="1224" b="0" kern="0">
                <a:solidFill>
                  <a:schemeClr val="tx1"/>
                </a:solidFill>
                <a:latin typeface="+mn-lt"/>
              </a:rPr>
            </a:br>
            <a:r>
              <a:rPr lang="pt-BR" sz="1224" b="0" kern="0">
                <a:solidFill>
                  <a:schemeClr val="tx1"/>
                </a:solidFill>
                <a:latin typeface="+mn-lt"/>
              </a:rPr>
              <a:t> (Verde Petrobras ou Amarelo Petrobras);</a:t>
            </a:r>
          </a:p>
          <a:p>
            <a:pPr marL="112780" lvl="1" indent="-112780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4" b="0" kern="0">
                <a:solidFill>
                  <a:schemeClr val="tx1"/>
                </a:solidFill>
                <a:latin typeface="+mn-lt"/>
              </a:rPr>
              <a:t>Utilize no máximo 3 cores + branco predominante;</a:t>
            </a:r>
          </a:p>
          <a:p>
            <a:pPr marL="112780" lvl="1" indent="-112780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4" b="0" kern="0">
                <a:solidFill>
                  <a:schemeClr val="tx1"/>
                </a:solidFill>
                <a:latin typeface="+mn-lt"/>
              </a:rPr>
              <a:t>Atenção para não utilizar alguma das combinações proibidas abaixo: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244977AE-384C-4CCB-612D-8F11E61882FB}"/>
              </a:ext>
            </a:extLst>
          </p:cNvPr>
          <p:cNvGrpSpPr/>
          <p:nvPr userDrawn="1"/>
        </p:nvGrpSpPr>
        <p:grpSpPr>
          <a:xfrm>
            <a:off x="18634831" y="6569734"/>
            <a:ext cx="3679771" cy="294183"/>
            <a:chOff x="15145832" y="4114800"/>
            <a:chExt cx="2990808" cy="240164"/>
          </a:xfrm>
        </p:grpSpPr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AF05544D-3B5C-6937-4108-746F494D978B}"/>
                </a:ext>
              </a:extLst>
            </p:cNvPr>
            <p:cNvSpPr/>
            <p:nvPr userDrawn="1"/>
          </p:nvSpPr>
          <p:spPr>
            <a:xfrm>
              <a:off x="15145832" y="4114800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6614B0C8-96B8-7A66-C081-90D106D9A5DF}"/>
                </a:ext>
              </a:extLst>
            </p:cNvPr>
            <p:cNvSpPr/>
            <p:nvPr userDrawn="1"/>
          </p:nvSpPr>
          <p:spPr>
            <a:xfrm>
              <a:off x="15578031" y="4114800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chemeClr val="accent5"/>
                </a:solidFill>
              </a:endParaRPr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93314DDA-D25D-7120-420A-703D00A4EFC9}"/>
                </a:ext>
              </a:extLst>
            </p:cNvPr>
            <p:cNvSpPr/>
            <p:nvPr userDrawn="1"/>
          </p:nvSpPr>
          <p:spPr>
            <a:xfrm>
              <a:off x="16010229" y="4114800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9D6467AC-51BF-E17A-E409-E2BBA6937075}"/>
                </a:ext>
              </a:extLst>
            </p:cNvPr>
            <p:cNvSpPr/>
            <p:nvPr userDrawn="1"/>
          </p:nvSpPr>
          <p:spPr>
            <a:xfrm>
              <a:off x="16444042" y="4114800"/>
              <a:ext cx="394967" cy="2401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99028A5B-889C-0B64-8027-A54F8F0EB5BE}"/>
                </a:ext>
              </a:extLst>
            </p:cNvPr>
            <p:cNvSpPr/>
            <p:nvPr userDrawn="1"/>
          </p:nvSpPr>
          <p:spPr>
            <a:xfrm>
              <a:off x="16877855" y="4114800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EB5F6D06-59E2-9202-34ED-A624E7AE128C}"/>
                </a:ext>
              </a:extLst>
            </p:cNvPr>
            <p:cNvSpPr/>
            <p:nvPr userDrawn="1"/>
          </p:nvSpPr>
          <p:spPr>
            <a:xfrm>
              <a:off x="17309764" y="4114800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A5FE6B6B-8644-487F-3BCF-A57B670940F3}"/>
                </a:ext>
              </a:extLst>
            </p:cNvPr>
            <p:cNvSpPr/>
            <p:nvPr userDrawn="1"/>
          </p:nvSpPr>
          <p:spPr>
            <a:xfrm>
              <a:off x="17741673" y="4114800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345DFD44-8A4B-3624-EBAB-B85E078FB431}"/>
              </a:ext>
            </a:extLst>
          </p:cNvPr>
          <p:cNvGrpSpPr/>
          <p:nvPr userDrawn="1"/>
        </p:nvGrpSpPr>
        <p:grpSpPr>
          <a:xfrm>
            <a:off x="18634831" y="9540701"/>
            <a:ext cx="1549471" cy="294183"/>
            <a:chOff x="15145832" y="7740653"/>
            <a:chExt cx="1259364" cy="240164"/>
          </a:xfrm>
        </p:grpSpPr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BF1D1444-94BD-38BC-417C-72925E79E6FF}"/>
                </a:ext>
              </a:extLst>
            </p:cNvPr>
            <p:cNvSpPr/>
            <p:nvPr userDrawn="1"/>
          </p:nvSpPr>
          <p:spPr>
            <a:xfrm>
              <a:off x="15145832" y="774065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A574AD50-3655-C304-6E90-CEE319EAEBD6}"/>
                </a:ext>
              </a:extLst>
            </p:cNvPr>
            <p:cNvSpPr/>
            <p:nvPr userDrawn="1"/>
          </p:nvSpPr>
          <p:spPr>
            <a:xfrm>
              <a:off x="15578031" y="7740653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20A36420-262B-3611-2495-765B3AE85FBA}"/>
                </a:ext>
              </a:extLst>
            </p:cNvPr>
            <p:cNvSpPr/>
            <p:nvPr userDrawn="1"/>
          </p:nvSpPr>
          <p:spPr>
            <a:xfrm>
              <a:off x="16010229" y="774065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55AA633D-7085-0808-5A55-A846A32F7FED}"/>
              </a:ext>
            </a:extLst>
          </p:cNvPr>
          <p:cNvGrpSpPr/>
          <p:nvPr userDrawn="1"/>
        </p:nvGrpSpPr>
        <p:grpSpPr>
          <a:xfrm>
            <a:off x="18634831" y="9114226"/>
            <a:ext cx="3679771" cy="294183"/>
            <a:chOff x="15145832" y="7392489"/>
            <a:chExt cx="2990808" cy="240164"/>
          </a:xfrm>
        </p:grpSpPr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D5F260D2-0A7E-DFF1-0B3E-42FF1AB83EBC}"/>
                </a:ext>
              </a:extLst>
            </p:cNvPr>
            <p:cNvSpPr/>
            <p:nvPr userDrawn="1"/>
          </p:nvSpPr>
          <p:spPr>
            <a:xfrm>
              <a:off x="15145832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9117D425-C68C-AE60-BD93-6090A4F97802}"/>
                </a:ext>
              </a:extLst>
            </p:cNvPr>
            <p:cNvSpPr/>
            <p:nvPr userDrawn="1"/>
          </p:nvSpPr>
          <p:spPr>
            <a:xfrm>
              <a:off x="15578031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E5C300B1-7731-22D8-FAC2-810A1CC673E4}"/>
                </a:ext>
              </a:extLst>
            </p:cNvPr>
            <p:cNvSpPr/>
            <p:nvPr userDrawn="1"/>
          </p:nvSpPr>
          <p:spPr>
            <a:xfrm>
              <a:off x="16010229" y="7392489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B6E27E7B-6ECE-6FF5-53DC-934D40D95549}"/>
                </a:ext>
              </a:extLst>
            </p:cNvPr>
            <p:cNvSpPr/>
            <p:nvPr userDrawn="1"/>
          </p:nvSpPr>
          <p:spPr>
            <a:xfrm>
              <a:off x="16877855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34211CB3-C473-2AAC-10F4-69A18BA065FB}"/>
                </a:ext>
              </a:extLst>
            </p:cNvPr>
            <p:cNvSpPr/>
            <p:nvPr userDrawn="1"/>
          </p:nvSpPr>
          <p:spPr>
            <a:xfrm>
              <a:off x="17309764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8" name="Retângulo 27">
              <a:extLst>
                <a:ext uri="{FF2B5EF4-FFF2-40B4-BE49-F238E27FC236}">
                  <a16:creationId xmlns:a16="http://schemas.microsoft.com/office/drawing/2014/main" id="{2EEC7FD3-D9A5-353D-5B6E-8516D7193C9D}"/>
                </a:ext>
              </a:extLst>
            </p:cNvPr>
            <p:cNvSpPr/>
            <p:nvPr userDrawn="1"/>
          </p:nvSpPr>
          <p:spPr>
            <a:xfrm>
              <a:off x="17741673" y="7392489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4BA476EF-41FC-2320-2E26-AB7E6346B869}"/>
              </a:ext>
            </a:extLst>
          </p:cNvPr>
          <p:cNvGrpSpPr/>
          <p:nvPr userDrawn="1"/>
        </p:nvGrpSpPr>
        <p:grpSpPr>
          <a:xfrm>
            <a:off x="18634831" y="8687752"/>
            <a:ext cx="3679771" cy="294183"/>
            <a:chOff x="15145832" y="7044325"/>
            <a:chExt cx="2990808" cy="240164"/>
          </a:xfrm>
        </p:grpSpPr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D0A7D05A-A484-FF9E-E7E3-4E92726C9A1E}"/>
                </a:ext>
              </a:extLst>
            </p:cNvPr>
            <p:cNvSpPr/>
            <p:nvPr userDrawn="1"/>
          </p:nvSpPr>
          <p:spPr>
            <a:xfrm>
              <a:off x="15145832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A6B53475-567F-6DDC-356B-82D7663E75D7}"/>
                </a:ext>
              </a:extLst>
            </p:cNvPr>
            <p:cNvSpPr/>
            <p:nvPr userDrawn="1"/>
          </p:nvSpPr>
          <p:spPr>
            <a:xfrm>
              <a:off x="15578031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5B8E01B3-3379-A8BA-52F6-394998AD6131}"/>
                </a:ext>
              </a:extLst>
            </p:cNvPr>
            <p:cNvSpPr/>
            <p:nvPr userDrawn="1"/>
          </p:nvSpPr>
          <p:spPr>
            <a:xfrm>
              <a:off x="16010229" y="7044325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733381DA-2038-307B-6B49-BB57213AA077}"/>
                </a:ext>
              </a:extLst>
            </p:cNvPr>
            <p:cNvSpPr/>
            <p:nvPr userDrawn="1"/>
          </p:nvSpPr>
          <p:spPr>
            <a:xfrm>
              <a:off x="16877855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1197E02C-9F66-EBCD-CA75-016313A543FE}"/>
                </a:ext>
              </a:extLst>
            </p:cNvPr>
            <p:cNvSpPr/>
            <p:nvPr userDrawn="1"/>
          </p:nvSpPr>
          <p:spPr>
            <a:xfrm>
              <a:off x="17309764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rgbClr val="006298"/>
                </a:solidFill>
              </a:endParaRPr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754FA9AD-AB00-95D9-59EF-0EBE6ACFD1B2}"/>
                </a:ext>
              </a:extLst>
            </p:cNvPr>
            <p:cNvSpPr/>
            <p:nvPr userDrawn="1"/>
          </p:nvSpPr>
          <p:spPr>
            <a:xfrm>
              <a:off x="17741673" y="7044325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AC8AF727-BCDB-CDCB-BCD8-E70FB0CCC1D3}"/>
              </a:ext>
            </a:extLst>
          </p:cNvPr>
          <p:cNvGrpSpPr/>
          <p:nvPr userDrawn="1"/>
        </p:nvGrpSpPr>
        <p:grpSpPr>
          <a:xfrm>
            <a:off x="18634831" y="8261279"/>
            <a:ext cx="3679771" cy="294183"/>
            <a:chOff x="15145832" y="6696161"/>
            <a:chExt cx="2990808" cy="240164"/>
          </a:xfrm>
        </p:grpSpPr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2355B79C-FED7-96A8-C92B-C7C3FC292D47}"/>
                </a:ext>
              </a:extLst>
            </p:cNvPr>
            <p:cNvSpPr/>
            <p:nvPr userDrawn="1"/>
          </p:nvSpPr>
          <p:spPr>
            <a:xfrm>
              <a:off x="15145832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8" name="Retângulo 37">
              <a:extLst>
                <a:ext uri="{FF2B5EF4-FFF2-40B4-BE49-F238E27FC236}">
                  <a16:creationId xmlns:a16="http://schemas.microsoft.com/office/drawing/2014/main" id="{5BBCC7B7-506C-D2B1-1C13-01185F936BB9}"/>
                </a:ext>
              </a:extLst>
            </p:cNvPr>
            <p:cNvSpPr/>
            <p:nvPr userDrawn="1"/>
          </p:nvSpPr>
          <p:spPr>
            <a:xfrm>
              <a:off x="15578031" y="6696161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9" name="Retângulo 38">
              <a:extLst>
                <a:ext uri="{FF2B5EF4-FFF2-40B4-BE49-F238E27FC236}">
                  <a16:creationId xmlns:a16="http://schemas.microsoft.com/office/drawing/2014/main" id="{4FC7CC7B-ED82-9E44-98C6-480102A52486}"/>
                </a:ext>
              </a:extLst>
            </p:cNvPr>
            <p:cNvSpPr/>
            <p:nvPr userDrawn="1"/>
          </p:nvSpPr>
          <p:spPr>
            <a:xfrm>
              <a:off x="16010229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0" name="Retângulo 39">
              <a:extLst>
                <a:ext uri="{FF2B5EF4-FFF2-40B4-BE49-F238E27FC236}">
                  <a16:creationId xmlns:a16="http://schemas.microsoft.com/office/drawing/2014/main" id="{45F2ECA6-A413-47E6-EE72-C6F296026A94}"/>
                </a:ext>
              </a:extLst>
            </p:cNvPr>
            <p:cNvSpPr/>
            <p:nvPr userDrawn="1"/>
          </p:nvSpPr>
          <p:spPr>
            <a:xfrm>
              <a:off x="16877855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1" name="Retângulo 40">
              <a:extLst>
                <a:ext uri="{FF2B5EF4-FFF2-40B4-BE49-F238E27FC236}">
                  <a16:creationId xmlns:a16="http://schemas.microsoft.com/office/drawing/2014/main" id="{F2620856-18ED-50C9-1CE0-A5E0473BFD5E}"/>
                </a:ext>
              </a:extLst>
            </p:cNvPr>
            <p:cNvSpPr/>
            <p:nvPr userDrawn="1"/>
          </p:nvSpPr>
          <p:spPr>
            <a:xfrm>
              <a:off x="17309764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2" name="Retângulo 41">
              <a:extLst>
                <a:ext uri="{FF2B5EF4-FFF2-40B4-BE49-F238E27FC236}">
                  <a16:creationId xmlns:a16="http://schemas.microsoft.com/office/drawing/2014/main" id="{CD1C439D-70E1-32FC-45B8-9D08A684E4C9}"/>
                </a:ext>
              </a:extLst>
            </p:cNvPr>
            <p:cNvSpPr/>
            <p:nvPr userDrawn="1"/>
          </p:nvSpPr>
          <p:spPr>
            <a:xfrm>
              <a:off x="17741673" y="6696161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DA3A88C9-86B5-62C1-3AD4-92C98E3FDB4E}"/>
              </a:ext>
            </a:extLst>
          </p:cNvPr>
          <p:cNvGrpSpPr/>
          <p:nvPr userDrawn="1"/>
        </p:nvGrpSpPr>
        <p:grpSpPr>
          <a:xfrm>
            <a:off x="18634831" y="7834804"/>
            <a:ext cx="3679771" cy="294183"/>
            <a:chOff x="15145832" y="6347997"/>
            <a:chExt cx="2990808" cy="240164"/>
          </a:xfrm>
        </p:grpSpPr>
        <p:sp>
          <p:nvSpPr>
            <p:cNvPr id="44" name="Retângulo 43">
              <a:extLst>
                <a:ext uri="{FF2B5EF4-FFF2-40B4-BE49-F238E27FC236}">
                  <a16:creationId xmlns:a16="http://schemas.microsoft.com/office/drawing/2014/main" id="{045431D7-13C4-39D6-4EAC-D28E3EBBF17C}"/>
                </a:ext>
              </a:extLst>
            </p:cNvPr>
            <p:cNvSpPr/>
            <p:nvPr userDrawn="1"/>
          </p:nvSpPr>
          <p:spPr>
            <a:xfrm>
              <a:off x="15145832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5" name="Retângulo 44">
              <a:extLst>
                <a:ext uri="{FF2B5EF4-FFF2-40B4-BE49-F238E27FC236}">
                  <a16:creationId xmlns:a16="http://schemas.microsoft.com/office/drawing/2014/main" id="{ABC0E0AC-AE45-CB41-1A1E-EC44580E519F}"/>
                </a:ext>
              </a:extLst>
            </p:cNvPr>
            <p:cNvSpPr/>
            <p:nvPr userDrawn="1"/>
          </p:nvSpPr>
          <p:spPr>
            <a:xfrm>
              <a:off x="15578031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id="{DA789C16-079B-5D8B-FBD6-6A9D3D39C3DD}"/>
                </a:ext>
              </a:extLst>
            </p:cNvPr>
            <p:cNvSpPr/>
            <p:nvPr userDrawn="1"/>
          </p:nvSpPr>
          <p:spPr>
            <a:xfrm>
              <a:off x="16010229" y="6347997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7" name="Retângulo 46">
              <a:extLst>
                <a:ext uri="{FF2B5EF4-FFF2-40B4-BE49-F238E27FC236}">
                  <a16:creationId xmlns:a16="http://schemas.microsoft.com/office/drawing/2014/main" id="{B1B71EDF-D04B-B640-3097-36233FF5F98E}"/>
                </a:ext>
              </a:extLst>
            </p:cNvPr>
            <p:cNvSpPr/>
            <p:nvPr userDrawn="1"/>
          </p:nvSpPr>
          <p:spPr>
            <a:xfrm>
              <a:off x="16877855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79D6E0FD-75A6-5295-F3AB-5B085D1D7D98}"/>
                </a:ext>
              </a:extLst>
            </p:cNvPr>
            <p:cNvSpPr/>
            <p:nvPr userDrawn="1"/>
          </p:nvSpPr>
          <p:spPr>
            <a:xfrm>
              <a:off x="17309764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0056506A-3CC9-BFE3-D766-FF6C6F86B55D}"/>
                </a:ext>
              </a:extLst>
            </p:cNvPr>
            <p:cNvSpPr/>
            <p:nvPr userDrawn="1"/>
          </p:nvSpPr>
          <p:spPr>
            <a:xfrm>
              <a:off x="17741673" y="6347997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1E03FD0B-7D7D-2737-BF64-ACFE112351D7}"/>
              </a:ext>
            </a:extLst>
          </p:cNvPr>
          <p:cNvGrpSpPr/>
          <p:nvPr userDrawn="1"/>
        </p:nvGrpSpPr>
        <p:grpSpPr>
          <a:xfrm>
            <a:off x="18636535" y="7408330"/>
            <a:ext cx="3679771" cy="294183"/>
            <a:chOff x="15147217" y="5999833"/>
            <a:chExt cx="2990808" cy="240164"/>
          </a:xfrm>
        </p:grpSpPr>
        <p:sp>
          <p:nvSpPr>
            <p:cNvPr id="51" name="Retângulo 50">
              <a:extLst>
                <a:ext uri="{FF2B5EF4-FFF2-40B4-BE49-F238E27FC236}">
                  <a16:creationId xmlns:a16="http://schemas.microsoft.com/office/drawing/2014/main" id="{F2607542-EC95-0BE6-270D-A2AE0D2EECE8}"/>
                </a:ext>
              </a:extLst>
            </p:cNvPr>
            <p:cNvSpPr/>
            <p:nvPr userDrawn="1"/>
          </p:nvSpPr>
          <p:spPr>
            <a:xfrm>
              <a:off x="15147217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B5B98235-FDB2-6DC4-9549-E97D177275C1}"/>
                </a:ext>
              </a:extLst>
            </p:cNvPr>
            <p:cNvSpPr/>
            <p:nvPr userDrawn="1"/>
          </p:nvSpPr>
          <p:spPr>
            <a:xfrm>
              <a:off x="15579416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3" name="Retângulo 52">
              <a:extLst>
                <a:ext uri="{FF2B5EF4-FFF2-40B4-BE49-F238E27FC236}">
                  <a16:creationId xmlns:a16="http://schemas.microsoft.com/office/drawing/2014/main" id="{7C20AFBE-92B9-4D5F-F8B5-435CBD64E10C}"/>
                </a:ext>
              </a:extLst>
            </p:cNvPr>
            <p:cNvSpPr/>
            <p:nvPr userDrawn="1"/>
          </p:nvSpPr>
          <p:spPr>
            <a:xfrm>
              <a:off x="16011614" y="599983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4" name="Retângulo 53">
              <a:extLst>
                <a:ext uri="{FF2B5EF4-FFF2-40B4-BE49-F238E27FC236}">
                  <a16:creationId xmlns:a16="http://schemas.microsoft.com/office/drawing/2014/main" id="{C8AD360C-D44D-CAD7-4763-C275460786A8}"/>
                </a:ext>
              </a:extLst>
            </p:cNvPr>
            <p:cNvSpPr/>
            <p:nvPr userDrawn="1"/>
          </p:nvSpPr>
          <p:spPr>
            <a:xfrm>
              <a:off x="16879240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5" name="Retângulo 54">
              <a:extLst>
                <a:ext uri="{FF2B5EF4-FFF2-40B4-BE49-F238E27FC236}">
                  <a16:creationId xmlns:a16="http://schemas.microsoft.com/office/drawing/2014/main" id="{C348805D-F8B4-2F71-26DE-695D7126A157}"/>
                </a:ext>
              </a:extLst>
            </p:cNvPr>
            <p:cNvSpPr/>
            <p:nvPr userDrawn="1"/>
          </p:nvSpPr>
          <p:spPr>
            <a:xfrm>
              <a:off x="17311149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6" name="Retângulo 55">
              <a:extLst>
                <a:ext uri="{FF2B5EF4-FFF2-40B4-BE49-F238E27FC236}">
                  <a16:creationId xmlns:a16="http://schemas.microsoft.com/office/drawing/2014/main" id="{073406F1-D1A4-1A0D-EF37-6D98BFC73C12}"/>
                </a:ext>
              </a:extLst>
            </p:cNvPr>
            <p:cNvSpPr/>
            <p:nvPr userDrawn="1"/>
          </p:nvSpPr>
          <p:spPr>
            <a:xfrm>
              <a:off x="17743058" y="5999833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2CA88104-3A2F-DEAA-180F-8901ED91D163}"/>
              </a:ext>
            </a:extLst>
          </p:cNvPr>
          <p:cNvGrpSpPr/>
          <p:nvPr userDrawn="1"/>
        </p:nvGrpSpPr>
        <p:grpSpPr>
          <a:xfrm>
            <a:off x="18580924" y="7467903"/>
            <a:ext cx="3790995" cy="2307408"/>
            <a:chOff x="15102018" y="6048467"/>
            <a:chExt cx="3081207" cy="1883717"/>
          </a:xfrm>
        </p:grpSpPr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9AC5F188-045F-2E9D-637E-3F92694405E3}"/>
                </a:ext>
              </a:extLst>
            </p:cNvPr>
            <p:cNvCxnSpPr/>
            <p:nvPr userDrawn="1"/>
          </p:nvCxnSpPr>
          <p:spPr>
            <a:xfrm flipV="1">
              <a:off x="15102018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reto 58">
              <a:extLst>
                <a:ext uri="{FF2B5EF4-FFF2-40B4-BE49-F238E27FC236}">
                  <a16:creationId xmlns:a16="http://schemas.microsoft.com/office/drawing/2014/main" id="{2509013F-C79A-37D1-1979-DFB9D186E3AA}"/>
                </a:ext>
              </a:extLst>
            </p:cNvPr>
            <p:cNvCxnSpPr/>
            <p:nvPr userDrawn="1"/>
          </p:nvCxnSpPr>
          <p:spPr>
            <a:xfrm flipV="1">
              <a:off x="15102018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BED8E0AA-4874-6F31-D664-D277F732F242}"/>
                </a:ext>
              </a:extLst>
            </p:cNvPr>
            <p:cNvCxnSpPr/>
            <p:nvPr userDrawn="1"/>
          </p:nvCxnSpPr>
          <p:spPr>
            <a:xfrm flipV="1">
              <a:off x="15102018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FBF667F0-CC37-FD9C-B821-0B9FC5ACD782}"/>
                </a:ext>
              </a:extLst>
            </p:cNvPr>
            <p:cNvCxnSpPr/>
            <p:nvPr userDrawn="1"/>
          </p:nvCxnSpPr>
          <p:spPr>
            <a:xfrm flipV="1">
              <a:off x="15102018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EEDE3ABB-942E-32D1-544E-603A3FD89AC5}"/>
                </a:ext>
              </a:extLst>
            </p:cNvPr>
            <p:cNvCxnSpPr/>
            <p:nvPr userDrawn="1"/>
          </p:nvCxnSpPr>
          <p:spPr>
            <a:xfrm flipV="1">
              <a:off x="15102018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559C922A-B838-BF27-3D98-794A3758950E}"/>
                </a:ext>
              </a:extLst>
            </p:cNvPr>
            <p:cNvCxnSpPr/>
            <p:nvPr userDrawn="1"/>
          </p:nvCxnSpPr>
          <p:spPr>
            <a:xfrm flipV="1">
              <a:off x="15102018" y="778928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009C0D53-3AB6-C11A-B5AD-912F63FAE924}"/>
                </a:ext>
              </a:extLst>
            </p:cNvPr>
            <p:cNvCxnSpPr/>
            <p:nvPr userDrawn="1"/>
          </p:nvCxnSpPr>
          <p:spPr>
            <a:xfrm flipV="1">
              <a:off x="16832393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31AA0404-A683-9175-F2B0-B645F557A67A}"/>
                </a:ext>
              </a:extLst>
            </p:cNvPr>
            <p:cNvCxnSpPr/>
            <p:nvPr userDrawn="1"/>
          </p:nvCxnSpPr>
          <p:spPr>
            <a:xfrm flipV="1">
              <a:off x="16832393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918E9A3C-AA70-F2A5-28C2-31EFEE5C5F2E}"/>
                </a:ext>
              </a:extLst>
            </p:cNvPr>
            <p:cNvCxnSpPr/>
            <p:nvPr userDrawn="1"/>
          </p:nvCxnSpPr>
          <p:spPr>
            <a:xfrm flipV="1">
              <a:off x="16832393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to 66">
              <a:extLst>
                <a:ext uri="{FF2B5EF4-FFF2-40B4-BE49-F238E27FC236}">
                  <a16:creationId xmlns:a16="http://schemas.microsoft.com/office/drawing/2014/main" id="{95C2669A-AC0B-4EF2-A93B-7F3A9B4DD1F4}"/>
                </a:ext>
              </a:extLst>
            </p:cNvPr>
            <p:cNvCxnSpPr/>
            <p:nvPr userDrawn="1"/>
          </p:nvCxnSpPr>
          <p:spPr>
            <a:xfrm flipV="1">
              <a:off x="16832393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>
              <a:extLst>
                <a:ext uri="{FF2B5EF4-FFF2-40B4-BE49-F238E27FC236}">
                  <a16:creationId xmlns:a16="http://schemas.microsoft.com/office/drawing/2014/main" id="{F879AACE-2819-F86D-4DFF-56BD3052620F}"/>
                </a:ext>
              </a:extLst>
            </p:cNvPr>
            <p:cNvCxnSpPr/>
            <p:nvPr userDrawn="1"/>
          </p:nvCxnSpPr>
          <p:spPr>
            <a:xfrm flipV="1">
              <a:off x="16832393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tângulo 70">
            <a:extLst>
              <a:ext uri="{FF2B5EF4-FFF2-40B4-BE49-F238E27FC236}">
                <a16:creationId xmlns:a16="http://schemas.microsoft.com/office/drawing/2014/main" id="{7A857D2C-E30F-E8F8-F57B-E74508C864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8350122" y="-5971"/>
            <a:ext cx="4250813" cy="36256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D707D90F-8132-3F0C-20D4-21B04F9D8A3C}"/>
              </a:ext>
            </a:extLst>
          </p:cNvPr>
          <p:cNvSpPr/>
          <p:nvPr userDrawn="1"/>
        </p:nvSpPr>
        <p:spPr>
          <a:xfrm>
            <a:off x="-4600269" y="0"/>
            <a:ext cx="4250813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78E38D6A-A96D-DA7E-BDA8-38E7F51CA272}"/>
              </a:ext>
            </a:extLst>
          </p:cNvPr>
          <p:cNvSpPr txBox="1"/>
          <p:nvPr userDrawn="1"/>
        </p:nvSpPr>
        <p:spPr>
          <a:xfrm>
            <a:off x="18635641" y="245746"/>
            <a:ext cx="3679771" cy="30754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MODELO DE APRESENTAÇÃO PADRÃO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accent2"/>
                </a:solidFill>
                <a:latin typeface="+mn-lt"/>
              </a:rPr>
              <a:t>—</a:t>
            </a:r>
          </a:p>
          <a:p>
            <a:pPr marL="0" marR="0" lvl="1" indent="0" algn="l" defTabSz="1120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4" b="1" kern="0">
                <a:solidFill>
                  <a:schemeClr val="tx1"/>
                </a:solidFill>
                <a:latin typeface="+mn-lt"/>
              </a:rPr>
              <a:t>Recursos </a:t>
            </a:r>
            <a:r>
              <a:rPr lang="pt-BR" sz="980" b="0" i="1" kern="0">
                <a:solidFill>
                  <a:schemeClr val="tx1"/>
                </a:solidFill>
                <a:latin typeface="+mn-lt"/>
              </a:rPr>
              <a:t>(Pressione a tecla Ctrl e clique para ir ao slide)</a:t>
            </a:r>
            <a:endParaRPr lang="pt-BR" sz="1224" b="0" i="1" kern="0">
              <a:solidFill>
                <a:schemeClr val="tx1"/>
              </a:solidFill>
              <a:latin typeface="+mn-lt"/>
            </a:endParaRPr>
          </a:p>
          <a:p>
            <a:pPr marL="0" lvl="1" indent="0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lvl="1" indent="0" algn="ctr" defTabSz="112003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br>
              <a:rPr lang="pt-BR" sz="1224" b="0" i="0" kern="0">
                <a:solidFill>
                  <a:schemeClr val="tx1"/>
                </a:solidFill>
                <a:latin typeface="+mn-lt"/>
              </a:rPr>
            </a:br>
            <a:r>
              <a:rPr lang="pt-BR" sz="1224" b="1" i="0" kern="0">
                <a:solidFill>
                  <a:schemeClr val="accent1"/>
                </a:solidFill>
                <a:latin typeface="+mn-lt"/>
              </a:rPr>
              <a:t>Tipografia                     Ícones                   Ilustrações</a:t>
            </a:r>
            <a:endParaRPr lang="pt-BR" sz="1224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3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4" b="0" i="0" kern="0">
                <a:solidFill>
                  <a:schemeClr val="tx1"/>
                </a:solidFill>
                <a:latin typeface="+mn-lt"/>
              </a:rPr>
              <a:t>Siga sempre as diretrizes estabelecidas no Manual</a:t>
            </a:r>
            <a:br>
              <a:rPr lang="pt-BR" sz="1224" b="0" i="0" kern="0">
                <a:solidFill>
                  <a:schemeClr val="tx1"/>
                </a:solidFill>
                <a:latin typeface="+mn-lt"/>
              </a:rPr>
            </a:br>
            <a:r>
              <a:rPr lang="pt-BR" sz="1224" b="0" i="0" kern="0">
                <a:solidFill>
                  <a:schemeClr val="tx1"/>
                </a:solidFill>
                <a:latin typeface="+mn-lt"/>
              </a:rPr>
              <a:t>do Sistema de Identidade Visual Petrobras.</a:t>
            </a:r>
          </a:p>
          <a:p>
            <a:pPr marL="0" lvl="1" indent="0" defTabSz="112003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4" b="1" i="0" kern="0">
                <a:solidFill>
                  <a:schemeClr val="tx1"/>
                </a:solidFill>
                <a:latin typeface="+mn-lt"/>
              </a:rPr>
              <a:t>Os Elementos Gráficos Petrobras (</a:t>
            </a:r>
            <a:r>
              <a:rPr lang="pt-BR" sz="1224" b="1" i="0" kern="0" err="1">
                <a:solidFill>
                  <a:schemeClr val="tx1"/>
                </a:solidFill>
                <a:latin typeface="+mn-lt"/>
              </a:rPr>
              <a:t>EGPs</a:t>
            </a:r>
            <a:r>
              <a:rPr lang="pt-BR" sz="1224" b="1" i="0" kern="0">
                <a:solidFill>
                  <a:schemeClr val="tx1"/>
                </a:solidFill>
                <a:latin typeface="+mn-lt"/>
              </a:rPr>
              <a:t>) utilizados são personalizáveis e podem ser reutilizados em outros slides e ter suas cores alteradas.</a:t>
            </a:r>
            <a:endParaRPr lang="pt-BR" sz="1224" b="1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5" name="Retângulo 84">
            <a:extLst>
              <a:ext uri="{FF2B5EF4-FFF2-40B4-BE49-F238E27FC236}">
                <a16:creationId xmlns:a16="http://schemas.microsoft.com/office/drawing/2014/main" id="{72FE6908-4954-701E-C265-70F3CEB3EA8C}"/>
              </a:ext>
            </a:extLst>
          </p:cNvPr>
          <p:cNvSpPr>
            <a:spLocks/>
          </p:cNvSpPr>
          <p:nvPr userDrawn="1"/>
        </p:nvSpPr>
        <p:spPr>
          <a:xfrm>
            <a:off x="18635641" y="1080383"/>
            <a:ext cx="1151617" cy="67504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429">
                <a:solidFill>
                  <a:schemeClr val="accent1"/>
                </a:solidFill>
                <a:latin typeface="+mj-lt"/>
              </a:rPr>
              <a:t>Aa</a:t>
            </a:r>
          </a:p>
        </p:txBody>
      </p:sp>
      <p:grpSp>
        <p:nvGrpSpPr>
          <p:cNvPr id="86" name="Agrupar 85">
            <a:extLst>
              <a:ext uri="{FF2B5EF4-FFF2-40B4-BE49-F238E27FC236}">
                <a16:creationId xmlns:a16="http://schemas.microsoft.com/office/drawing/2014/main" id="{3B0419D0-D467-AFD9-4750-932AA6918F54}"/>
              </a:ext>
            </a:extLst>
          </p:cNvPr>
          <p:cNvGrpSpPr>
            <a:grpSpLocks/>
          </p:cNvGrpSpPr>
          <p:nvPr userDrawn="1"/>
        </p:nvGrpSpPr>
        <p:grpSpPr>
          <a:xfrm>
            <a:off x="19909563" y="1080383"/>
            <a:ext cx="1151617" cy="675046"/>
            <a:chOff x="16181897" y="451485"/>
            <a:chExt cx="936000" cy="551093"/>
          </a:xfrm>
        </p:grpSpPr>
        <p:sp>
          <p:nvSpPr>
            <p:cNvPr id="87" name="Retângulo 86">
              <a:extLst>
                <a:ext uri="{FF2B5EF4-FFF2-40B4-BE49-F238E27FC236}">
                  <a16:creationId xmlns:a16="http://schemas.microsoft.com/office/drawing/2014/main" id="{5A12BA46-0412-7C62-E701-EDC1ECC7D946}"/>
                </a:ext>
              </a:extLst>
            </p:cNvPr>
            <p:cNvSpPr>
              <a:spLocks/>
            </p:cNvSpPr>
            <p:nvPr/>
          </p:nvSpPr>
          <p:spPr>
            <a:xfrm>
              <a:off x="16181897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88" name="Gráfico 87">
              <a:extLst>
                <a:ext uri="{FF2B5EF4-FFF2-40B4-BE49-F238E27FC236}">
                  <a16:creationId xmlns:a16="http://schemas.microsoft.com/office/drawing/2014/main" id="{03DD9F4E-DEB4-9BAC-D311-99393CD7B003}"/>
                </a:ext>
              </a:extLst>
            </p:cNvPr>
            <p:cNvPicPr>
              <a:picLocks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6459977" y="533313"/>
              <a:ext cx="379840" cy="387438"/>
            </a:xfrm>
            <a:prstGeom prst="rect">
              <a:avLst/>
            </a:prstGeom>
          </p:spPr>
        </p:pic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167042BD-3E2C-75EA-EA1A-ECDE9F3C3924}"/>
              </a:ext>
            </a:extLst>
          </p:cNvPr>
          <p:cNvGrpSpPr>
            <a:grpSpLocks/>
          </p:cNvGrpSpPr>
          <p:nvPr userDrawn="1"/>
        </p:nvGrpSpPr>
        <p:grpSpPr>
          <a:xfrm>
            <a:off x="21165830" y="1080383"/>
            <a:ext cx="1151617" cy="675046"/>
            <a:chOff x="17202953" y="451485"/>
            <a:chExt cx="936000" cy="551093"/>
          </a:xfrm>
        </p:grpSpPr>
        <p:sp>
          <p:nvSpPr>
            <p:cNvPr id="90" name="Retângulo 89">
              <a:extLst>
                <a:ext uri="{FF2B5EF4-FFF2-40B4-BE49-F238E27FC236}">
                  <a16:creationId xmlns:a16="http://schemas.microsoft.com/office/drawing/2014/main" id="{6251834E-ABEC-F70B-9EA4-011CA34C87A8}"/>
                </a:ext>
              </a:extLst>
            </p:cNvPr>
            <p:cNvSpPr>
              <a:spLocks/>
            </p:cNvSpPr>
            <p:nvPr/>
          </p:nvSpPr>
          <p:spPr>
            <a:xfrm>
              <a:off x="17202953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91" name="Gráfico 90">
              <a:extLst>
                <a:ext uri="{FF2B5EF4-FFF2-40B4-BE49-F238E27FC236}">
                  <a16:creationId xmlns:a16="http://schemas.microsoft.com/office/drawing/2014/main" id="{287F8D56-617C-AF91-3D13-BEEDC20E56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17496224" y="508000"/>
              <a:ext cx="349458" cy="450112"/>
            </a:xfrm>
            <a:prstGeom prst="rect">
              <a:avLst/>
            </a:prstGeom>
          </p:spPr>
        </p:pic>
      </p:grpSp>
      <p:sp>
        <p:nvSpPr>
          <p:cNvPr id="92" name="Retângulo 91">
            <a:extLst>
              <a:ext uri="{FF2B5EF4-FFF2-40B4-BE49-F238E27FC236}">
                <a16:creationId xmlns:a16="http://schemas.microsoft.com/office/drawing/2014/main" id="{28C33CE8-CB50-C21C-865D-9A3803312971}"/>
              </a:ext>
            </a:extLst>
          </p:cNvPr>
          <p:cNvSpPr>
            <a:spLocks/>
          </p:cNvSpPr>
          <p:nvPr userDrawn="1"/>
        </p:nvSpPr>
        <p:spPr>
          <a:xfrm>
            <a:off x="18635642" y="5817985"/>
            <a:ext cx="1184644" cy="294183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429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399A3736-00AF-6625-85E3-4A1D94850EDE}"/>
              </a:ext>
            </a:extLst>
          </p:cNvPr>
          <p:cNvSpPr>
            <a:spLocks/>
          </p:cNvSpPr>
          <p:nvPr userDrawn="1"/>
        </p:nvSpPr>
        <p:spPr>
          <a:xfrm>
            <a:off x="19876535" y="5817985"/>
            <a:ext cx="1208844" cy="294183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1B15E7BF-0C82-ABD1-144C-4B47361E03B1}"/>
              </a:ext>
            </a:extLst>
          </p:cNvPr>
          <p:cNvSpPr>
            <a:spLocks/>
          </p:cNvSpPr>
          <p:nvPr/>
        </p:nvSpPr>
        <p:spPr>
          <a:xfrm>
            <a:off x="21141632" y="5817985"/>
            <a:ext cx="1175817" cy="29418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</p:spTree>
    <p:extLst>
      <p:ext uri="{BB962C8B-B14F-4D97-AF65-F5344CB8AC3E}">
        <p14:creationId xmlns:p14="http://schemas.microsoft.com/office/powerpoint/2010/main" val="3337244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</p:sldLayoutIdLst>
  <p:txStyles>
    <p:titleStyle>
      <a:lvl1pPr algn="l" defTabSz="1344022" rtl="0" eaLnBrk="1" latinLnBrk="0" hangingPunct="1">
        <a:lnSpc>
          <a:spcPct val="90000"/>
        </a:lnSpc>
        <a:spcBef>
          <a:spcPct val="0"/>
        </a:spcBef>
        <a:buNone/>
        <a:defRPr sz="64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06" indent="-336006" algn="l" defTabSz="1344022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18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680028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352040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052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062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074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086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098" indent="-336006" algn="l" defTabSz="134402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12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22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034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046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058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068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080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092" algn="l" defTabSz="1344022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4560">
          <p15:clr>
            <a:srgbClr val="F26B43"/>
          </p15:clr>
        </p15:guide>
        <p15:guide id="17" pos="4656">
          <p15:clr>
            <a:srgbClr val="F26B43"/>
          </p15:clr>
        </p15:guide>
        <p15:guide id="20" pos="1251">
          <p15:clr>
            <a:srgbClr val="F26B43"/>
          </p15:clr>
        </p15:guide>
        <p15:guide id="21" pos="1347">
          <p15:clr>
            <a:srgbClr val="F26B43"/>
          </p15:clr>
        </p15:guide>
        <p15:guide id="22" pos="2354">
          <p15:clr>
            <a:srgbClr val="F26B43"/>
          </p15:clr>
        </p15:guide>
        <p15:guide id="23" pos="2450">
          <p15:clr>
            <a:srgbClr val="F26B43"/>
          </p15:clr>
        </p15:guide>
        <p15:guide id="24" pos="3458">
          <p15:clr>
            <a:srgbClr val="F26B43"/>
          </p15:clr>
        </p15:guide>
        <p15:guide id="25" pos="3554">
          <p15:clr>
            <a:srgbClr val="F26B43"/>
          </p15:clr>
        </p15:guide>
        <p15:guide id="26" pos="5663">
          <p15:clr>
            <a:srgbClr val="F26B43"/>
          </p15:clr>
        </p15:guide>
        <p15:guide id="27" pos="5759">
          <p15:clr>
            <a:srgbClr val="F26B43"/>
          </p15:clr>
        </p15:guide>
        <p15:guide id="28" pos="6767">
          <p15:clr>
            <a:srgbClr val="F26B43"/>
          </p15:clr>
        </p15:guide>
        <p15:guide id="29" pos="6863">
          <p15:clr>
            <a:srgbClr val="F26B43"/>
          </p15:clr>
        </p15:guide>
        <p15:guide id="30" pos="7871">
          <p15:clr>
            <a:srgbClr val="F26B43"/>
          </p15:clr>
        </p15:guide>
        <p15:guide id="31" pos="7967">
          <p15:clr>
            <a:srgbClr val="F26B43"/>
          </p15:clr>
        </p15:guide>
        <p15:guide id="32" pos="8975">
          <p15:clr>
            <a:srgbClr val="F26B43"/>
          </p15:clr>
        </p15:guide>
        <p15:guide id="33" orient="horz" pos="233">
          <p15:clr>
            <a:srgbClr val="F26B43"/>
          </p15:clr>
        </p15:guide>
        <p15:guide id="34" orient="horz" pos="4951">
          <p15:clr>
            <a:srgbClr val="F26B43"/>
          </p15:clr>
        </p15:guide>
        <p15:guide id="35" pos="245">
          <p15:clr>
            <a:srgbClr val="F26B43"/>
          </p15:clr>
        </p15:guide>
        <p15:guide id="36" orient="horz" pos="1743">
          <p15:clr>
            <a:srgbClr val="F26B43"/>
          </p15:clr>
        </p15:guide>
        <p15:guide id="37" orient="horz" pos="1839">
          <p15:clr>
            <a:srgbClr val="F26B43"/>
          </p15:clr>
        </p15:guide>
        <p15:guide id="38" orient="horz" pos="3350">
          <p15:clr>
            <a:srgbClr val="F26B43"/>
          </p15:clr>
        </p15:guide>
        <p15:guide id="39" orient="horz" pos="344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tângulo 141">
            <a:extLst>
              <a:ext uri="{FF2B5EF4-FFF2-40B4-BE49-F238E27FC236}">
                <a16:creationId xmlns:a16="http://schemas.microsoft.com/office/drawing/2014/main" id="{56F2D7D0-B100-A4DA-EF74-A8263D059A30}"/>
              </a:ext>
            </a:extLst>
          </p:cNvPr>
          <p:cNvSpPr/>
          <p:nvPr userDrawn="1"/>
        </p:nvSpPr>
        <p:spPr>
          <a:xfrm>
            <a:off x="-4600270" y="0"/>
            <a:ext cx="4250812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9527AC2D-1B6E-D6C4-C986-60BE20E248DD}"/>
              </a:ext>
            </a:extLst>
          </p:cNvPr>
          <p:cNvSpPr/>
          <p:nvPr userDrawn="1"/>
        </p:nvSpPr>
        <p:spPr>
          <a:xfrm>
            <a:off x="18350122" y="3665148"/>
            <a:ext cx="4250812" cy="64154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B4F98B6-AE05-5A0F-505A-93A12F36C097}"/>
              </a:ext>
            </a:extLst>
          </p:cNvPr>
          <p:cNvSpPr txBox="1">
            <a:spLocks/>
          </p:cNvSpPr>
          <p:nvPr userDrawn="1"/>
        </p:nvSpPr>
        <p:spPr>
          <a:xfrm>
            <a:off x="18650640" y="5517058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res Principais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2DAD5ED-3713-93FC-0700-659E0F42B22F}"/>
              </a:ext>
            </a:extLst>
          </p:cNvPr>
          <p:cNvSpPr txBox="1">
            <a:spLocks/>
          </p:cNvSpPr>
          <p:nvPr userDrawn="1"/>
        </p:nvSpPr>
        <p:spPr>
          <a:xfrm>
            <a:off x="18650640" y="7075401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mbinações proibidas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59BB449-605A-5169-EECB-02D82D52E96B}"/>
              </a:ext>
            </a:extLst>
          </p:cNvPr>
          <p:cNvSpPr txBox="1">
            <a:spLocks/>
          </p:cNvSpPr>
          <p:nvPr userDrawn="1"/>
        </p:nvSpPr>
        <p:spPr>
          <a:xfrm>
            <a:off x="18650639" y="6263986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res de Apoio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A4EB5C0-85E8-F356-2885-16A4BE475688}"/>
              </a:ext>
            </a:extLst>
          </p:cNvPr>
          <p:cNvSpPr txBox="1">
            <a:spLocks/>
          </p:cNvSpPr>
          <p:nvPr userDrawn="1"/>
        </p:nvSpPr>
        <p:spPr>
          <a:xfrm>
            <a:off x="18635641" y="3910892"/>
            <a:ext cx="3679771" cy="1400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defTabSz="1120067">
              <a:spcAft>
                <a:spcPts val="735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Uso de cores e combinações permitidas: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Sempre utilize uma ou duas cores principais</a:t>
            </a:r>
            <a:br>
              <a:rPr lang="pt-BR" sz="1225" b="0" kern="0">
                <a:solidFill>
                  <a:schemeClr val="tx1"/>
                </a:solidFill>
                <a:latin typeface="+mn-lt"/>
              </a:rPr>
            </a:br>
            <a:r>
              <a:rPr lang="pt-BR" sz="1225" b="0" kern="0">
                <a:solidFill>
                  <a:schemeClr val="tx1"/>
                </a:solidFill>
                <a:latin typeface="+mn-lt"/>
              </a:rPr>
              <a:t> (Verde Petrobras ou Amarelo Petrobras);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Utilize no máximo 3 cores + branco predominante;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Atenção para não utilizar alguma das combinações proibidas abaixo: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1D9A318-71EC-EE28-4092-36A0FEB37404}"/>
              </a:ext>
            </a:extLst>
          </p:cNvPr>
          <p:cNvGrpSpPr/>
          <p:nvPr userDrawn="1"/>
        </p:nvGrpSpPr>
        <p:grpSpPr>
          <a:xfrm>
            <a:off x="18634830" y="6569734"/>
            <a:ext cx="3679771" cy="294182"/>
            <a:chOff x="15145832" y="4114800"/>
            <a:chExt cx="2990808" cy="240164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62236007-7A2E-15FB-4C4D-9EDB73F68429}"/>
                </a:ext>
              </a:extLst>
            </p:cNvPr>
            <p:cNvSpPr/>
            <p:nvPr userDrawn="1"/>
          </p:nvSpPr>
          <p:spPr>
            <a:xfrm>
              <a:off x="15145832" y="4114800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77BCCEFE-1B6F-401B-6CF6-B82012B109B0}"/>
                </a:ext>
              </a:extLst>
            </p:cNvPr>
            <p:cNvSpPr/>
            <p:nvPr userDrawn="1"/>
          </p:nvSpPr>
          <p:spPr>
            <a:xfrm>
              <a:off x="15578031" y="4114800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chemeClr val="accent5"/>
                </a:solidFill>
              </a:endParaRPr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A796FDA7-609B-B4DC-1A16-36EE71F444A9}"/>
                </a:ext>
              </a:extLst>
            </p:cNvPr>
            <p:cNvSpPr/>
            <p:nvPr userDrawn="1"/>
          </p:nvSpPr>
          <p:spPr>
            <a:xfrm>
              <a:off x="16010229" y="4114800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22165060-0F4C-A963-F7F0-8B6E777CC227}"/>
                </a:ext>
              </a:extLst>
            </p:cNvPr>
            <p:cNvSpPr/>
            <p:nvPr userDrawn="1"/>
          </p:nvSpPr>
          <p:spPr>
            <a:xfrm>
              <a:off x="16444042" y="4114800"/>
              <a:ext cx="394967" cy="2401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7E441647-D3CA-31EE-5D5D-C405FF63AC0A}"/>
                </a:ext>
              </a:extLst>
            </p:cNvPr>
            <p:cNvSpPr/>
            <p:nvPr userDrawn="1"/>
          </p:nvSpPr>
          <p:spPr>
            <a:xfrm>
              <a:off x="16877855" y="4114800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18BC8DD2-0BB9-1C60-34F4-C67908A20101}"/>
                </a:ext>
              </a:extLst>
            </p:cNvPr>
            <p:cNvSpPr/>
            <p:nvPr userDrawn="1"/>
          </p:nvSpPr>
          <p:spPr>
            <a:xfrm>
              <a:off x="17309764" y="4114800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DE4A283D-40F7-5E58-B4F3-0CF1C163766B}"/>
                </a:ext>
              </a:extLst>
            </p:cNvPr>
            <p:cNvSpPr/>
            <p:nvPr userDrawn="1"/>
          </p:nvSpPr>
          <p:spPr>
            <a:xfrm>
              <a:off x="17741673" y="4114800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D5F65D85-BB85-1B31-9FDA-614BFAD6DDD2}"/>
              </a:ext>
            </a:extLst>
          </p:cNvPr>
          <p:cNvGrpSpPr/>
          <p:nvPr userDrawn="1"/>
        </p:nvGrpSpPr>
        <p:grpSpPr>
          <a:xfrm>
            <a:off x="18634830" y="9540700"/>
            <a:ext cx="1549471" cy="294182"/>
            <a:chOff x="15145832" y="7740653"/>
            <a:chExt cx="1259364" cy="240164"/>
          </a:xfrm>
        </p:grpSpPr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B106088E-37A7-9E39-5054-D03354B600D4}"/>
                </a:ext>
              </a:extLst>
            </p:cNvPr>
            <p:cNvSpPr/>
            <p:nvPr userDrawn="1"/>
          </p:nvSpPr>
          <p:spPr>
            <a:xfrm>
              <a:off x="15145832" y="774065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CD9732B0-11EE-03E3-0578-0A2C6FBF666C}"/>
                </a:ext>
              </a:extLst>
            </p:cNvPr>
            <p:cNvSpPr/>
            <p:nvPr userDrawn="1"/>
          </p:nvSpPr>
          <p:spPr>
            <a:xfrm>
              <a:off x="15578031" y="7740653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8" name="Retângulo 17">
              <a:extLst>
                <a:ext uri="{FF2B5EF4-FFF2-40B4-BE49-F238E27FC236}">
                  <a16:creationId xmlns:a16="http://schemas.microsoft.com/office/drawing/2014/main" id="{86372476-3475-477C-1F2C-264A8627D502}"/>
                </a:ext>
              </a:extLst>
            </p:cNvPr>
            <p:cNvSpPr/>
            <p:nvPr userDrawn="1"/>
          </p:nvSpPr>
          <p:spPr>
            <a:xfrm>
              <a:off x="16010229" y="774065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1169E923-AF0F-5D2B-DEC7-3EDBFAC3DA2F}"/>
              </a:ext>
            </a:extLst>
          </p:cNvPr>
          <p:cNvGrpSpPr/>
          <p:nvPr userDrawn="1"/>
        </p:nvGrpSpPr>
        <p:grpSpPr>
          <a:xfrm>
            <a:off x="18634830" y="9114226"/>
            <a:ext cx="3679771" cy="294182"/>
            <a:chOff x="15145832" y="7392489"/>
            <a:chExt cx="2990808" cy="240164"/>
          </a:xfrm>
        </p:grpSpPr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5B2B25C2-B41E-0ED2-58EA-4849853530B4}"/>
                </a:ext>
              </a:extLst>
            </p:cNvPr>
            <p:cNvSpPr/>
            <p:nvPr userDrawn="1"/>
          </p:nvSpPr>
          <p:spPr>
            <a:xfrm>
              <a:off x="15145832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27264EC0-FE86-1C94-1BB8-E8A7C52EBAB4}"/>
                </a:ext>
              </a:extLst>
            </p:cNvPr>
            <p:cNvSpPr/>
            <p:nvPr userDrawn="1"/>
          </p:nvSpPr>
          <p:spPr>
            <a:xfrm>
              <a:off x="15578031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CD9C98C7-08E9-C455-64C1-35A4B7147E47}"/>
                </a:ext>
              </a:extLst>
            </p:cNvPr>
            <p:cNvSpPr/>
            <p:nvPr userDrawn="1"/>
          </p:nvSpPr>
          <p:spPr>
            <a:xfrm>
              <a:off x="16010229" y="7392489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A71B70BC-8588-DEB6-7951-CF29C7139CE5}"/>
                </a:ext>
              </a:extLst>
            </p:cNvPr>
            <p:cNvSpPr/>
            <p:nvPr userDrawn="1"/>
          </p:nvSpPr>
          <p:spPr>
            <a:xfrm>
              <a:off x="16877855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C1EEFE4E-9A18-9BE7-A490-F67525D0CD8B}"/>
                </a:ext>
              </a:extLst>
            </p:cNvPr>
            <p:cNvSpPr/>
            <p:nvPr userDrawn="1"/>
          </p:nvSpPr>
          <p:spPr>
            <a:xfrm>
              <a:off x="17309764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8A0EE681-F964-9187-D384-FDE579526FE8}"/>
                </a:ext>
              </a:extLst>
            </p:cNvPr>
            <p:cNvSpPr/>
            <p:nvPr userDrawn="1"/>
          </p:nvSpPr>
          <p:spPr>
            <a:xfrm>
              <a:off x="17741673" y="7392489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C786FBDA-0001-99E8-22F3-B087758CEAB0}"/>
              </a:ext>
            </a:extLst>
          </p:cNvPr>
          <p:cNvGrpSpPr/>
          <p:nvPr userDrawn="1"/>
        </p:nvGrpSpPr>
        <p:grpSpPr>
          <a:xfrm>
            <a:off x="18634830" y="8687752"/>
            <a:ext cx="3679771" cy="294182"/>
            <a:chOff x="15145832" y="7044325"/>
            <a:chExt cx="2990808" cy="240164"/>
          </a:xfrm>
        </p:grpSpPr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8F11EFF8-E477-6E72-0329-3E82C7A9CE26}"/>
                </a:ext>
              </a:extLst>
            </p:cNvPr>
            <p:cNvSpPr/>
            <p:nvPr userDrawn="1"/>
          </p:nvSpPr>
          <p:spPr>
            <a:xfrm>
              <a:off x="15145832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8" name="Retângulo 27">
              <a:extLst>
                <a:ext uri="{FF2B5EF4-FFF2-40B4-BE49-F238E27FC236}">
                  <a16:creationId xmlns:a16="http://schemas.microsoft.com/office/drawing/2014/main" id="{603CAEA7-C630-C18C-425D-ACD305D5B84A}"/>
                </a:ext>
              </a:extLst>
            </p:cNvPr>
            <p:cNvSpPr/>
            <p:nvPr userDrawn="1"/>
          </p:nvSpPr>
          <p:spPr>
            <a:xfrm>
              <a:off x="15578031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D6804C60-767B-3E0C-E7D9-6BD993DE3F19}"/>
                </a:ext>
              </a:extLst>
            </p:cNvPr>
            <p:cNvSpPr/>
            <p:nvPr userDrawn="1"/>
          </p:nvSpPr>
          <p:spPr>
            <a:xfrm>
              <a:off x="16010229" y="7044325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59B950B2-70FB-95C3-560D-577BB596608F}"/>
                </a:ext>
              </a:extLst>
            </p:cNvPr>
            <p:cNvSpPr/>
            <p:nvPr userDrawn="1"/>
          </p:nvSpPr>
          <p:spPr>
            <a:xfrm>
              <a:off x="16877855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A2C5B9E2-8A36-A5D0-4311-94B756624D80}"/>
                </a:ext>
              </a:extLst>
            </p:cNvPr>
            <p:cNvSpPr/>
            <p:nvPr userDrawn="1"/>
          </p:nvSpPr>
          <p:spPr>
            <a:xfrm>
              <a:off x="17309764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rgbClr val="006298"/>
                </a:solidFill>
              </a:endParaRPr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0ADAB361-A67B-E98F-DBF2-BDAE38B3FDEB}"/>
                </a:ext>
              </a:extLst>
            </p:cNvPr>
            <p:cNvSpPr/>
            <p:nvPr userDrawn="1"/>
          </p:nvSpPr>
          <p:spPr>
            <a:xfrm>
              <a:off x="17741673" y="7044325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A3C416A6-C388-145F-F71D-B34823B8B0FC}"/>
              </a:ext>
            </a:extLst>
          </p:cNvPr>
          <p:cNvGrpSpPr/>
          <p:nvPr userDrawn="1"/>
        </p:nvGrpSpPr>
        <p:grpSpPr>
          <a:xfrm>
            <a:off x="18634830" y="8261278"/>
            <a:ext cx="3679771" cy="294182"/>
            <a:chOff x="15145832" y="6696161"/>
            <a:chExt cx="2990808" cy="240164"/>
          </a:xfrm>
        </p:grpSpPr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A220BAB9-2815-8D72-A7FA-2E6448105469}"/>
                </a:ext>
              </a:extLst>
            </p:cNvPr>
            <p:cNvSpPr/>
            <p:nvPr userDrawn="1"/>
          </p:nvSpPr>
          <p:spPr>
            <a:xfrm>
              <a:off x="15145832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5ACF5719-6FC7-1B37-5F99-3158F0CDE07E}"/>
                </a:ext>
              </a:extLst>
            </p:cNvPr>
            <p:cNvSpPr/>
            <p:nvPr userDrawn="1"/>
          </p:nvSpPr>
          <p:spPr>
            <a:xfrm>
              <a:off x="15578031" y="6696161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4F6B8C0A-3186-BEC7-02C3-7E8CA3EAE36D}"/>
                </a:ext>
              </a:extLst>
            </p:cNvPr>
            <p:cNvSpPr/>
            <p:nvPr userDrawn="1"/>
          </p:nvSpPr>
          <p:spPr>
            <a:xfrm>
              <a:off x="16010229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D9DA1F76-F7A5-7328-482A-CBFBBA048B3C}"/>
                </a:ext>
              </a:extLst>
            </p:cNvPr>
            <p:cNvSpPr/>
            <p:nvPr userDrawn="1"/>
          </p:nvSpPr>
          <p:spPr>
            <a:xfrm>
              <a:off x="16877855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8" name="Retângulo 37">
              <a:extLst>
                <a:ext uri="{FF2B5EF4-FFF2-40B4-BE49-F238E27FC236}">
                  <a16:creationId xmlns:a16="http://schemas.microsoft.com/office/drawing/2014/main" id="{99A136AE-538A-0262-C615-6C9CFEA09E0A}"/>
                </a:ext>
              </a:extLst>
            </p:cNvPr>
            <p:cNvSpPr/>
            <p:nvPr userDrawn="1"/>
          </p:nvSpPr>
          <p:spPr>
            <a:xfrm>
              <a:off x="17309764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9" name="Retângulo 38">
              <a:extLst>
                <a:ext uri="{FF2B5EF4-FFF2-40B4-BE49-F238E27FC236}">
                  <a16:creationId xmlns:a16="http://schemas.microsoft.com/office/drawing/2014/main" id="{313A1E3B-FF0A-D1E4-A25D-A8B66348F088}"/>
                </a:ext>
              </a:extLst>
            </p:cNvPr>
            <p:cNvSpPr/>
            <p:nvPr userDrawn="1"/>
          </p:nvSpPr>
          <p:spPr>
            <a:xfrm>
              <a:off x="17741673" y="6696161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50C14EB9-9ACA-DDA3-E546-D7A6FFAF028D}"/>
              </a:ext>
            </a:extLst>
          </p:cNvPr>
          <p:cNvGrpSpPr/>
          <p:nvPr userDrawn="1"/>
        </p:nvGrpSpPr>
        <p:grpSpPr>
          <a:xfrm>
            <a:off x="18634830" y="7834804"/>
            <a:ext cx="3679771" cy="294182"/>
            <a:chOff x="15145832" y="6347997"/>
            <a:chExt cx="2990808" cy="240164"/>
          </a:xfrm>
        </p:grpSpPr>
        <p:sp>
          <p:nvSpPr>
            <p:cNvPr id="41" name="Retângulo 40">
              <a:extLst>
                <a:ext uri="{FF2B5EF4-FFF2-40B4-BE49-F238E27FC236}">
                  <a16:creationId xmlns:a16="http://schemas.microsoft.com/office/drawing/2014/main" id="{2F290A65-8122-9F8E-BD92-6AE21B4DED1F}"/>
                </a:ext>
              </a:extLst>
            </p:cNvPr>
            <p:cNvSpPr/>
            <p:nvPr userDrawn="1"/>
          </p:nvSpPr>
          <p:spPr>
            <a:xfrm>
              <a:off x="15145832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2" name="Retângulo 41">
              <a:extLst>
                <a:ext uri="{FF2B5EF4-FFF2-40B4-BE49-F238E27FC236}">
                  <a16:creationId xmlns:a16="http://schemas.microsoft.com/office/drawing/2014/main" id="{1E1BA1BD-5BC8-FFFA-B35E-F408C9F6C4CA}"/>
                </a:ext>
              </a:extLst>
            </p:cNvPr>
            <p:cNvSpPr/>
            <p:nvPr userDrawn="1"/>
          </p:nvSpPr>
          <p:spPr>
            <a:xfrm>
              <a:off x="15578031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id="{814C313C-2D67-8891-69F5-EBB841C89D03}"/>
                </a:ext>
              </a:extLst>
            </p:cNvPr>
            <p:cNvSpPr/>
            <p:nvPr userDrawn="1"/>
          </p:nvSpPr>
          <p:spPr>
            <a:xfrm>
              <a:off x="16010229" y="6347997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4" name="Retângulo 43">
              <a:extLst>
                <a:ext uri="{FF2B5EF4-FFF2-40B4-BE49-F238E27FC236}">
                  <a16:creationId xmlns:a16="http://schemas.microsoft.com/office/drawing/2014/main" id="{004257D8-E50D-DF5A-5363-CD29B89D82BF}"/>
                </a:ext>
              </a:extLst>
            </p:cNvPr>
            <p:cNvSpPr/>
            <p:nvPr userDrawn="1"/>
          </p:nvSpPr>
          <p:spPr>
            <a:xfrm>
              <a:off x="16877855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5" name="Retângulo 44">
              <a:extLst>
                <a:ext uri="{FF2B5EF4-FFF2-40B4-BE49-F238E27FC236}">
                  <a16:creationId xmlns:a16="http://schemas.microsoft.com/office/drawing/2014/main" id="{248B1354-F6FC-EF54-6964-5833673D1A68}"/>
                </a:ext>
              </a:extLst>
            </p:cNvPr>
            <p:cNvSpPr/>
            <p:nvPr userDrawn="1"/>
          </p:nvSpPr>
          <p:spPr>
            <a:xfrm>
              <a:off x="17309764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id="{1F01FDAC-73A2-A488-2A7D-415B26823849}"/>
                </a:ext>
              </a:extLst>
            </p:cNvPr>
            <p:cNvSpPr/>
            <p:nvPr userDrawn="1"/>
          </p:nvSpPr>
          <p:spPr>
            <a:xfrm>
              <a:off x="17741673" y="6347997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DD90AA7E-06A9-4509-1F67-9EA06BD0BA27}"/>
              </a:ext>
            </a:extLst>
          </p:cNvPr>
          <p:cNvGrpSpPr/>
          <p:nvPr userDrawn="1"/>
        </p:nvGrpSpPr>
        <p:grpSpPr>
          <a:xfrm>
            <a:off x="18636534" y="7408330"/>
            <a:ext cx="3679771" cy="294182"/>
            <a:chOff x="15147217" y="5999833"/>
            <a:chExt cx="2990808" cy="240164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1BACF51D-D706-01B7-0ABB-D687D40FA93C}"/>
                </a:ext>
              </a:extLst>
            </p:cNvPr>
            <p:cNvSpPr/>
            <p:nvPr userDrawn="1"/>
          </p:nvSpPr>
          <p:spPr>
            <a:xfrm>
              <a:off x="15147217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3808AAB0-2A71-CF4A-42F0-3E21B88EC6AA}"/>
                </a:ext>
              </a:extLst>
            </p:cNvPr>
            <p:cNvSpPr/>
            <p:nvPr userDrawn="1"/>
          </p:nvSpPr>
          <p:spPr>
            <a:xfrm>
              <a:off x="15579416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D00DA19F-8750-F6B0-56C6-D15EF5547686}"/>
                </a:ext>
              </a:extLst>
            </p:cNvPr>
            <p:cNvSpPr/>
            <p:nvPr userDrawn="1"/>
          </p:nvSpPr>
          <p:spPr>
            <a:xfrm>
              <a:off x="16011614" y="599983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1" name="Retângulo 50">
              <a:extLst>
                <a:ext uri="{FF2B5EF4-FFF2-40B4-BE49-F238E27FC236}">
                  <a16:creationId xmlns:a16="http://schemas.microsoft.com/office/drawing/2014/main" id="{E571BF16-DF02-819E-8C07-2B6E77DF6D2B}"/>
                </a:ext>
              </a:extLst>
            </p:cNvPr>
            <p:cNvSpPr/>
            <p:nvPr userDrawn="1"/>
          </p:nvSpPr>
          <p:spPr>
            <a:xfrm>
              <a:off x="16879240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21C1B169-E815-F63B-AE47-6F8C135B9023}"/>
                </a:ext>
              </a:extLst>
            </p:cNvPr>
            <p:cNvSpPr/>
            <p:nvPr userDrawn="1"/>
          </p:nvSpPr>
          <p:spPr>
            <a:xfrm>
              <a:off x="17311149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3" name="Retângulo 52">
              <a:extLst>
                <a:ext uri="{FF2B5EF4-FFF2-40B4-BE49-F238E27FC236}">
                  <a16:creationId xmlns:a16="http://schemas.microsoft.com/office/drawing/2014/main" id="{3033E618-E8D9-27DC-D2BE-9F0E0E734732}"/>
                </a:ext>
              </a:extLst>
            </p:cNvPr>
            <p:cNvSpPr/>
            <p:nvPr userDrawn="1"/>
          </p:nvSpPr>
          <p:spPr>
            <a:xfrm>
              <a:off x="17743058" y="5999833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8D7D7286-F6E1-CF13-39FB-B1458B31E91A}"/>
              </a:ext>
            </a:extLst>
          </p:cNvPr>
          <p:cNvGrpSpPr/>
          <p:nvPr userDrawn="1"/>
        </p:nvGrpSpPr>
        <p:grpSpPr>
          <a:xfrm>
            <a:off x="18580924" y="7467903"/>
            <a:ext cx="3790995" cy="2307408"/>
            <a:chOff x="15102018" y="6048467"/>
            <a:chExt cx="3081207" cy="1883717"/>
          </a:xfrm>
        </p:grpSpPr>
        <p:cxnSp>
          <p:nvCxnSpPr>
            <p:cNvPr id="55" name="Conector reto 54">
              <a:extLst>
                <a:ext uri="{FF2B5EF4-FFF2-40B4-BE49-F238E27FC236}">
                  <a16:creationId xmlns:a16="http://schemas.microsoft.com/office/drawing/2014/main" id="{E38AB8D0-E3E5-9F11-6553-E0B87A58B123}"/>
                </a:ext>
              </a:extLst>
            </p:cNvPr>
            <p:cNvCxnSpPr/>
            <p:nvPr userDrawn="1"/>
          </p:nvCxnSpPr>
          <p:spPr>
            <a:xfrm flipV="1">
              <a:off x="15102018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reto 55">
              <a:extLst>
                <a:ext uri="{FF2B5EF4-FFF2-40B4-BE49-F238E27FC236}">
                  <a16:creationId xmlns:a16="http://schemas.microsoft.com/office/drawing/2014/main" id="{507AB647-7C85-1C78-0339-C13C4E918895}"/>
                </a:ext>
              </a:extLst>
            </p:cNvPr>
            <p:cNvCxnSpPr/>
            <p:nvPr userDrawn="1"/>
          </p:nvCxnSpPr>
          <p:spPr>
            <a:xfrm flipV="1">
              <a:off x="15102018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 reto 56">
              <a:extLst>
                <a:ext uri="{FF2B5EF4-FFF2-40B4-BE49-F238E27FC236}">
                  <a16:creationId xmlns:a16="http://schemas.microsoft.com/office/drawing/2014/main" id="{C3DBA976-4D91-4857-EEAD-C7C7378032D0}"/>
                </a:ext>
              </a:extLst>
            </p:cNvPr>
            <p:cNvCxnSpPr/>
            <p:nvPr userDrawn="1"/>
          </p:nvCxnSpPr>
          <p:spPr>
            <a:xfrm flipV="1">
              <a:off x="15102018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3AD1F25D-0FC4-2BC8-C150-312ACF23AE9F}"/>
                </a:ext>
              </a:extLst>
            </p:cNvPr>
            <p:cNvCxnSpPr/>
            <p:nvPr userDrawn="1"/>
          </p:nvCxnSpPr>
          <p:spPr>
            <a:xfrm flipV="1">
              <a:off x="15102018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reto 58">
              <a:extLst>
                <a:ext uri="{FF2B5EF4-FFF2-40B4-BE49-F238E27FC236}">
                  <a16:creationId xmlns:a16="http://schemas.microsoft.com/office/drawing/2014/main" id="{E97065F9-7F4E-C2FF-8A72-7288C8B8684E}"/>
                </a:ext>
              </a:extLst>
            </p:cNvPr>
            <p:cNvCxnSpPr/>
            <p:nvPr userDrawn="1"/>
          </p:nvCxnSpPr>
          <p:spPr>
            <a:xfrm flipV="1">
              <a:off x="15102018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667B8A3A-30BB-829B-AECB-8043428AADDB}"/>
                </a:ext>
              </a:extLst>
            </p:cNvPr>
            <p:cNvCxnSpPr/>
            <p:nvPr userDrawn="1"/>
          </p:nvCxnSpPr>
          <p:spPr>
            <a:xfrm flipV="1">
              <a:off x="15102018" y="778928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9A2A9F45-F0B6-7C38-7036-571657E2CFBF}"/>
                </a:ext>
              </a:extLst>
            </p:cNvPr>
            <p:cNvCxnSpPr/>
            <p:nvPr userDrawn="1"/>
          </p:nvCxnSpPr>
          <p:spPr>
            <a:xfrm flipV="1">
              <a:off x="16832393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EC8A0E4E-CAE9-9158-5AAA-1D09FDFCB2D6}"/>
                </a:ext>
              </a:extLst>
            </p:cNvPr>
            <p:cNvCxnSpPr/>
            <p:nvPr userDrawn="1"/>
          </p:nvCxnSpPr>
          <p:spPr>
            <a:xfrm flipV="1">
              <a:off x="16832393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A0A97A72-D410-A110-571B-87B5F87AC186}"/>
                </a:ext>
              </a:extLst>
            </p:cNvPr>
            <p:cNvCxnSpPr/>
            <p:nvPr userDrawn="1"/>
          </p:nvCxnSpPr>
          <p:spPr>
            <a:xfrm flipV="1">
              <a:off x="16832393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7EEE668A-527D-369F-D7DA-BB403EEAD23C}"/>
                </a:ext>
              </a:extLst>
            </p:cNvPr>
            <p:cNvCxnSpPr/>
            <p:nvPr userDrawn="1"/>
          </p:nvCxnSpPr>
          <p:spPr>
            <a:xfrm flipV="1">
              <a:off x="16832393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2C29E52F-34E6-E8D7-256F-CA1A45C07F8E}"/>
                </a:ext>
              </a:extLst>
            </p:cNvPr>
            <p:cNvCxnSpPr/>
            <p:nvPr userDrawn="1"/>
          </p:nvCxnSpPr>
          <p:spPr>
            <a:xfrm flipV="1">
              <a:off x="16832393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tângulo 65">
            <a:extLst>
              <a:ext uri="{FF2B5EF4-FFF2-40B4-BE49-F238E27FC236}">
                <a16:creationId xmlns:a16="http://schemas.microsoft.com/office/drawing/2014/main" id="{62963485-5DF0-0BEE-D04A-8643D6281CC4}"/>
              </a:ext>
            </a:extLst>
          </p:cNvPr>
          <p:cNvSpPr/>
          <p:nvPr userDrawn="1"/>
        </p:nvSpPr>
        <p:spPr>
          <a:xfrm>
            <a:off x="18350122" y="-5970"/>
            <a:ext cx="4250812" cy="3625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6D51E720-51D6-A3BD-ABB6-49615DEA2BC3}"/>
              </a:ext>
            </a:extLst>
          </p:cNvPr>
          <p:cNvSpPr txBox="1"/>
          <p:nvPr userDrawn="1"/>
        </p:nvSpPr>
        <p:spPr>
          <a:xfrm>
            <a:off x="18635641" y="245745"/>
            <a:ext cx="3679771" cy="30754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MODELO DE APRESENTAÇÃO PADRÃO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Recursos </a:t>
            </a:r>
            <a:r>
              <a:rPr lang="pt-BR" sz="980" b="0" i="1" kern="0">
                <a:solidFill>
                  <a:schemeClr val="tx1"/>
                </a:solidFill>
                <a:latin typeface="+mn-lt"/>
              </a:rPr>
              <a:t>(Pressione a tecla Ctrl e clique para ir ao slide)</a:t>
            </a:r>
            <a:endParaRPr lang="pt-BR" sz="1225" b="0" i="1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algn="ctr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br>
              <a:rPr lang="pt-BR" sz="1225" b="0" i="0" kern="0">
                <a:solidFill>
                  <a:schemeClr val="tx1"/>
                </a:solidFill>
                <a:latin typeface="+mn-lt"/>
              </a:rPr>
            </a:br>
            <a:r>
              <a:rPr lang="pt-BR" sz="1225" b="1" i="0" kern="0">
                <a:solidFill>
                  <a:schemeClr val="accent1"/>
                </a:solidFill>
                <a:latin typeface="+mn-lt"/>
              </a:rPr>
              <a:t>Tipografia                     Ícones                   Ilustrações</a:t>
            </a: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5" b="0" i="0" kern="0">
                <a:solidFill>
                  <a:schemeClr val="tx1"/>
                </a:solidFill>
                <a:latin typeface="+mn-lt"/>
              </a:rPr>
              <a:t>Siga sempre as diretrizes estabelecidas no Manual</a:t>
            </a:r>
            <a:br>
              <a:rPr lang="pt-BR" sz="1225" b="0" i="0" kern="0">
                <a:solidFill>
                  <a:schemeClr val="tx1"/>
                </a:solidFill>
                <a:latin typeface="+mn-lt"/>
              </a:rPr>
            </a:br>
            <a:r>
              <a:rPr lang="pt-BR" sz="1225" b="0" i="0" kern="0">
                <a:solidFill>
                  <a:schemeClr val="tx1"/>
                </a:solidFill>
                <a:latin typeface="+mn-lt"/>
              </a:rPr>
              <a:t>do Sistema de Identidade Visual Petrobras.</a:t>
            </a:r>
          </a:p>
          <a:p>
            <a:pPr marL="0" lvl="1" indent="0" defTabSz="112006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5" b="1" i="0" kern="0">
                <a:solidFill>
                  <a:schemeClr val="tx1"/>
                </a:solidFill>
                <a:latin typeface="+mn-lt"/>
              </a:rPr>
              <a:t>Os Elementos Gráficos Petrobras (</a:t>
            </a:r>
            <a:r>
              <a:rPr lang="pt-BR" sz="1225" b="1" i="0" kern="0" err="1">
                <a:solidFill>
                  <a:schemeClr val="tx1"/>
                </a:solidFill>
                <a:latin typeface="+mn-lt"/>
              </a:rPr>
              <a:t>EGPs</a:t>
            </a:r>
            <a:r>
              <a:rPr lang="pt-BR" sz="1225" b="1" i="0" kern="0">
                <a:solidFill>
                  <a:schemeClr val="tx1"/>
                </a:solidFill>
                <a:latin typeface="+mn-lt"/>
              </a:rPr>
              <a:t>) utilizados são personalizáveis e podem ser reutilizados em outros slides e ter suas cores alteradas.</a:t>
            </a:r>
            <a:endParaRPr lang="pt-BR" sz="1225" b="1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Retângulo 67">
            <a:extLst>
              <a:ext uri="{FF2B5EF4-FFF2-40B4-BE49-F238E27FC236}">
                <a16:creationId xmlns:a16="http://schemas.microsoft.com/office/drawing/2014/main" id="{73FCA417-2A72-C6DF-E5FF-E78EBBFF73AE}"/>
              </a:ext>
            </a:extLst>
          </p:cNvPr>
          <p:cNvSpPr>
            <a:spLocks/>
          </p:cNvSpPr>
          <p:nvPr userDrawn="1"/>
        </p:nvSpPr>
        <p:spPr>
          <a:xfrm>
            <a:off x="18635641" y="1080383"/>
            <a:ext cx="1151617" cy="67504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430">
                <a:solidFill>
                  <a:schemeClr val="accent1"/>
                </a:solidFill>
                <a:latin typeface="+mj-lt"/>
              </a:rPr>
              <a:t>Aa</a:t>
            </a: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B00D01FF-705D-0558-9766-A0B7A6947456}"/>
              </a:ext>
            </a:extLst>
          </p:cNvPr>
          <p:cNvGrpSpPr>
            <a:grpSpLocks/>
          </p:cNvGrpSpPr>
          <p:nvPr userDrawn="1"/>
        </p:nvGrpSpPr>
        <p:grpSpPr>
          <a:xfrm>
            <a:off x="19909563" y="1080383"/>
            <a:ext cx="1151617" cy="675046"/>
            <a:chOff x="16181897" y="451485"/>
            <a:chExt cx="936000" cy="551093"/>
          </a:xfrm>
        </p:grpSpPr>
        <p:sp>
          <p:nvSpPr>
            <p:cNvPr id="70" name="Retângulo 69">
              <a:extLst>
                <a:ext uri="{FF2B5EF4-FFF2-40B4-BE49-F238E27FC236}">
                  <a16:creationId xmlns:a16="http://schemas.microsoft.com/office/drawing/2014/main" id="{9F57A27C-3068-9556-3A58-68A7F75EA26B}"/>
                </a:ext>
              </a:extLst>
            </p:cNvPr>
            <p:cNvSpPr>
              <a:spLocks/>
            </p:cNvSpPr>
            <p:nvPr/>
          </p:nvSpPr>
          <p:spPr>
            <a:xfrm>
              <a:off x="16181897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71" name="Gráfico 70">
              <a:extLst>
                <a:ext uri="{FF2B5EF4-FFF2-40B4-BE49-F238E27FC236}">
                  <a16:creationId xmlns:a16="http://schemas.microsoft.com/office/drawing/2014/main" id="{2DE466A9-2B43-ADD0-2C58-8BBE8F65B06B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6459977" y="533313"/>
              <a:ext cx="379840" cy="387438"/>
            </a:xfrm>
            <a:prstGeom prst="rect">
              <a:avLst/>
            </a:prstGeom>
          </p:spPr>
        </p:pic>
      </p:grp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16338D55-4994-F8F3-461E-C7DA83FA6931}"/>
              </a:ext>
            </a:extLst>
          </p:cNvPr>
          <p:cNvGrpSpPr>
            <a:grpSpLocks/>
          </p:cNvGrpSpPr>
          <p:nvPr userDrawn="1"/>
        </p:nvGrpSpPr>
        <p:grpSpPr>
          <a:xfrm>
            <a:off x="21165830" y="1080383"/>
            <a:ext cx="1151617" cy="675046"/>
            <a:chOff x="17202953" y="451485"/>
            <a:chExt cx="936000" cy="551093"/>
          </a:xfrm>
        </p:grpSpPr>
        <p:sp>
          <p:nvSpPr>
            <p:cNvPr id="73" name="Retângulo 72">
              <a:extLst>
                <a:ext uri="{FF2B5EF4-FFF2-40B4-BE49-F238E27FC236}">
                  <a16:creationId xmlns:a16="http://schemas.microsoft.com/office/drawing/2014/main" id="{F683FCC1-5283-E0EF-5FBB-BAE276AAC33B}"/>
                </a:ext>
              </a:extLst>
            </p:cNvPr>
            <p:cNvSpPr>
              <a:spLocks/>
            </p:cNvSpPr>
            <p:nvPr/>
          </p:nvSpPr>
          <p:spPr>
            <a:xfrm>
              <a:off x="17202953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143" name="Gráfico 142">
              <a:extLst>
                <a:ext uri="{FF2B5EF4-FFF2-40B4-BE49-F238E27FC236}">
                  <a16:creationId xmlns:a16="http://schemas.microsoft.com/office/drawing/2014/main" id="{81886E9B-E27C-D067-BED2-B1ECAC016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7496224" y="508000"/>
              <a:ext cx="349458" cy="450112"/>
            </a:xfrm>
            <a:prstGeom prst="rect">
              <a:avLst/>
            </a:prstGeom>
          </p:spPr>
        </p:pic>
      </p:grpSp>
      <p:sp>
        <p:nvSpPr>
          <p:cNvPr id="144" name="Retângulo 143">
            <a:extLst>
              <a:ext uri="{FF2B5EF4-FFF2-40B4-BE49-F238E27FC236}">
                <a16:creationId xmlns:a16="http://schemas.microsoft.com/office/drawing/2014/main" id="{CFA9DFDF-1B54-CE60-4BF3-D02B7A9EF8C8}"/>
              </a:ext>
            </a:extLst>
          </p:cNvPr>
          <p:cNvSpPr>
            <a:spLocks/>
          </p:cNvSpPr>
          <p:nvPr userDrawn="1"/>
        </p:nvSpPr>
        <p:spPr>
          <a:xfrm>
            <a:off x="18635640" y="5817984"/>
            <a:ext cx="1184644" cy="294182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43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5" name="Retângulo 144">
            <a:extLst>
              <a:ext uri="{FF2B5EF4-FFF2-40B4-BE49-F238E27FC236}">
                <a16:creationId xmlns:a16="http://schemas.microsoft.com/office/drawing/2014/main" id="{EE106623-AA47-ECFA-C974-18C90B09D048}"/>
              </a:ext>
            </a:extLst>
          </p:cNvPr>
          <p:cNvSpPr>
            <a:spLocks/>
          </p:cNvSpPr>
          <p:nvPr userDrawn="1"/>
        </p:nvSpPr>
        <p:spPr>
          <a:xfrm>
            <a:off x="19876535" y="5817984"/>
            <a:ext cx="1208844" cy="294182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146" name="Retângulo 145">
            <a:extLst>
              <a:ext uri="{FF2B5EF4-FFF2-40B4-BE49-F238E27FC236}">
                <a16:creationId xmlns:a16="http://schemas.microsoft.com/office/drawing/2014/main" id="{410E5066-0122-3C81-CA98-569146C9970A}"/>
              </a:ext>
            </a:extLst>
          </p:cNvPr>
          <p:cNvSpPr>
            <a:spLocks/>
          </p:cNvSpPr>
          <p:nvPr userDrawn="1"/>
        </p:nvSpPr>
        <p:spPr>
          <a:xfrm>
            <a:off x="21141631" y="5817984"/>
            <a:ext cx="1175817" cy="294182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</p:spTree>
    <p:extLst>
      <p:ext uri="{BB962C8B-B14F-4D97-AF65-F5344CB8AC3E}">
        <p14:creationId xmlns:p14="http://schemas.microsoft.com/office/powerpoint/2010/main" val="3024543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p:txStyles>
    <p:titleStyle>
      <a:lvl1pPr algn="l" defTabSz="1344058" rtl="0" eaLnBrk="1" latinLnBrk="0" hangingPunct="1">
        <a:lnSpc>
          <a:spcPct val="90000"/>
        </a:lnSpc>
        <a:spcBef>
          <a:spcPct val="0"/>
        </a:spcBef>
        <a:buNone/>
        <a:defRPr sz="64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15" indent="-336015" algn="l" defTabSz="1344058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44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680073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352102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131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160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189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19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248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29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58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087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17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46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175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04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233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4560">
          <p15:clr>
            <a:srgbClr val="F26B43"/>
          </p15:clr>
        </p15:guide>
        <p15:guide id="17" pos="4656">
          <p15:clr>
            <a:srgbClr val="F26B43"/>
          </p15:clr>
        </p15:guide>
        <p15:guide id="20" pos="1251">
          <p15:clr>
            <a:srgbClr val="F26B43"/>
          </p15:clr>
        </p15:guide>
        <p15:guide id="21" pos="1347">
          <p15:clr>
            <a:srgbClr val="F26B43"/>
          </p15:clr>
        </p15:guide>
        <p15:guide id="22" pos="2354">
          <p15:clr>
            <a:srgbClr val="F26B43"/>
          </p15:clr>
        </p15:guide>
        <p15:guide id="23" pos="2450">
          <p15:clr>
            <a:srgbClr val="F26B43"/>
          </p15:clr>
        </p15:guide>
        <p15:guide id="24" pos="3458">
          <p15:clr>
            <a:srgbClr val="F26B43"/>
          </p15:clr>
        </p15:guide>
        <p15:guide id="25" pos="3554">
          <p15:clr>
            <a:srgbClr val="F26B43"/>
          </p15:clr>
        </p15:guide>
        <p15:guide id="26" pos="5663">
          <p15:clr>
            <a:srgbClr val="F26B43"/>
          </p15:clr>
        </p15:guide>
        <p15:guide id="27" pos="5759">
          <p15:clr>
            <a:srgbClr val="F26B43"/>
          </p15:clr>
        </p15:guide>
        <p15:guide id="28" pos="6767">
          <p15:clr>
            <a:srgbClr val="F26B43"/>
          </p15:clr>
        </p15:guide>
        <p15:guide id="29" pos="6863">
          <p15:clr>
            <a:srgbClr val="F26B43"/>
          </p15:clr>
        </p15:guide>
        <p15:guide id="30" pos="7871">
          <p15:clr>
            <a:srgbClr val="F26B43"/>
          </p15:clr>
        </p15:guide>
        <p15:guide id="31" pos="7967">
          <p15:clr>
            <a:srgbClr val="F26B43"/>
          </p15:clr>
        </p15:guide>
        <p15:guide id="32" pos="8975">
          <p15:clr>
            <a:srgbClr val="F26B43"/>
          </p15:clr>
        </p15:guide>
        <p15:guide id="33" orient="horz" pos="233">
          <p15:clr>
            <a:srgbClr val="F26B43"/>
          </p15:clr>
        </p15:guide>
        <p15:guide id="34" orient="horz" pos="4951">
          <p15:clr>
            <a:srgbClr val="F26B43"/>
          </p15:clr>
        </p15:guide>
        <p15:guide id="35" pos="245">
          <p15:clr>
            <a:srgbClr val="F26B43"/>
          </p15:clr>
        </p15:guide>
        <p15:guide id="36" orient="horz" pos="1743">
          <p15:clr>
            <a:srgbClr val="F26B43"/>
          </p15:clr>
        </p15:guide>
        <p15:guide id="37" orient="horz" pos="1839">
          <p15:clr>
            <a:srgbClr val="F26B43"/>
          </p15:clr>
        </p15:guide>
        <p15:guide id="38" orient="horz" pos="3350">
          <p15:clr>
            <a:srgbClr val="F26B43"/>
          </p15:clr>
        </p15:guide>
        <p15:guide id="39" orient="horz" pos="344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tângulo 141">
            <a:extLst>
              <a:ext uri="{FF2B5EF4-FFF2-40B4-BE49-F238E27FC236}">
                <a16:creationId xmlns:a16="http://schemas.microsoft.com/office/drawing/2014/main" id="{22222A6E-DF49-4279-6B55-06673DD6AF15}"/>
              </a:ext>
            </a:extLst>
          </p:cNvPr>
          <p:cNvSpPr/>
          <p:nvPr userDrawn="1"/>
        </p:nvSpPr>
        <p:spPr>
          <a:xfrm>
            <a:off x="-4600270" y="0"/>
            <a:ext cx="4250812" cy="10080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EC68C93-8A07-1ACB-CB8E-62243F3D5A1D}"/>
              </a:ext>
            </a:extLst>
          </p:cNvPr>
          <p:cNvSpPr/>
          <p:nvPr userDrawn="1"/>
        </p:nvSpPr>
        <p:spPr>
          <a:xfrm>
            <a:off x="18350122" y="3665148"/>
            <a:ext cx="4250812" cy="64154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BF7661C-ABE9-64D6-D515-64A55FB68D94}"/>
              </a:ext>
            </a:extLst>
          </p:cNvPr>
          <p:cNvSpPr txBox="1">
            <a:spLocks/>
          </p:cNvSpPr>
          <p:nvPr userDrawn="1"/>
        </p:nvSpPr>
        <p:spPr>
          <a:xfrm>
            <a:off x="18650640" y="5517058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res Principais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3864496-798D-4635-082F-08BC1515D962}"/>
              </a:ext>
            </a:extLst>
          </p:cNvPr>
          <p:cNvSpPr txBox="1">
            <a:spLocks/>
          </p:cNvSpPr>
          <p:nvPr userDrawn="1"/>
        </p:nvSpPr>
        <p:spPr>
          <a:xfrm>
            <a:off x="18650640" y="7075401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mbinações proibidas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4A00B2D-ED75-0648-0A4A-B009962FE3A8}"/>
              </a:ext>
            </a:extLst>
          </p:cNvPr>
          <p:cNvSpPr txBox="1">
            <a:spLocks/>
          </p:cNvSpPr>
          <p:nvPr userDrawn="1"/>
        </p:nvSpPr>
        <p:spPr>
          <a:xfrm>
            <a:off x="18650639" y="6263986"/>
            <a:ext cx="3679771" cy="188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algn="ctr" defTabSz="1120067">
              <a:spcAft>
                <a:spcPts val="490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Cores de Apoio</a:t>
            </a:r>
            <a:endParaRPr lang="pt-BR" sz="1225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608F8F1-60F4-C3DC-DF37-27E6C74A712D}"/>
              </a:ext>
            </a:extLst>
          </p:cNvPr>
          <p:cNvSpPr txBox="1">
            <a:spLocks/>
          </p:cNvSpPr>
          <p:nvPr userDrawn="1"/>
        </p:nvSpPr>
        <p:spPr>
          <a:xfrm>
            <a:off x="18635641" y="3910892"/>
            <a:ext cx="3679771" cy="1400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indent="0" defTabSz="1120067">
              <a:spcAft>
                <a:spcPts val="735"/>
              </a:spcAft>
              <a:buClr>
                <a:schemeClr val="tx2"/>
              </a:buClr>
              <a:buFont typeface="Arial" panose="020B0604020202020204" pitchFamily="34" charset="0"/>
              <a:buNone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Uso de cores e combinações permitidas: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Sempre utilize uma ou duas cores principais</a:t>
            </a:r>
            <a:br>
              <a:rPr lang="pt-BR" sz="1225" b="0" kern="0">
                <a:solidFill>
                  <a:schemeClr val="tx1"/>
                </a:solidFill>
                <a:latin typeface="+mn-lt"/>
              </a:rPr>
            </a:br>
            <a:r>
              <a:rPr lang="pt-BR" sz="1225" b="0" kern="0">
                <a:solidFill>
                  <a:schemeClr val="tx1"/>
                </a:solidFill>
                <a:latin typeface="+mn-lt"/>
              </a:rPr>
              <a:t> (Verde Petrobras ou Amarelo Petrobras);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Utilize no máximo 3 cores + branco predominante;</a:t>
            </a:r>
          </a:p>
          <a:p>
            <a:pPr marL="112783" lvl="1" indent="-112783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pt-BR" sz="1225" b="0" kern="0">
                <a:solidFill>
                  <a:schemeClr val="tx1"/>
                </a:solidFill>
                <a:latin typeface="+mn-lt"/>
              </a:rPr>
              <a:t>Atenção para não utilizar alguma das combinações proibidas abaixo: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845F72F-85CE-D004-5BB8-754CF259DDC1}"/>
              </a:ext>
            </a:extLst>
          </p:cNvPr>
          <p:cNvGrpSpPr/>
          <p:nvPr userDrawn="1"/>
        </p:nvGrpSpPr>
        <p:grpSpPr>
          <a:xfrm>
            <a:off x="18634830" y="6569734"/>
            <a:ext cx="3679771" cy="294182"/>
            <a:chOff x="15145832" y="4114800"/>
            <a:chExt cx="2990808" cy="240164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62D62756-DA92-93A2-A8F9-E1B9F312F118}"/>
                </a:ext>
              </a:extLst>
            </p:cNvPr>
            <p:cNvSpPr/>
            <p:nvPr userDrawn="1"/>
          </p:nvSpPr>
          <p:spPr>
            <a:xfrm>
              <a:off x="15145832" y="4114800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CEC8D2D9-F5DE-0361-D18B-B4EA20816039}"/>
                </a:ext>
              </a:extLst>
            </p:cNvPr>
            <p:cNvSpPr/>
            <p:nvPr userDrawn="1"/>
          </p:nvSpPr>
          <p:spPr>
            <a:xfrm>
              <a:off x="15578031" y="4114800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chemeClr val="accent5"/>
                </a:solidFill>
              </a:endParaRPr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6E919A04-D5DC-2A81-33A2-0A763287461A}"/>
                </a:ext>
              </a:extLst>
            </p:cNvPr>
            <p:cNvSpPr/>
            <p:nvPr userDrawn="1"/>
          </p:nvSpPr>
          <p:spPr>
            <a:xfrm>
              <a:off x="16010229" y="4114800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DFAE1806-2BB1-991E-960B-4B409381FC2B}"/>
                </a:ext>
              </a:extLst>
            </p:cNvPr>
            <p:cNvSpPr/>
            <p:nvPr userDrawn="1"/>
          </p:nvSpPr>
          <p:spPr>
            <a:xfrm>
              <a:off x="16444042" y="4114800"/>
              <a:ext cx="394967" cy="2401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B33F1DEE-65B1-CCC7-F1B9-87D74FEFB442}"/>
                </a:ext>
              </a:extLst>
            </p:cNvPr>
            <p:cNvSpPr/>
            <p:nvPr userDrawn="1"/>
          </p:nvSpPr>
          <p:spPr>
            <a:xfrm>
              <a:off x="16877855" y="4114800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DD7C5D17-1722-6855-0700-C3156C142EAD}"/>
                </a:ext>
              </a:extLst>
            </p:cNvPr>
            <p:cNvSpPr/>
            <p:nvPr userDrawn="1"/>
          </p:nvSpPr>
          <p:spPr>
            <a:xfrm>
              <a:off x="17309764" y="4114800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50089561-B118-DE7E-C6FF-B74064E9E59E}"/>
                </a:ext>
              </a:extLst>
            </p:cNvPr>
            <p:cNvSpPr/>
            <p:nvPr userDrawn="1"/>
          </p:nvSpPr>
          <p:spPr>
            <a:xfrm>
              <a:off x="17741673" y="4114800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D0A4E336-B5B8-C737-4864-4100B0455FB0}"/>
              </a:ext>
            </a:extLst>
          </p:cNvPr>
          <p:cNvGrpSpPr/>
          <p:nvPr userDrawn="1"/>
        </p:nvGrpSpPr>
        <p:grpSpPr>
          <a:xfrm>
            <a:off x="18634830" y="9540700"/>
            <a:ext cx="1549471" cy="294182"/>
            <a:chOff x="15145832" y="7740653"/>
            <a:chExt cx="1259364" cy="240164"/>
          </a:xfrm>
        </p:grpSpPr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626C0F55-03D8-AD30-9469-C2A495F23E91}"/>
                </a:ext>
              </a:extLst>
            </p:cNvPr>
            <p:cNvSpPr/>
            <p:nvPr userDrawn="1"/>
          </p:nvSpPr>
          <p:spPr>
            <a:xfrm>
              <a:off x="15145832" y="774065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E0EDD7FD-56BB-18C2-AFE2-BA8EB942E0DC}"/>
                </a:ext>
              </a:extLst>
            </p:cNvPr>
            <p:cNvSpPr/>
            <p:nvPr userDrawn="1"/>
          </p:nvSpPr>
          <p:spPr>
            <a:xfrm>
              <a:off x="15578031" y="7740653"/>
              <a:ext cx="394967" cy="240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18" name="Retângulo 17">
              <a:extLst>
                <a:ext uri="{FF2B5EF4-FFF2-40B4-BE49-F238E27FC236}">
                  <a16:creationId xmlns:a16="http://schemas.microsoft.com/office/drawing/2014/main" id="{CD4BA421-67A7-46E1-DC2B-9EC27A0FD459}"/>
                </a:ext>
              </a:extLst>
            </p:cNvPr>
            <p:cNvSpPr/>
            <p:nvPr userDrawn="1"/>
          </p:nvSpPr>
          <p:spPr>
            <a:xfrm>
              <a:off x="16010229" y="774065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FF120D92-BA25-3737-C3F1-B42006F08AC3}"/>
              </a:ext>
            </a:extLst>
          </p:cNvPr>
          <p:cNvGrpSpPr/>
          <p:nvPr userDrawn="1"/>
        </p:nvGrpSpPr>
        <p:grpSpPr>
          <a:xfrm>
            <a:off x="18634830" y="9114226"/>
            <a:ext cx="3679771" cy="294182"/>
            <a:chOff x="15145832" y="7392489"/>
            <a:chExt cx="2990808" cy="240164"/>
          </a:xfrm>
        </p:grpSpPr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7870120C-8739-3FC9-15EF-14FAD402CDF2}"/>
                </a:ext>
              </a:extLst>
            </p:cNvPr>
            <p:cNvSpPr/>
            <p:nvPr userDrawn="1"/>
          </p:nvSpPr>
          <p:spPr>
            <a:xfrm>
              <a:off x="15145832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C168385E-216B-FBBF-DC7E-44759F581EEC}"/>
                </a:ext>
              </a:extLst>
            </p:cNvPr>
            <p:cNvSpPr/>
            <p:nvPr userDrawn="1"/>
          </p:nvSpPr>
          <p:spPr>
            <a:xfrm>
              <a:off x="15578031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E14E7DE7-EBF6-4C1C-C809-D68707A526EF}"/>
                </a:ext>
              </a:extLst>
            </p:cNvPr>
            <p:cNvSpPr/>
            <p:nvPr userDrawn="1"/>
          </p:nvSpPr>
          <p:spPr>
            <a:xfrm>
              <a:off x="16010229" y="7392489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419697DE-3C5E-4557-592F-5E4CF3974A4E}"/>
                </a:ext>
              </a:extLst>
            </p:cNvPr>
            <p:cNvSpPr/>
            <p:nvPr userDrawn="1"/>
          </p:nvSpPr>
          <p:spPr>
            <a:xfrm>
              <a:off x="16877855" y="7392489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DD1FC17D-125E-679D-5199-8DD5B4CDD980}"/>
                </a:ext>
              </a:extLst>
            </p:cNvPr>
            <p:cNvSpPr/>
            <p:nvPr userDrawn="1"/>
          </p:nvSpPr>
          <p:spPr>
            <a:xfrm>
              <a:off x="17309764" y="7392489"/>
              <a:ext cx="394967" cy="2401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410B34CE-CA4A-471A-07C0-7C4DB08DDABD}"/>
                </a:ext>
              </a:extLst>
            </p:cNvPr>
            <p:cNvSpPr/>
            <p:nvPr userDrawn="1"/>
          </p:nvSpPr>
          <p:spPr>
            <a:xfrm>
              <a:off x="17741673" y="7392489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4C9222A8-3DEC-9E9B-B072-207C40AA9DEE}"/>
              </a:ext>
            </a:extLst>
          </p:cNvPr>
          <p:cNvGrpSpPr/>
          <p:nvPr userDrawn="1"/>
        </p:nvGrpSpPr>
        <p:grpSpPr>
          <a:xfrm>
            <a:off x="18634830" y="8687752"/>
            <a:ext cx="3679771" cy="294182"/>
            <a:chOff x="15145832" y="7044325"/>
            <a:chExt cx="2990808" cy="240164"/>
          </a:xfrm>
        </p:grpSpPr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35C8BB52-FD3B-4406-15E4-4F4D0CD212E0}"/>
                </a:ext>
              </a:extLst>
            </p:cNvPr>
            <p:cNvSpPr/>
            <p:nvPr userDrawn="1"/>
          </p:nvSpPr>
          <p:spPr>
            <a:xfrm>
              <a:off x="15145832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8" name="Retângulo 27">
              <a:extLst>
                <a:ext uri="{FF2B5EF4-FFF2-40B4-BE49-F238E27FC236}">
                  <a16:creationId xmlns:a16="http://schemas.microsoft.com/office/drawing/2014/main" id="{65F7A2DB-679A-D8F3-5614-CE3D3735C2CB}"/>
                </a:ext>
              </a:extLst>
            </p:cNvPr>
            <p:cNvSpPr/>
            <p:nvPr userDrawn="1"/>
          </p:nvSpPr>
          <p:spPr>
            <a:xfrm>
              <a:off x="15578031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4D86D649-739B-1797-4D54-57BB57949F77}"/>
                </a:ext>
              </a:extLst>
            </p:cNvPr>
            <p:cNvSpPr/>
            <p:nvPr userDrawn="1"/>
          </p:nvSpPr>
          <p:spPr>
            <a:xfrm>
              <a:off x="16010229" y="7044325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7B01181B-3DE2-1298-535B-B386696D105E}"/>
                </a:ext>
              </a:extLst>
            </p:cNvPr>
            <p:cNvSpPr/>
            <p:nvPr userDrawn="1"/>
          </p:nvSpPr>
          <p:spPr>
            <a:xfrm>
              <a:off x="16877855" y="7044325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3771AE0C-F306-BF2C-8A08-7014BC483185}"/>
                </a:ext>
              </a:extLst>
            </p:cNvPr>
            <p:cNvSpPr/>
            <p:nvPr userDrawn="1"/>
          </p:nvSpPr>
          <p:spPr>
            <a:xfrm>
              <a:off x="17309764" y="7044325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>
                <a:solidFill>
                  <a:srgbClr val="006298"/>
                </a:solidFill>
              </a:endParaRPr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EA784716-A73A-FAAD-D8E5-366EEC9B8BCB}"/>
                </a:ext>
              </a:extLst>
            </p:cNvPr>
            <p:cNvSpPr/>
            <p:nvPr userDrawn="1"/>
          </p:nvSpPr>
          <p:spPr>
            <a:xfrm>
              <a:off x="17741673" y="7044325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F185C83B-4D6F-90FA-58F5-AA0C55621C47}"/>
              </a:ext>
            </a:extLst>
          </p:cNvPr>
          <p:cNvGrpSpPr/>
          <p:nvPr userDrawn="1"/>
        </p:nvGrpSpPr>
        <p:grpSpPr>
          <a:xfrm>
            <a:off x="18634830" y="8261278"/>
            <a:ext cx="3679771" cy="294182"/>
            <a:chOff x="15145832" y="6696161"/>
            <a:chExt cx="2990808" cy="240164"/>
          </a:xfrm>
        </p:grpSpPr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15711B9B-EFE3-2D1B-BB87-87608DA8C8D7}"/>
                </a:ext>
              </a:extLst>
            </p:cNvPr>
            <p:cNvSpPr/>
            <p:nvPr userDrawn="1"/>
          </p:nvSpPr>
          <p:spPr>
            <a:xfrm>
              <a:off x="15145832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73598EAD-113D-AEB5-E042-1FEF0390147F}"/>
                </a:ext>
              </a:extLst>
            </p:cNvPr>
            <p:cNvSpPr/>
            <p:nvPr userDrawn="1"/>
          </p:nvSpPr>
          <p:spPr>
            <a:xfrm>
              <a:off x="15578031" y="6696161"/>
              <a:ext cx="394967" cy="24016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CBFD448D-BDCA-BAE5-21F7-79D0732B5089}"/>
                </a:ext>
              </a:extLst>
            </p:cNvPr>
            <p:cNvSpPr/>
            <p:nvPr userDrawn="1"/>
          </p:nvSpPr>
          <p:spPr>
            <a:xfrm>
              <a:off x="16010229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C168A7BA-A0C3-126C-DDD8-A48D78C34125}"/>
                </a:ext>
              </a:extLst>
            </p:cNvPr>
            <p:cNvSpPr/>
            <p:nvPr userDrawn="1"/>
          </p:nvSpPr>
          <p:spPr>
            <a:xfrm>
              <a:off x="16877855" y="6696161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8" name="Retângulo 37">
              <a:extLst>
                <a:ext uri="{FF2B5EF4-FFF2-40B4-BE49-F238E27FC236}">
                  <a16:creationId xmlns:a16="http://schemas.microsoft.com/office/drawing/2014/main" id="{E146D007-43BD-31CF-CB2A-9A459D290486}"/>
                </a:ext>
              </a:extLst>
            </p:cNvPr>
            <p:cNvSpPr/>
            <p:nvPr userDrawn="1"/>
          </p:nvSpPr>
          <p:spPr>
            <a:xfrm>
              <a:off x="17309764" y="6696161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39" name="Retângulo 38">
              <a:extLst>
                <a:ext uri="{FF2B5EF4-FFF2-40B4-BE49-F238E27FC236}">
                  <a16:creationId xmlns:a16="http://schemas.microsoft.com/office/drawing/2014/main" id="{C06FE0C3-3E44-1303-1821-A266096D1CC4}"/>
                </a:ext>
              </a:extLst>
            </p:cNvPr>
            <p:cNvSpPr/>
            <p:nvPr userDrawn="1"/>
          </p:nvSpPr>
          <p:spPr>
            <a:xfrm>
              <a:off x="17741673" y="6696161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D7125147-2E05-B883-793B-73B526B91206}"/>
              </a:ext>
            </a:extLst>
          </p:cNvPr>
          <p:cNvGrpSpPr/>
          <p:nvPr userDrawn="1"/>
        </p:nvGrpSpPr>
        <p:grpSpPr>
          <a:xfrm>
            <a:off x="18634830" y="7834804"/>
            <a:ext cx="3679771" cy="294182"/>
            <a:chOff x="15145832" y="6347997"/>
            <a:chExt cx="2990808" cy="240164"/>
          </a:xfrm>
        </p:grpSpPr>
        <p:sp>
          <p:nvSpPr>
            <p:cNvPr id="41" name="Retângulo 40">
              <a:extLst>
                <a:ext uri="{FF2B5EF4-FFF2-40B4-BE49-F238E27FC236}">
                  <a16:creationId xmlns:a16="http://schemas.microsoft.com/office/drawing/2014/main" id="{959173F6-9517-FBF3-06F4-C3C13C40F981}"/>
                </a:ext>
              </a:extLst>
            </p:cNvPr>
            <p:cNvSpPr/>
            <p:nvPr userDrawn="1"/>
          </p:nvSpPr>
          <p:spPr>
            <a:xfrm>
              <a:off x="15145832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2" name="Retângulo 41">
              <a:extLst>
                <a:ext uri="{FF2B5EF4-FFF2-40B4-BE49-F238E27FC236}">
                  <a16:creationId xmlns:a16="http://schemas.microsoft.com/office/drawing/2014/main" id="{F4CEBF2C-D405-E542-7ABF-9753855311C5}"/>
                </a:ext>
              </a:extLst>
            </p:cNvPr>
            <p:cNvSpPr/>
            <p:nvPr userDrawn="1"/>
          </p:nvSpPr>
          <p:spPr>
            <a:xfrm>
              <a:off x="15578031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id="{669F8549-2ECF-FAF6-1E57-3F8DB1A3CF25}"/>
                </a:ext>
              </a:extLst>
            </p:cNvPr>
            <p:cNvSpPr/>
            <p:nvPr userDrawn="1"/>
          </p:nvSpPr>
          <p:spPr>
            <a:xfrm>
              <a:off x="16010229" y="6347997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4" name="Retângulo 43">
              <a:extLst>
                <a:ext uri="{FF2B5EF4-FFF2-40B4-BE49-F238E27FC236}">
                  <a16:creationId xmlns:a16="http://schemas.microsoft.com/office/drawing/2014/main" id="{BFD3CD84-2CC3-02AA-8C38-74A0C97C7D6D}"/>
                </a:ext>
              </a:extLst>
            </p:cNvPr>
            <p:cNvSpPr/>
            <p:nvPr userDrawn="1"/>
          </p:nvSpPr>
          <p:spPr>
            <a:xfrm>
              <a:off x="16877855" y="6347997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5" name="Retângulo 44">
              <a:extLst>
                <a:ext uri="{FF2B5EF4-FFF2-40B4-BE49-F238E27FC236}">
                  <a16:creationId xmlns:a16="http://schemas.microsoft.com/office/drawing/2014/main" id="{AA8C9C82-7BA6-D589-E5BF-A4B6222E3352}"/>
                </a:ext>
              </a:extLst>
            </p:cNvPr>
            <p:cNvSpPr/>
            <p:nvPr userDrawn="1"/>
          </p:nvSpPr>
          <p:spPr>
            <a:xfrm>
              <a:off x="17309764" y="6347997"/>
              <a:ext cx="394967" cy="2401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id="{8A3B7DC0-22E0-CBAA-7671-78B0758BB48C}"/>
                </a:ext>
              </a:extLst>
            </p:cNvPr>
            <p:cNvSpPr/>
            <p:nvPr userDrawn="1"/>
          </p:nvSpPr>
          <p:spPr>
            <a:xfrm>
              <a:off x="17741673" y="6347997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556CA2F-6D3E-7E59-971E-0DA637EB3B56}"/>
              </a:ext>
            </a:extLst>
          </p:cNvPr>
          <p:cNvGrpSpPr/>
          <p:nvPr userDrawn="1"/>
        </p:nvGrpSpPr>
        <p:grpSpPr>
          <a:xfrm>
            <a:off x="18636534" y="7408330"/>
            <a:ext cx="3679771" cy="294182"/>
            <a:chOff x="15147217" y="5999833"/>
            <a:chExt cx="2990808" cy="240164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29E5FE92-0CA1-F4F2-2DEC-BC68DE8D1D58}"/>
                </a:ext>
              </a:extLst>
            </p:cNvPr>
            <p:cNvSpPr/>
            <p:nvPr userDrawn="1"/>
          </p:nvSpPr>
          <p:spPr>
            <a:xfrm>
              <a:off x="15147217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C090E02D-D4D3-A110-08A0-D511261F6CD0}"/>
                </a:ext>
              </a:extLst>
            </p:cNvPr>
            <p:cNvSpPr/>
            <p:nvPr userDrawn="1"/>
          </p:nvSpPr>
          <p:spPr>
            <a:xfrm>
              <a:off x="15579416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BE128E05-6E27-C144-0F36-5BEA9CE114C1}"/>
                </a:ext>
              </a:extLst>
            </p:cNvPr>
            <p:cNvSpPr/>
            <p:nvPr userDrawn="1"/>
          </p:nvSpPr>
          <p:spPr>
            <a:xfrm>
              <a:off x="16011614" y="5999833"/>
              <a:ext cx="394967" cy="240164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1" name="Retângulo 50">
              <a:extLst>
                <a:ext uri="{FF2B5EF4-FFF2-40B4-BE49-F238E27FC236}">
                  <a16:creationId xmlns:a16="http://schemas.microsoft.com/office/drawing/2014/main" id="{AEC02013-61B2-4290-B4C1-2562FF277191}"/>
                </a:ext>
              </a:extLst>
            </p:cNvPr>
            <p:cNvSpPr/>
            <p:nvPr userDrawn="1"/>
          </p:nvSpPr>
          <p:spPr>
            <a:xfrm>
              <a:off x="16879240" y="5999833"/>
              <a:ext cx="394967" cy="2401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92DCDFDE-2D9A-04A4-82B5-812B41A322C4}"/>
                </a:ext>
              </a:extLst>
            </p:cNvPr>
            <p:cNvSpPr/>
            <p:nvPr userDrawn="1"/>
          </p:nvSpPr>
          <p:spPr>
            <a:xfrm>
              <a:off x="17311149" y="5999833"/>
              <a:ext cx="394967" cy="2401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  <p:sp>
          <p:nvSpPr>
            <p:cNvPr id="53" name="Retângulo 52">
              <a:extLst>
                <a:ext uri="{FF2B5EF4-FFF2-40B4-BE49-F238E27FC236}">
                  <a16:creationId xmlns:a16="http://schemas.microsoft.com/office/drawing/2014/main" id="{9E1F2EB5-63D5-F3EE-8787-6A301BC3F732}"/>
                </a:ext>
              </a:extLst>
            </p:cNvPr>
            <p:cNvSpPr/>
            <p:nvPr userDrawn="1"/>
          </p:nvSpPr>
          <p:spPr>
            <a:xfrm>
              <a:off x="17743058" y="5999833"/>
              <a:ext cx="394967" cy="240164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2205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102B264B-5E9C-840E-9D08-757322F42F74}"/>
              </a:ext>
            </a:extLst>
          </p:cNvPr>
          <p:cNvGrpSpPr/>
          <p:nvPr userDrawn="1"/>
        </p:nvGrpSpPr>
        <p:grpSpPr>
          <a:xfrm>
            <a:off x="18580924" y="7467903"/>
            <a:ext cx="3790995" cy="2307408"/>
            <a:chOff x="15102018" y="6048467"/>
            <a:chExt cx="3081207" cy="1883717"/>
          </a:xfrm>
        </p:grpSpPr>
        <p:cxnSp>
          <p:nvCxnSpPr>
            <p:cNvPr id="55" name="Conector reto 54">
              <a:extLst>
                <a:ext uri="{FF2B5EF4-FFF2-40B4-BE49-F238E27FC236}">
                  <a16:creationId xmlns:a16="http://schemas.microsoft.com/office/drawing/2014/main" id="{95BF3BAD-6C26-34F3-60EE-BDB8E2E08A6E}"/>
                </a:ext>
              </a:extLst>
            </p:cNvPr>
            <p:cNvCxnSpPr/>
            <p:nvPr userDrawn="1"/>
          </p:nvCxnSpPr>
          <p:spPr>
            <a:xfrm flipV="1">
              <a:off x="15102018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reto 55">
              <a:extLst>
                <a:ext uri="{FF2B5EF4-FFF2-40B4-BE49-F238E27FC236}">
                  <a16:creationId xmlns:a16="http://schemas.microsoft.com/office/drawing/2014/main" id="{BB44823C-43CA-1907-CA1F-7C231966A259}"/>
                </a:ext>
              </a:extLst>
            </p:cNvPr>
            <p:cNvCxnSpPr/>
            <p:nvPr userDrawn="1"/>
          </p:nvCxnSpPr>
          <p:spPr>
            <a:xfrm flipV="1">
              <a:off x="15102018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 reto 56">
              <a:extLst>
                <a:ext uri="{FF2B5EF4-FFF2-40B4-BE49-F238E27FC236}">
                  <a16:creationId xmlns:a16="http://schemas.microsoft.com/office/drawing/2014/main" id="{9CAF5D12-4821-C253-D25F-02159D40B444}"/>
                </a:ext>
              </a:extLst>
            </p:cNvPr>
            <p:cNvCxnSpPr/>
            <p:nvPr userDrawn="1"/>
          </p:nvCxnSpPr>
          <p:spPr>
            <a:xfrm flipV="1">
              <a:off x="15102018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85687878-C0FD-50F9-08A8-1AE6B0003544}"/>
                </a:ext>
              </a:extLst>
            </p:cNvPr>
            <p:cNvCxnSpPr/>
            <p:nvPr userDrawn="1"/>
          </p:nvCxnSpPr>
          <p:spPr>
            <a:xfrm flipV="1">
              <a:off x="15102018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reto 58">
              <a:extLst>
                <a:ext uri="{FF2B5EF4-FFF2-40B4-BE49-F238E27FC236}">
                  <a16:creationId xmlns:a16="http://schemas.microsoft.com/office/drawing/2014/main" id="{12CD1F79-4288-CF51-2E0F-8AD031233CE8}"/>
                </a:ext>
              </a:extLst>
            </p:cNvPr>
            <p:cNvCxnSpPr/>
            <p:nvPr userDrawn="1"/>
          </p:nvCxnSpPr>
          <p:spPr>
            <a:xfrm flipV="1">
              <a:off x="15102018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99F45236-69DA-679C-90AB-C9643FA814E5}"/>
                </a:ext>
              </a:extLst>
            </p:cNvPr>
            <p:cNvCxnSpPr/>
            <p:nvPr userDrawn="1"/>
          </p:nvCxnSpPr>
          <p:spPr>
            <a:xfrm flipV="1">
              <a:off x="15102018" y="778928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D1CFE4E7-89E4-1562-4B47-5E4CEF17E3A9}"/>
                </a:ext>
              </a:extLst>
            </p:cNvPr>
            <p:cNvCxnSpPr/>
            <p:nvPr userDrawn="1"/>
          </p:nvCxnSpPr>
          <p:spPr>
            <a:xfrm flipV="1">
              <a:off x="16832393" y="6048467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7926BA86-9E8D-D4C5-080F-88CA63922B52}"/>
                </a:ext>
              </a:extLst>
            </p:cNvPr>
            <p:cNvCxnSpPr/>
            <p:nvPr userDrawn="1"/>
          </p:nvCxnSpPr>
          <p:spPr>
            <a:xfrm flipV="1">
              <a:off x="16832393" y="6396631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5FB78450-9832-E78A-6EFE-74ECDAEBFA10}"/>
                </a:ext>
              </a:extLst>
            </p:cNvPr>
            <p:cNvCxnSpPr/>
            <p:nvPr userDrawn="1"/>
          </p:nvCxnSpPr>
          <p:spPr>
            <a:xfrm flipV="1">
              <a:off x="16832393" y="6744795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EC97FC10-776E-1EB6-B089-B852FEDE93CC}"/>
                </a:ext>
              </a:extLst>
            </p:cNvPr>
            <p:cNvCxnSpPr/>
            <p:nvPr userDrawn="1"/>
          </p:nvCxnSpPr>
          <p:spPr>
            <a:xfrm flipV="1">
              <a:off x="16832393" y="7092959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AD964B1E-66A0-19FA-EC75-C53706E0917A}"/>
                </a:ext>
              </a:extLst>
            </p:cNvPr>
            <p:cNvCxnSpPr/>
            <p:nvPr userDrawn="1"/>
          </p:nvCxnSpPr>
          <p:spPr>
            <a:xfrm flipV="1">
              <a:off x="16832393" y="7441123"/>
              <a:ext cx="1350832" cy="142897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tângulo 65">
            <a:extLst>
              <a:ext uri="{FF2B5EF4-FFF2-40B4-BE49-F238E27FC236}">
                <a16:creationId xmlns:a16="http://schemas.microsoft.com/office/drawing/2014/main" id="{186EC43A-6227-3333-AB29-5FC239F86E98}"/>
              </a:ext>
            </a:extLst>
          </p:cNvPr>
          <p:cNvSpPr/>
          <p:nvPr userDrawn="1"/>
        </p:nvSpPr>
        <p:spPr>
          <a:xfrm>
            <a:off x="18350122" y="-5970"/>
            <a:ext cx="4250812" cy="3625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CF45BB4D-632C-1ED1-C24F-480C0BD92176}"/>
              </a:ext>
            </a:extLst>
          </p:cNvPr>
          <p:cNvSpPr txBox="1"/>
          <p:nvPr userDrawn="1"/>
        </p:nvSpPr>
        <p:spPr>
          <a:xfrm>
            <a:off x="18635641" y="245745"/>
            <a:ext cx="3679771" cy="30754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MODELO DE APRESENTAÇÃO PADRÃO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accent2"/>
                </a:solidFill>
                <a:latin typeface="+mn-lt"/>
              </a:rPr>
              <a:t>—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225" b="1" kern="0">
                <a:solidFill>
                  <a:schemeClr val="tx1"/>
                </a:solidFill>
                <a:latin typeface="+mn-lt"/>
              </a:rPr>
              <a:t>Recursos </a:t>
            </a:r>
            <a:r>
              <a:rPr lang="pt-BR" sz="980" b="0" i="1" kern="0">
                <a:solidFill>
                  <a:schemeClr val="tx1"/>
                </a:solidFill>
                <a:latin typeface="+mn-lt"/>
              </a:rPr>
              <a:t>(Pressione a tecla Ctrl e clique para ir ao slide)</a:t>
            </a:r>
            <a:endParaRPr lang="pt-BR" sz="1225" b="0" i="1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algn="ctr" defTabSz="1120067"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br>
              <a:rPr lang="pt-BR" sz="1225" b="0" i="0" kern="0">
                <a:solidFill>
                  <a:schemeClr val="tx1"/>
                </a:solidFill>
                <a:latin typeface="+mn-lt"/>
              </a:rPr>
            </a:br>
            <a:r>
              <a:rPr lang="pt-BR" sz="1225" b="1" i="0" kern="0">
                <a:solidFill>
                  <a:schemeClr val="accent1"/>
                </a:solidFill>
                <a:latin typeface="+mn-lt"/>
              </a:rPr>
              <a:t>Tipografia                     Ícones                   Ilustrações</a:t>
            </a:r>
            <a:endParaRPr lang="pt-BR" sz="1225" b="0" i="0" kern="0">
              <a:solidFill>
                <a:schemeClr val="tx1"/>
              </a:solidFill>
              <a:latin typeface="+mn-lt"/>
            </a:endParaRPr>
          </a:p>
          <a:p>
            <a:pPr marL="0" lvl="1" indent="0" defTabSz="112006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5" b="0" i="0" kern="0">
                <a:solidFill>
                  <a:schemeClr val="tx1"/>
                </a:solidFill>
                <a:latin typeface="+mn-lt"/>
              </a:rPr>
              <a:t>Siga sempre as diretrizes estabelecidas no Manual</a:t>
            </a:r>
            <a:br>
              <a:rPr lang="pt-BR" sz="1225" b="0" i="0" kern="0">
                <a:solidFill>
                  <a:schemeClr val="tx1"/>
                </a:solidFill>
                <a:latin typeface="+mn-lt"/>
              </a:rPr>
            </a:br>
            <a:r>
              <a:rPr lang="pt-BR" sz="1225" b="0" i="0" kern="0">
                <a:solidFill>
                  <a:schemeClr val="tx1"/>
                </a:solidFill>
                <a:latin typeface="+mn-lt"/>
              </a:rPr>
              <a:t>do Sistema de Identidade Visual Petrobras.</a:t>
            </a:r>
          </a:p>
          <a:p>
            <a:pPr marL="0" lvl="1" indent="0" defTabSz="1120067">
              <a:spcBef>
                <a:spcPts val="735"/>
              </a:spcBef>
              <a:spcAft>
                <a:spcPts val="735"/>
              </a:spcAft>
              <a:buClr>
                <a:schemeClr val="accent2"/>
              </a:buClr>
              <a:buFont typeface="Arial" panose="020B0604020202020204" pitchFamily="34" charset="0"/>
              <a:buNone/>
              <a:defRPr/>
            </a:pPr>
            <a:r>
              <a:rPr lang="pt-BR" sz="1225" b="1" i="0" kern="0">
                <a:solidFill>
                  <a:schemeClr val="tx1"/>
                </a:solidFill>
                <a:latin typeface="+mn-lt"/>
              </a:rPr>
              <a:t>Os Elementos Gráficos Petrobras (</a:t>
            </a:r>
            <a:r>
              <a:rPr lang="pt-BR" sz="1225" b="1" i="0" kern="0" err="1">
                <a:solidFill>
                  <a:schemeClr val="tx1"/>
                </a:solidFill>
                <a:latin typeface="+mn-lt"/>
              </a:rPr>
              <a:t>EGPs</a:t>
            </a:r>
            <a:r>
              <a:rPr lang="pt-BR" sz="1225" b="1" i="0" kern="0">
                <a:solidFill>
                  <a:schemeClr val="tx1"/>
                </a:solidFill>
                <a:latin typeface="+mn-lt"/>
              </a:rPr>
              <a:t>) utilizados são personalizáveis e podem ser reutilizados em outros slides e ter suas cores alteradas.</a:t>
            </a:r>
            <a:endParaRPr lang="pt-BR" sz="1225" b="1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Retângulo 67">
            <a:extLst>
              <a:ext uri="{FF2B5EF4-FFF2-40B4-BE49-F238E27FC236}">
                <a16:creationId xmlns:a16="http://schemas.microsoft.com/office/drawing/2014/main" id="{80A80323-FEE1-87FC-41A4-A8DE80ADD464}"/>
              </a:ext>
            </a:extLst>
          </p:cNvPr>
          <p:cNvSpPr>
            <a:spLocks/>
          </p:cNvSpPr>
          <p:nvPr userDrawn="1"/>
        </p:nvSpPr>
        <p:spPr>
          <a:xfrm>
            <a:off x="18635641" y="1080383"/>
            <a:ext cx="1151617" cy="67504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430">
                <a:solidFill>
                  <a:schemeClr val="accent1"/>
                </a:solidFill>
                <a:latin typeface="+mj-lt"/>
              </a:rPr>
              <a:t>Aa</a:t>
            </a: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A9AF8DBD-2515-8520-3490-F63E19BB70CB}"/>
              </a:ext>
            </a:extLst>
          </p:cNvPr>
          <p:cNvGrpSpPr>
            <a:grpSpLocks/>
          </p:cNvGrpSpPr>
          <p:nvPr userDrawn="1"/>
        </p:nvGrpSpPr>
        <p:grpSpPr>
          <a:xfrm>
            <a:off x="19909563" y="1080383"/>
            <a:ext cx="1151617" cy="675046"/>
            <a:chOff x="16181897" y="451485"/>
            <a:chExt cx="936000" cy="551093"/>
          </a:xfrm>
        </p:grpSpPr>
        <p:sp>
          <p:nvSpPr>
            <p:cNvPr id="70" name="Retângulo 69">
              <a:extLst>
                <a:ext uri="{FF2B5EF4-FFF2-40B4-BE49-F238E27FC236}">
                  <a16:creationId xmlns:a16="http://schemas.microsoft.com/office/drawing/2014/main" id="{8AFAB901-9374-98A0-3E8F-33DBA7F8D51E}"/>
                </a:ext>
              </a:extLst>
            </p:cNvPr>
            <p:cNvSpPr>
              <a:spLocks/>
            </p:cNvSpPr>
            <p:nvPr/>
          </p:nvSpPr>
          <p:spPr>
            <a:xfrm>
              <a:off x="16181897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71" name="Gráfico 70">
              <a:extLst>
                <a:ext uri="{FF2B5EF4-FFF2-40B4-BE49-F238E27FC236}">
                  <a16:creationId xmlns:a16="http://schemas.microsoft.com/office/drawing/2014/main" id="{FA835722-0D11-6A21-321A-F332BD3BBF1E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6459977" y="533313"/>
              <a:ext cx="379840" cy="387438"/>
            </a:xfrm>
            <a:prstGeom prst="rect">
              <a:avLst/>
            </a:prstGeom>
          </p:spPr>
        </p:pic>
      </p:grp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6C98C91F-CEB2-DBEB-0616-8ADB33C8E0C4}"/>
              </a:ext>
            </a:extLst>
          </p:cNvPr>
          <p:cNvGrpSpPr>
            <a:grpSpLocks/>
          </p:cNvGrpSpPr>
          <p:nvPr userDrawn="1"/>
        </p:nvGrpSpPr>
        <p:grpSpPr>
          <a:xfrm>
            <a:off x="21165830" y="1080383"/>
            <a:ext cx="1151617" cy="675046"/>
            <a:chOff x="17202953" y="451485"/>
            <a:chExt cx="936000" cy="551093"/>
          </a:xfrm>
        </p:grpSpPr>
        <p:sp>
          <p:nvSpPr>
            <p:cNvPr id="73" name="Retângulo 72">
              <a:extLst>
                <a:ext uri="{FF2B5EF4-FFF2-40B4-BE49-F238E27FC236}">
                  <a16:creationId xmlns:a16="http://schemas.microsoft.com/office/drawing/2014/main" id="{3D7A31A5-B329-0FEE-AD65-A0483C65387A}"/>
                </a:ext>
              </a:extLst>
            </p:cNvPr>
            <p:cNvSpPr>
              <a:spLocks/>
            </p:cNvSpPr>
            <p:nvPr/>
          </p:nvSpPr>
          <p:spPr>
            <a:xfrm>
              <a:off x="17202953" y="451485"/>
              <a:ext cx="936000" cy="55109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205"/>
            </a:p>
          </p:txBody>
        </p:sp>
        <p:pic>
          <p:nvPicPr>
            <p:cNvPr id="143" name="Gráfico 142">
              <a:extLst>
                <a:ext uri="{FF2B5EF4-FFF2-40B4-BE49-F238E27FC236}">
                  <a16:creationId xmlns:a16="http://schemas.microsoft.com/office/drawing/2014/main" id="{82C8C99D-5DF7-C953-9B99-B300DA1CA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7496224" y="508000"/>
              <a:ext cx="349458" cy="450112"/>
            </a:xfrm>
            <a:prstGeom prst="rect">
              <a:avLst/>
            </a:prstGeom>
          </p:spPr>
        </p:pic>
      </p:grpSp>
      <p:sp>
        <p:nvSpPr>
          <p:cNvPr id="144" name="Retângulo 143">
            <a:extLst>
              <a:ext uri="{FF2B5EF4-FFF2-40B4-BE49-F238E27FC236}">
                <a16:creationId xmlns:a16="http://schemas.microsoft.com/office/drawing/2014/main" id="{25ECD35B-F90E-43E6-D440-37B47F013FC7}"/>
              </a:ext>
            </a:extLst>
          </p:cNvPr>
          <p:cNvSpPr>
            <a:spLocks/>
          </p:cNvSpPr>
          <p:nvPr userDrawn="1"/>
        </p:nvSpPr>
        <p:spPr>
          <a:xfrm>
            <a:off x="18635640" y="5817984"/>
            <a:ext cx="1184644" cy="294182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43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5" name="Retângulo 144">
            <a:extLst>
              <a:ext uri="{FF2B5EF4-FFF2-40B4-BE49-F238E27FC236}">
                <a16:creationId xmlns:a16="http://schemas.microsoft.com/office/drawing/2014/main" id="{98CDBE07-DD00-BC8F-F0A2-AFEE3FCEB05E}"/>
              </a:ext>
            </a:extLst>
          </p:cNvPr>
          <p:cNvSpPr>
            <a:spLocks/>
          </p:cNvSpPr>
          <p:nvPr userDrawn="1"/>
        </p:nvSpPr>
        <p:spPr>
          <a:xfrm>
            <a:off x="19876535" y="5817984"/>
            <a:ext cx="1208844" cy="294182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  <p:sp>
        <p:nvSpPr>
          <p:cNvPr id="146" name="Retângulo 145">
            <a:extLst>
              <a:ext uri="{FF2B5EF4-FFF2-40B4-BE49-F238E27FC236}">
                <a16:creationId xmlns:a16="http://schemas.microsoft.com/office/drawing/2014/main" id="{84102DD1-7F29-4973-EDC7-36BF7D3FECA8}"/>
              </a:ext>
            </a:extLst>
          </p:cNvPr>
          <p:cNvSpPr>
            <a:spLocks/>
          </p:cNvSpPr>
          <p:nvPr userDrawn="1"/>
        </p:nvSpPr>
        <p:spPr>
          <a:xfrm>
            <a:off x="21141631" y="5817984"/>
            <a:ext cx="1175817" cy="294182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05"/>
          </a:p>
        </p:txBody>
      </p:sp>
    </p:spTree>
    <p:extLst>
      <p:ext uri="{BB962C8B-B14F-4D97-AF65-F5344CB8AC3E}">
        <p14:creationId xmlns:p14="http://schemas.microsoft.com/office/powerpoint/2010/main" val="977711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</p:sldLayoutIdLst>
  <p:txStyles>
    <p:titleStyle>
      <a:lvl1pPr algn="l" defTabSz="1344058" rtl="0" eaLnBrk="1" latinLnBrk="0" hangingPunct="1">
        <a:lnSpc>
          <a:spcPct val="90000"/>
        </a:lnSpc>
        <a:spcBef>
          <a:spcPct val="0"/>
        </a:spcBef>
        <a:buNone/>
        <a:defRPr sz="64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15" indent="-336015" algn="l" defTabSz="1344058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44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680073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352102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131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160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189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19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248" indent="-336015" algn="l" defTabSz="1344058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29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58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087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17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46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175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04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233" algn="l" defTabSz="1344058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4560">
          <p15:clr>
            <a:srgbClr val="F26B43"/>
          </p15:clr>
        </p15:guide>
        <p15:guide id="17" pos="4656">
          <p15:clr>
            <a:srgbClr val="F26B43"/>
          </p15:clr>
        </p15:guide>
        <p15:guide id="20" pos="1251">
          <p15:clr>
            <a:srgbClr val="F26B43"/>
          </p15:clr>
        </p15:guide>
        <p15:guide id="21" pos="1347">
          <p15:clr>
            <a:srgbClr val="F26B43"/>
          </p15:clr>
        </p15:guide>
        <p15:guide id="22" pos="2354">
          <p15:clr>
            <a:srgbClr val="F26B43"/>
          </p15:clr>
        </p15:guide>
        <p15:guide id="23" pos="2450">
          <p15:clr>
            <a:srgbClr val="F26B43"/>
          </p15:clr>
        </p15:guide>
        <p15:guide id="24" pos="3458">
          <p15:clr>
            <a:srgbClr val="F26B43"/>
          </p15:clr>
        </p15:guide>
        <p15:guide id="25" pos="3554">
          <p15:clr>
            <a:srgbClr val="F26B43"/>
          </p15:clr>
        </p15:guide>
        <p15:guide id="26" pos="5663">
          <p15:clr>
            <a:srgbClr val="F26B43"/>
          </p15:clr>
        </p15:guide>
        <p15:guide id="27" pos="5759">
          <p15:clr>
            <a:srgbClr val="F26B43"/>
          </p15:clr>
        </p15:guide>
        <p15:guide id="28" pos="6767">
          <p15:clr>
            <a:srgbClr val="F26B43"/>
          </p15:clr>
        </p15:guide>
        <p15:guide id="29" pos="6863">
          <p15:clr>
            <a:srgbClr val="F26B43"/>
          </p15:clr>
        </p15:guide>
        <p15:guide id="30" pos="7871">
          <p15:clr>
            <a:srgbClr val="F26B43"/>
          </p15:clr>
        </p15:guide>
        <p15:guide id="31" pos="7967">
          <p15:clr>
            <a:srgbClr val="F26B43"/>
          </p15:clr>
        </p15:guide>
        <p15:guide id="32" pos="8975">
          <p15:clr>
            <a:srgbClr val="F26B43"/>
          </p15:clr>
        </p15:guide>
        <p15:guide id="33" orient="horz" pos="233">
          <p15:clr>
            <a:srgbClr val="F26B43"/>
          </p15:clr>
        </p15:guide>
        <p15:guide id="34" orient="horz" pos="4951">
          <p15:clr>
            <a:srgbClr val="F26B43"/>
          </p15:clr>
        </p15:guide>
        <p15:guide id="35" pos="245">
          <p15:clr>
            <a:srgbClr val="F26B43"/>
          </p15:clr>
        </p15:guide>
        <p15:guide id="36" orient="horz" pos="1743">
          <p15:clr>
            <a:srgbClr val="F26B43"/>
          </p15:clr>
        </p15:guide>
        <p15:guide id="37" orient="horz" pos="1839">
          <p15:clr>
            <a:srgbClr val="F26B43"/>
          </p15:clr>
        </p15:guide>
        <p15:guide id="38" orient="horz" pos="3350">
          <p15:clr>
            <a:srgbClr val="F26B43"/>
          </p15:clr>
        </p15:guide>
        <p15:guide id="39" orient="horz" pos="344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9E85DDF5-F38B-9A85-772D-66619C9E2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7546" y="536701"/>
            <a:ext cx="15525572" cy="1948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C7206A2-0038-9782-44CB-1F06822DBF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7546" y="2683500"/>
            <a:ext cx="15525572" cy="639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C4C3E4-546B-F1C7-B7A2-4A0536C9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7546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CFDE732-F4C8-49B2-8EA4-926D41E6A65B}" type="datetimeFigureOut">
              <a:rPr lang="pt-BR" smtClean="0"/>
              <a:t>2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36B425-BB8F-0CDF-69E8-6DD395E92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962720" y="9343247"/>
            <a:ext cx="6075224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DB821FD-4BDC-5C96-55FF-A6A6A506B6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12968" y="9343247"/>
            <a:ext cx="4050149" cy="53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38E1B0C-F129-4309-860A-0ACC80A3E197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927747B-1AD9-BA83-1093-20D607F0F0E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93754" y="9785674"/>
            <a:ext cx="1143792" cy="203582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323">
                <a:solidFill>
                  <a:srgbClr val="FDC82F">
                    <a:alpha val="50000"/>
                  </a:srgbClr>
                </a:solidFill>
                <a:latin typeface="Trebuchet MS" panose="020B0603020202020204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2918769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  <p:sldLayoutId id="2147484045" r:id="rId25"/>
    <p:sldLayoutId id="2147484046" r:id="rId26"/>
    <p:sldLayoutId id="2147484048" r:id="rId27"/>
    <p:sldLayoutId id="2147484049" r:id="rId28"/>
    <p:sldLayoutId id="2147484050" r:id="rId29"/>
    <p:sldLayoutId id="2147484051" r:id="rId30"/>
    <p:sldLayoutId id="2147484052" r:id="rId31"/>
    <p:sldLayoutId id="2147484053" r:id="rId32"/>
    <p:sldLayoutId id="2147484054" r:id="rId33"/>
    <p:sldLayoutId id="2147484055" r:id="rId34"/>
    <p:sldLayoutId id="2147484056" r:id="rId35"/>
    <p:sldLayoutId id="2147484057" r:id="rId36"/>
    <p:sldLayoutId id="2147484058" r:id="rId37"/>
    <p:sldLayoutId id="2147484059" r:id="rId38"/>
    <p:sldLayoutId id="2147484060" r:id="rId39"/>
    <p:sldLayoutId id="2147484061" r:id="rId40"/>
    <p:sldLayoutId id="2147484063" r:id="rId41"/>
    <p:sldLayoutId id="2147484064" r:id="rId42"/>
    <p:sldLayoutId id="2147484065" r:id="rId43"/>
  </p:sldLayoutIdLst>
  <p:txStyles>
    <p:titleStyle>
      <a:lvl1pPr algn="l" defTabSz="1344077" rtl="0" eaLnBrk="1" latinLnBrk="0" hangingPunct="1">
        <a:lnSpc>
          <a:spcPct val="90000"/>
        </a:lnSpc>
        <a:spcBef>
          <a:spcPct val="0"/>
        </a:spcBef>
        <a:buNone/>
        <a:defRPr sz="64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19" indent="-336019" algn="l" defTabSz="1344077" rtl="0" eaLnBrk="1" latinLnBrk="0" hangingPunct="1">
        <a:lnSpc>
          <a:spcPct val="90000"/>
        </a:lnSpc>
        <a:spcBef>
          <a:spcPts val="1470"/>
        </a:spcBef>
        <a:buFont typeface="Arial" panose="020B0604020202020204" pitchFamily="34" charset="0"/>
        <a:buChar char="•"/>
        <a:defRPr sz="4116" kern="1200">
          <a:solidFill>
            <a:schemeClr val="tx1"/>
          </a:solidFill>
          <a:latin typeface="+mn-lt"/>
          <a:ea typeface="+mn-ea"/>
          <a:cs typeface="+mn-cs"/>
        </a:defRPr>
      </a:lvl1pPr>
      <a:lvl2pPr marL="100805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2pPr>
      <a:lvl3pPr marL="1680096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3pPr>
      <a:lvl4pPr marL="2352134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3024172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696211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368249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5040287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712325" indent="-336019" algn="l" defTabSz="1344077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7203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344077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016115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2688153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3360191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6pPr>
      <a:lvl7pPr marL="4032230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7pPr>
      <a:lvl8pPr marL="4704268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8pPr>
      <a:lvl9pPr marL="5376306" algn="l" defTabSz="1344077" rtl="0" eaLnBrk="1" latinLnBrk="0" hangingPunct="1">
        <a:defRPr sz="2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8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21.jpeg"/><Relationship Id="rId7" Type="http://schemas.openxmlformats.org/officeDocument/2006/relationships/image" Target="../media/image123.svg"/><Relationship Id="rId12" Type="http://schemas.openxmlformats.org/officeDocument/2006/relationships/image" Target="../media/image8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5.xml"/><Relationship Id="rId6" Type="http://schemas.openxmlformats.org/officeDocument/2006/relationships/image" Target="../media/image90.png"/><Relationship Id="rId11" Type="http://schemas.microsoft.com/office/2007/relationships/hdphoto" Target="../media/hdphoto2.wdp"/><Relationship Id="rId5" Type="http://schemas.openxmlformats.org/officeDocument/2006/relationships/image" Target="../media/image122.svg"/><Relationship Id="rId10" Type="http://schemas.openxmlformats.org/officeDocument/2006/relationships/image" Target="../media/image126.png"/><Relationship Id="rId4" Type="http://schemas.openxmlformats.org/officeDocument/2006/relationships/image" Target="../media/image88.png"/><Relationship Id="rId9" Type="http://schemas.openxmlformats.org/officeDocument/2006/relationships/image" Target="../media/image1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png"/><Relationship Id="rId18" Type="http://schemas.openxmlformats.org/officeDocument/2006/relationships/image" Target="../media/image139.sv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9.xml"/><Relationship Id="rId21" Type="http://schemas.openxmlformats.org/officeDocument/2006/relationships/image" Target="../media/image142.svg"/><Relationship Id="rId7" Type="http://schemas.openxmlformats.org/officeDocument/2006/relationships/image" Target="../media/image128.svg"/><Relationship Id="rId12" Type="http://schemas.openxmlformats.org/officeDocument/2006/relationships/image" Target="../media/image133.png"/><Relationship Id="rId17" Type="http://schemas.openxmlformats.org/officeDocument/2006/relationships/image" Target="../media/image138.png"/><Relationship Id="rId25" Type="http://schemas.openxmlformats.org/officeDocument/2006/relationships/image" Target="../media/image146.svg"/><Relationship Id="rId2" Type="http://schemas.openxmlformats.org/officeDocument/2006/relationships/slideLayout" Target="../slideLayouts/slideLayout87.xml"/><Relationship Id="rId16" Type="http://schemas.openxmlformats.org/officeDocument/2006/relationships/image" Target="../media/image137.svg"/><Relationship Id="rId20" Type="http://schemas.openxmlformats.org/officeDocument/2006/relationships/image" Target="../media/image141.png"/><Relationship Id="rId1" Type="http://schemas.openxmlformats.org/officeDocument/2006/relationships/tags" Target="../tags/tag5.xml"/><Relationship Id="rId6" Type="http://schemas.openxmlformats.org/officeDocument/2006/relationships/image" Target="../media/image90.png"/><Relationship Id="rId11" Type="http://schemas.openxmlformats.org/officeDocument/2006/relationships/image" Target="../media/image132.svg"/><Relationship Id="rId24" Type="http://schemas.openxmlformats.org/officeDocument/2006/relationships/image" Target="../media/image145.png"/><Relationship Id="rId5" Type="http://schemas.openxmlformats.org/officeDocument/2006/relationships/image" Target="../media/image127.emf"/><Relationship Id="rId15" Type="http://schemas.openxmlformats.org/officeDocument/2006/relationships/image" Target="../media/image136.png"/><Relationship Id="rId23" Type="http://schemas.openxmlformats.org/officeDocument/2006/relationships/image" Target="../media/image144.svg"/><Relationship Id="rId28" Type="http://schemas.openxmlformats.org/officeDocument/2006/relationships/image" Target="../media/image111.jpeg"/><Relationship Id="rId10" Type="http://schemas.openxmlformats.org/officeDocument/2006/relationships/image" Target="../media/image131.png"/><Relationship Id="rId19" Type="http://schemas.openxmlformats.org/officeDocument/2006/relationships/image" Target="../media/image14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0.svg"/><Relationship Id="rId14" Type="http://schemas.openxmlformats.org/officeDocument/2006/relationships/image" Target="../media/image135.svg"/><Relationship Id="rId22" Type="http://schemas.openxmlformats.org/officeDocument/2006/relationships/image" Target="../media/image143.png"/><Relationship Id="rId27" Type="http://schemas.openxmlformats.org/officeDocument/2006/relationships/image" Target="../media/image14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2.xml"/><Relationship Id="rId4" Type="http://schemas.openxmlformats.org/officeDocument/2006/relationships/image" Target="../media/image91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149.jpeg"/><Relationship Id="rId4" Type="http://schemas.openxmlformats.org/officeDocument/2006/relationships/image" Target="../media/image151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" Target="slide16.xml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8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83.png"/><Relationship Id="rId4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87.jpeg"/><Relationship Id="rId7" Type="http://schemas.openxmlformats.org/officeDocument/2006/relationships/image" Target="../media/image9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90.png"/><Relationship Id="rId5" Type="http://schemas.openxmlformats.org/officeDocument/2006/relationships/image" Target="../media/image89.svg"/><Relationship Id="rId4" Type="http://schemas.openxmlformats.org/officeDocument/2006/relationships/image" Target="../media/image8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svg"/><Relationship Id="rId13" Type="http://schemas.openxmlformats.org/officeDocument/2006/relationships/image" Target="../media/image101.png"/><Relationship Id="rId3" Type="http://schemas.openxmlformats.org/officeDocument/2006/relationships/image" Target="../media/image90.png"/><Relationship Id="rId7" Type="http://schemas.openxmlformats.org/officeDocument/2006/relationships/image" Target="../media/image95.png"/><Relationship Id="rId12" Type="http://schemas.openxmlformats.org/officeDocument/2006/relationships/image" Target="../media/image10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8.xml"/><Relationship Id="rId6" Type="http://schemas.openxmlformats.org/officeDocument/2006/relationships/image" Target="../media/image94.svg"/><Relationship Id="rId11" Type="http://schemas.openxmlformats.org/officeDocument/2006/relationships/image" Target="../media/image99.png"/><Relationship Id="rId5" Type="http://schemas.openxmlformats.org/officeDocument/2006/relationships/image" Target="../media/image93.png"/><Relationship Id="rId15" Type="http://schemas.openxmlformats.org/officeDocument/2006/relationships/image" Target="../media/image84.jpeg"/><Relationship Id="rId10" Type="http://schemas.openxmlformats.org/officeDocument/2006/relationships/image" Target="../media/image98.svg"/><Relationship Id="rId4" Type="http://schemas.openxmlformats.org/officeDocument/2006/relationships/image" Target="../media/image92.svg"/><Relationship Id="rId9" Type="http://schemas.openxmlformats.org/officeDocument/2006/relationships/image" Target="../media/image97.png"/><Relationship Id="rId14" Type="http://schemas.openxmlformats.org/officeDocument/2006/relationships/image" Target="../media/image10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83.png"/><Relationship Id="rId4" Type="http://schemas.openxmlformats.org/officeDocument/2006/relationships/image" Target="../media/image8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90.png"/><Relationship Id="rId3" Type="http://schemas.openxmlformats.org/officeDocument/2006/relationships/image" Target="../media/image103.png"/><Relationship Id="rId7" Type="http://schemas.openxmlformats.org/officeDocument/2006/relationships/image" Target="../media/image105.svg"/><Relationship Id="rId12" Type="http://schemas.openxmlformats.org/officeDocument/2006/relationships/image" Target="../media/image8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3.xml"/><Relationship Id="rId6" Type="http://schemas.openxmlformats.org/officeDocument/2006/relationships/image" Target="../media/image104.png"/><Relationship Id="rId11" Type="http://schemas.openxmlformats.org/officeDocument/2006/relationships/image" Target="../media/image109.svg"/><Relationship Id="rId5" Type="http://schemas.openxmlformats.org/officeDocument/2006/relationships/image" Target="../media/image80.emf"/><Relationship Id="rId10" Type="http://schemas.openxmlformats.org/officeDocument/2006/relationships/image" Target="../media/image108.png"/><Relationship Id="rId4" Type="http://schemas.openxmlformats.org/officeDocument/2006/relationships/image" Target="../media/image79.emf"/><Relationship Id="rId9" Type="http://schemas.openxmlformats.org/officeDocument/2006/relationships/image" Target="../media/image107.svg"/><Relationship Id="rId14" Type="http://schemas.openxmlformats.org/officeDocument/2006/relationships/image" Target="../media/image11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90.pn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7.xml"/><Relationship Id="rId6" Type="http://schemas.openxmlformats.org/officeDocument/2006/relationships/chart" Target="../charts/chart1.xml"/><Relationship Id="rId5" Type="http://schemas.openxmlformats.org/officeDocument/2006/relationships/image" Target="../media/image111.jpeg"/><Relationship Id="rId4" Type="http://schemas.openxmlformats.org/officeDocument/2006/relationships/image" Target="../media/image91.svg"/><Relationship Id="rId9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13" Type="http://schemas.openxmlformats.org/officeDocument/2006/relationships/image" Target="../media/image118.svg"/><Relationship Id="rId3" Type="http://schemas.openxmlformats.org/officeDocument/2006/relationships/image" Target="../media/image112.png"/><Relationship Id="rId7" Type="http://schemas.openxmlformats.org/officeDocument/2006/relationships/image" Target="../media/image91.svg"/><Relationship Id="rId12" Type="http://schemas.openxmlformats.org/officeDocument/2006/relationships/image" Target="../media/image1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90.png"/><Relationship Id="rId11" Type="http://schemas.openxmlformats.org/officeDocument/2006/relationships/image" Target="../media/image116.svg"/><Relationship Id="rId5" Type="http://schemas.openxmlformats.org/officeDocument/2006/relationships/image" Target="../media/image89.svg"/><Relationship Id="rId15" Type="http://schemas.openxmlformats.org/officeDocument/2006/relationships/image" Target="../media/image120.svg"/><Relationship Id="rId10" Type="http://schemas.openxmlformats.org/officeDocument/2006/relationships/image" Target="../media/image115.png"/><Relationship Id="rId4" Type="http://schemas.openxmlformats.org/officeDocument/2006/relationships/image" Target="../media/image88.png"/><Relationship Id="rId9" Type="http://schemas.openxmlformats.org/officeDocument/2006/relationships/image" Target="../media/image114.svg"/><Relationship Id="rId14" Type="http://schemas.openxmlformats.org/officeDocument/2006/relationships/image" Target="../media/image1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9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473556-0931-74AB-75C6-9F40DCE80A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Barco no mar&#10;&#10;Descrição gerada automaticamente com confiança média">
            <a:extLst>
              <a:ext uri="{FF2B5EF4-FFF2-40B4-BE49-F238E27FC236}">
                <a16:creationId xmlns:a16="http://schemas.microsoft.com/office/drawing/2014/main" id="{C85F61B2-D7C5-F94D-6D8F-5409BA9B54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" r="6876"/>
          <a:stretch/>
        </p:blipFill>
        <p:spPr>
          <a:xfrm>
            <a:off x="0" y="0"/>
            <a:ext cx="22131075" cy="13425616"/>
          </a:xfrm>
          <a:prstGeom prst="rect">
            <a:avLst/>
          </a:prstGeom>
        </p:spPr>
      </p:pic>
      <p:sp>
        <p:nvSpPr>
          <p:cNvPr id="11" name="Gráfico 7">
            <a:extLst>
              <a:ext uri="{FF2B5EF4-FFF2-40B4-BE49-F238E27FC236}">
                <a16:creationId xmlns:a16="http://schemas.microsoft.com/office/drawing/2014/main" id="{AA939159-BBBB-9CB2-1D9E-2530CC3EAD5C}"/>
              </a:ext>
            </a:extLst>
          </p:cNvPr>
          <p:cNvSpPr/>
          <p:nvPr/>
        </p:nvSpPr>
        <p:spPr>
          <a:xfrm>
            <a:off x="-3183181" y="-100584"/>
            <a:ext cx="28877148" cy="12639943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37000">
                <a:srgbClr val="008542">
                  <a:alpha val="40000"/>
                </a:srgbClr>
              </a:gs>
              <a:gs pos="0">
                <a:srgbClr val="006298"/>
              </a:gs>
              <a:gs pos="68000">
                <a:srgbClr val="00B2A9">
                  <a:alpha val="50000"/>
                </a:srgb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</a:rPr>
              <a:t>                                             </a:t>
            </a:r>
          </a:p>
        </p:txBody>
      </p:sp>
      <p:pic>
        <p:nvPicPr>
          <p:cNvPr id="7" name="Imagem 6" descr="Forma, Polígono&#10;&#10;Descrição gerada automaticamente">
            <a:extLst>
              <a:ext uri="{FF2B5EF4-FFF2-40B4-BE49-F238E27FC236}">
                <a16:creationId xmlns:a16="http://schemas.microsoft.com/office/drawing/2014/main" id="{174EDA67-8022-A698-5905-DE944563C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1729"/>
            <a:ext cx="8608035" cy="11441229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97A715C-31E9-F31C-2F4F-D849C01943CE}"/>
              </a:ext>
            </a:extLst>
          </p:cNvPr>
          <p:cNvSpPr txBox="1"/>
          <p:nvPr/>
        </p:nvSpPr>
        <p:spPr>
          <a:xfrm>
            <a:off x="0" y="3218663"/>
            <a:ext cx="13137663" cy="4306093"/>
          </a:xfrm>
          <a:prstGeom prst="rect">
            <a:avLst/>
          </a:prstGeom>
          <a:noFill/>
        </p:spPr>
        <p:txBody>
          <a:bodyPr wrap="square" lIns="134408" tIns="67204" rIns="134408" bIns="67204" rtlCol="0" anchor="t">
            <a:spAutoFit/>
          </a:bodyPr>
          <a:lstStyle/>
          <a:p>
            <a:pPr lvl="0" defTabSz="756026">
              <a:tabLst>
                <a:tab pos="-3349615" algn="l"/>
                <a:tab pos="-2828535" algn="l"/>
                <a:tab pos="378013" algn="l"/>
                <a:tab pos="756026" algn="l"/>
                <a:tab pos="1134039" algn="l"/>
                <a:tab pos="1512052" algn="l"/>
                <a:tab pos="1890065" algn="l"/>
                <a:tab pos="2268078" algn="l"/>
              </a:tabLst>
              <a:defRPr/>
            </a:pPr>
            <a:r>
              <a:rPr lang="pt-BR" altLang="pt-BR" sz="3800" i="1" spc="60">
                <a:solidFill>
                  <a:srgbClr val="FDC82F"/>
                </a:solidFill>
                <a:latin typeface="Petrobras Sans XBold" panose="020B0806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o Anual de </a:t>
            </a:r>
          </a:p>
          <a:p>
            <a:pPr lvl="0" defTabSz="756026">
              <a:tabLst>
                <a:tab pos="-3349615" algn="l"/>
                <a:tab pos="-2828535" algn="l"/>
                <a:tab pos="378013" algn="l"/>
                <a:tab pos="756026" algn="l"/>
                <a:tab pos="1134039" algn="l"/>
                <a:tab pos="1512052" algn="l"/>
                <a:tab pos="1890065" algn="l"/>
                <a:tab pos="2268078" algn="l"/>
              </a:tabLst>
              <a:defRPr/>
            </a:pPr>
            <a:r>
              <a:rPr lang="pt-BR" altLang="pt-BR" sz="3800" i="1" spc="60">
                <a:solidFill>
                  <a:srgbClr val="FDC82F"/>
                </a:solidFill>
                <a:latin typeface="Petrobras Sans XBold" panose="020B0806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ditoria Interna</a:t>
            </a:r>
          </a:p>
          <a:p>
            <a:pPr defTabSz="1343999">
              <a:defRPr/>
            </a:pPr>
            <a:r>
              <a:rPr lang="pt-BR" sz="4000" b="1">
                <a:solidFill>
                  <a:srgbClr val="FFFFFF"/>
                </a:solidFill>
                <a:latin typeface="Petrobras Sans XBold" panose="020B0806020204030204" pitchFamily="34" charset="0"/>
              </a:rPr>
              <a:t>PAINT 2026</a:t>
            </a:r>
          </a:p>
          <a:p>
            <a:pPr defTabSz="1343999">
              <a:defRPr/>
            </a:pPr>
            <a:endParaRPr lang="pt-BR" sz="4704">
              <a:solidFill>
                <a:srgbClr val="FDC82F"/>
              </a:solidFill>
              <a:latin typeface="Petrobras Sans Light"/>
            </a:endParaRPr>
          </a:p>
          <a:p>
            <a:pPr defTabSz="1343999">
              <a:defRPr/>
            </a:pPr>
            <a:r>
              <a:rPr lang="pt-BR" sz="4704">
                <a:solidFill>
                  <a:srgbClr val="FDC82F"/>
                </a:solidFill>
                <a:latin typeface="Petrobras Sans Light"/>
              </a:rPr>
              <a:t>—</a:t>
            </a:r>
          </a:p>
          <a:p>
            <a:pPr defTabSz="1343999">
              <a:defRPr/>
            </a:pPr>
            <a:endParaRPr lang="pt-BR" sz="2646" b="1">
              <a:solidFill>
                <a:srgbClr val="FFFFFF"/>
              </a:solidFill>
              <a:latin typeface="Petrobras Sans Light"/>
            </a:endParaRPr>
          </a:p>
          <a:p>
            <a:pPr defTabSz="1343999">
              <a:defRPr/>
            </a:pPr>
            <a:endParaRPr lang="pt-BR" sz="2646" b="1">
              <a:solidFill>
                <a:srgbClr val="FFFFFF"/>
              </a:solidFill>
              <a:latin typeface="Petrobras Sans Ligh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3A18FA6-2E59-3EBF-90FA-C1DE39379FA7}"/>
              </a:ext>
            </a:extLst>
          </p:cNvPr>
          <p:cNvSpPr txBox="1"/>
          <p:nvPr/>
        </p:nvSpPr>
        <p:spPr>
          <a:xfrm>
            <a:off x="918470" y="2594330"/>
            <a:ext cx="10166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756026">
              <a:tabLst>
                <a:tab pos="-3349615" algn="l"/>
                <a:tab pos="-2828535" algn="l"/>
                <a:tab pos="378013" algn="l"/>
                <a:tab pos="756026" algn="l"/>
                <a:tab pos="1134039" algn="l"/>
                <a:tab pos="1512052" algn="l"/>
                <a:tab pos="1890065" algn="l"/>
                <a:tab pos="2268078" algn="l"/>
              </a:tabLst>
              <a:defRPr/>
            </a:pPr>
            <a:endParaRPr lang="pt-BR" altLang="pt-BR" sz="1800" i="1" spc="60">
              <a:solidFill>
                <a:srgbClr val="FDC82F"/>
              </a:solidFill>
              <a:latin typeface="Petrobras Sans" panose="020B0606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Imagem 2" descr="Texto&#10;&#10;Descrição gerada automaticamente">
            <a:extLst>
              <a:ext uri="{FF2B5EF4-FFF2-40B4-BE49-F238E27FC236}">
                <a16:creationId xmlns:a16="http://schemas.microsoft.com/office/drawing/2014/main" id="{492C07F2-0AAA-2E8E-BDFD-2C5047029A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2064" y="0"/>
            <a:ext cx="3115110" cy="92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46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57756-8501-7DB2-E19D-7774E5EF7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ED82EF09-795E-AC80-A611-5F2852336E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778" y="-58806"/>
            <a:ext cx="18022248" cy="10099843"/>
          </a:xfrm>
          <a:prstGeom prst="rect">
            <a:avLst/>
          </a:prstGeom>
        </p:spPr>
      </p:pic>
      <p:sp>
        <p:nvSpPr>
          <p:cNvPr id="6" name="Gráfico 7">
            <a:extLst>
              <a:ext uri="{FF2B5EF4-FFF2-40B4-BE49-F238E27FC236}">
                <a16:creationId xmlns:a16="http://schemas.microsoft.com/office/drawing/2014/main" id="{0F315982-9F28-BA23-6FD8-05A16FCA1B21}"/>
              </a:ext>
            </a:extLst>
          </p:cNvPr>
          <p:cNvSpPr/>
          <p:nvPr/>
        </p:nvSpPr>
        <p:spPr>
          <a:xfrm>
            <a:off x="-4706904" y="-486769"/>
            <a:ext cx="29760110" cy="13163456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rgbClr val="008542">
                  <a:alpha val="90000"/>
                </a:srgbClr>
              </a:gs>
              <a:gs pos="0">
                <a:srgbClr val="006298"/>
              </a:gs>
              <a:gs pos="68000">
                <a:srgbClr val="00B2A9">
                  <a:alpha val="50000"/>
                </a:srgb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just" defTabSz="45517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7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ACCBD56E-DB52-6141-D11F-316478B098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818644" y="-124590"/>
            <a:ext cx="23335342" cy="10892274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D9F3402-E1A3-9F84-B5D2-495D187E9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704">
            <a:off x="-2714185" y="-807908"/>
            <a:ext cx="23656971" cy="10946256"/>
          </a:xfrm>
          <a:prstGeom prst="rect">
            <a:avLst/>
          </a:prstGeom>
        </p:spPr>
      </p:pic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FF865792-3A00-B68A-60EF-CBD6BC6E3326}"/>
              </a:ext>
            </a:extLst>
          </p:cNvPr>
          <p:cNvSpPr txBox="1">
            <a:spLocks/>
          </p:cNvSpPr>
          <p:nvPr/>
        </p:nvSpPr>
        <p:spPr>
          <a:xfrm>
            <a:off x="17140955" y="9381725"/>
            <a:ext cx="582592" cy="58183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38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79FED-A24D-7E4F-A83E-EB88D716DD33}" type="slidenum">
              <a:rPr kumimoji="0" lang="pt-BR" sz="1792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 panose="020B0606020204030204" pitchFamily="34" charset="77"/>
                <a:ea typeface="+mn-ea"/>
                <a:cs typeface="+mn-cs"/>
              </a:rPr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792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 panose="020B0606020204030204" pitchFamily="34" charset="77"/>
              <a:ea typeface="+mn-ea"/>
              <a:cs typeface="+mn-cs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35D31F08-644D-7AF6-DBB4-E152A5B597B2}"/>
              </a:ext>
            </a:extLst>
          </p:cNvPr>
          <p:cNvGrpSpPr/>
          <p:nvPr/>
        </p:nvGrpSpPr>
        <p:grpSpPr>
          <a:xfrm>
            <a:off x="-3622594" y="-4328685"/>
            <a:ext cx="596753" cy="637818"/>
            <a:chOff x="28630486" y="1833206"/>
            <a:chExt cx="2520000" cy="2520000"/>
          </a:xfrm>
          <a:solidFill>
            <a:srgbClr val="FDC82F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981A4F6F-D212-C4AD-E6E2-50EBFED03464}"/>
                </a:ext>
              </a:extLst>
            </p:cNvPr>
            <p:cNvSpPr/>
            <p:nvPr/>
          </p:nvSpPr>
          <p:spPr>
            <a:xfrm>
              <a:off x="28630486" y="1833206"/>
              <a:ext cx="2520000" cy="252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5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8" name="Imagem 17" descr="Ícone&#10;&#10;Descrição gerada automaticamente">
              <a:extLst>
                <a:ext uri="{FF2B5EF4-FFF2-40B4-BE49-F238E27FC236}">
                  <a16:creationId xmlns:a16="http://schemas.microsoft.com/office/drawing/2014/main" id="{B89A40EF-EB06-64CA-00F5-6028D9629C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01237" y="2566554"/>
              <a:ext cx="1029508" cy="1069483"/>
            </a:xfrm>
            <a:prstGeom prst="rect">
              <a:avLst/>
            </a:prstGeom>
            <a:grpFill/>
          </p:spPr>
        </p:pic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96B2B9DA-84B6-584E-2760-5A994CD21036}"/>
              </a:ext>
            </a:extLst>
          </p:cNvPr>
          <p:cNvGrpSpPr/>
          <p:nvPr/>
        </p:nvGrpSpPr>
        <p:grpSpPr>
          <a:xfrm>
            <a:off x="-4508036" y="-4347488"/>
            <a:ext cx="596753" cy="637818"/>
            <a:chOff x="-3066884" y="-2957661"/>
            <a:chExt cx="405980" cy="433917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ECFDDFC8-BBB7-17B6-0504-7C87DC223EDA}"/>
                </a:ext>
              </a:extLst>
            </p:cNvPr>
            <p:cNvSpPr/>
            <p:nvPr/>
          </p:nvSpPr>
          <p:spPr>
            <a:xfrm>
              <a:off x="-3066884" y="-2957661"/>
              <a:ext cx="405980" cy="433917"/>
            </a:xfrm>
            <a:prstGeom prst="ellipse">
              <a:avLst/>
            </a:prstGeom>
            <a:solidFill>
              <a:srgbClr val="00B1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5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9" name="Imagem 18" descr="Ícone, Círculo&#10;&#10;Descrição gerada automaticamente">
              <a:extLst>
                <a:ext uri="{FF2B5EF4-FFF2-40B4-BE49-F238E27FC236}">
                  <a16:creationId xmlns:a16="http://schemas.microsoft.com/office/drawing/2014/main" id="{2CFBC8F2-4EFE-F91C-CF03-18E79D6FD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52709" y="-2847519"/>
              <a:ext cx="209510" cy="209510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D877D36C-08A5-6444-DCB7-146FD683B7B5}"/>
              </a:ext>
            </a:extLst>
          </p:cNvPr>
          <p:cNvGrpSpPr/>
          <p:nvPr/>
        </p:nvGrpSpPr>
        <p:grpSpPr>
          <a:xfrm>
            <a:off x="-2737153" y="-4350518"/>
            <a:ext cx="596753" cy="637819"/>
            <a:chOff x="4795669" y="-3087562"/>
            <a:chExt cx="1584902" cy="1584902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17CA32A7-9BE7-4FC4-1EA7-3932019D2CDE}"/>
                </a:ext>
              </a:extLst>
            </p:cNvPr>
            <p:cNvSpPr/>
            <p:nvPr/>
          </p:nvSpPr>
          <p:spPr>
            <a:xfrm>
              <a:off x="4795669" y="-3087562"/>
              <a:ext cx="1584902" cy="1584902"/>
            </a:xfrm>
            <a:prstGeom prst="ellipse">
              <a:avLst/>
            </a:prstGeom>
            <a:solidFill>
              <a:srgbClr val="C4D600">
                <a:alpha val="9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5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20" name="Imagem 19" descr="Ícone&#10;&#10;Descrição gerada automaticamente">
              <a:extLst>
                <a:ext uri="{FF2B5EF4-FFF2-40B4-BE49-F238E27FC236}">
                  <a16:creationId xmlns:a16="http://schemas.microsoft.com/office/drawing/2014/main" id="{47656A07-DF8C-1EB1-3F28-3A8BFA62D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4700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0900" y="-2701105"/>
              <a:ext cx="697295" cy="697295"/>
            </a:xfrm>
            <a:prstGeom prst="rect">
              <a:avLst/>
            </a:prstGeom>
          </p:spPr>
        </p:pic>
      </p:grpSp>
      <p:sp>
        <p:nvSpPr>
          <p:cNvPr id="14" name="Espaço Reservado para Número de Slide 6">
            <a:extLst>
              <a:ext uri="{FF2B5EF4-FFF2-40B4-BE49-F238E27FC236}">
                <a16:creationId xmlns:a16="http://schemas.microsoft.com/office/drawing/2014/main" id="{6AA98B00-152B-80E2-CAC7-740ECA78A18F}"/>
              </a:ext>
            </a:extLst>
          </p:cNvPr>
          <p:cNvSpPr txBox="1">
            <a:spLocks/>
          </p:cNvSpPr>
          <p:nvPr/>
        </p:nvSpPr>
        <p:spPr>
          <a:xfrm>
            <a:off x="17017109" y="9364172"/>
            <a:ext cx="625521" cy="536682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303EE4B-B762-AE42-5920-8EAA62C2E649}"/>
              </a:ext>
            </a:extLst>
          </p:cNvPr>
          <p:cNvSpPr txBox="1"/>
          <p:nvPr/>
        </p:nvSpPr>
        <p:spPr>
          <a:xfrm>
            <a:off x="586978" y="523387"/>
            <a:ext cx="17337066" cy="582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185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 panose="020B0606020204030204"/>
                <a:ea typeface="+mn-ea"/>
                <a:cs typeface="+mn-cs"/>
              </a:rPr>
              <a:t>PLANO DE AUDITORIA DIGITAL E INOVAÇÃO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6B5AA6E-B1D5-EBCA-C941-CA6D8B09A937}"/>
              </a:ext>
            </a:extLst>
          </p:cNvPr>
          <p:cNvSpPr txBox="1">
            <a:spLocks/>
          </p:cNvSpPr>
          <p:nvPr/>
        </p:nvSpPr>
        <p:spPr>
          <a:xfrm>
            <a:off x="1490609" y="2979963"/>
            <a:ext cx="4306345" cy="138499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 panose="020B0806020204030204" pitchFamily="34" charset="0"/>
                <a:ea typeface="+mn-ea"/>
                <a:cs typeface="+mn-cs"/>
              </a:rPr>
              <a:t>Analytics 2.0  &amp; Ampliação da  Auditoria Contínua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8116E102-D08F-F695-75E9-CD909FDDCE78}"/>
              </a:ext>
            </a:extLst>
          </p:cNvPr>
          <p:cNvSpPr txBox="1"/>
          <p:nvPr/>
        </p:nvSpPr>
        <p:spPr>
          <a:xfrm>
            <a:off x="703999" y="2808073"/>
            <a:ext cx="838222" cy="1402372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113" b="1" i="0" u="none" strike="noStrike" kern="120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Petrobras Sans XBold"/>
                <a:ea typeface="+mn-ea"/>
                <a:cs typeface="+mn-cs"/>
              </a:rPr>
              <a:t>1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6B9EA5EE-46A4-7295-D021-789A632CB77A}"/>
              </a:ext>
            </a:extLst>
          </p:cNvPr>
          <p:cNvSpPr txBox="1"/>
          <p:nvPr/>
        </p:nvSpPr>
        <p:spPr>
          <a:xfrm>
            <a:off x="1407070" y="4842778"/>
            <a:ext cx="46800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nálises transversais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envolvendo diversos processos e possibilitando diagnósticos mais abrangentes e assertivo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primorar os testes automatizados com IA para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dentificar </a:t>
            </a:r>
            <a:r>
              <a:rPr kumimoji="0" lang="pt-BR" sz="28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outliers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 implementar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monitoramento contínuo dos indicadores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.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D9B9C877-C799-B6F7-53CC-02C974E293B2}"/>
              </a:ext>
            </a:extLst>
          </p:cNvPr>
          <p:cNvSpPr txBox="1">
            <a:spLocks/>
          </p:cNvSpPr>
          <p:nvPr/>
        </p:nvSpPr>
        <p:spPr>
          <a:xfrm>
            <a:off x="7280408" y="2980800"/>
            <a:ext cx="4072319" cy="92333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 panose="020B0806020204030204" pitchFamily="34" charset="0"/>
                <a:ea typeface="+mn-ea"/>
                <a:cs typeface="+mn-cs"/>
              </a:rPr>
              <a:t>Inovação &amp; Tecnologias Emergentes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EF4E41BE-046E-2A9C-80AA-DC054C87D2D6}"/>
              </a:ext>
            </a:extLst>
          </p:cNvPr>
          <p:cNvSpPr txBox="1"/>
          <p:nvPr/>
        </p:nvSpPr>
        <p:spPr>
          <a:xfrm>
            <a:off x="6421500" y="2807830"/>
            <a:ext cx="838222" cy="1402372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113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Petrobras Sans XBold"/>
                <a:ea typeface="+mn-ea"/>
                <a:cs typeface="+mn-cs"/>
              </a:rPr>
              <a:t>2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1E52E867-0283-597A-ECAF-82C4B2F89500}"/>
              </a:ext>
            </a:extLst>
          </p:cNvPr>
          <p:cNvSpPr txBox="1"/>
          <p:nvPr/>
        </p:nvSpPr>
        <p:spPr>
          <a:xfrm>
            <a:off x="7082349" y="4842778"/>
            <a:ext cx="4680000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Fomentar a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novação estratégica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m sessões colaborativas entre Auditoria e áreas de negócio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xpandir o uso de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A generativa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ara monitoramento de imagens e fortalecer a gestão da Auditoria no RAÍ (Robô da Auditoria) 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222C31A0-4B11-F91D-D18D-2AB41362E561}"/>
              </a:ext>
            </a:extLst>
          </p:cNvPr>
          <p:cNvSpPr txBox="1">
            <a:spLocks/>
          </p:cNvSpPr>
          <p:nvPr/>
        </p:nvSpPr>
        <p:spPr>
          <a:xfrm>
            <a:off x="12489607" y="2980800"/>
            <a:ext cx="3629798" cy="92333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 panose="020B0806020204030204" pitchFamily="34" charset="0"/>
                <a:ea typeface="+mn-ea"/>
                <a:cs typeface="+mn-cs"/>
              </a:rPr>
              <a:t>Cultura &amp; Capacitaçã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3FD63A69-E6AA-B8C9-AAF6-3FAFBCC9A03F}"/>
              </a:ext>
            </a:extLst>
          </p:cNvPr>
          <p:cNvSpPr txBox="1"/>
          <p:nvPr/>
        </p:nvSpPr>
        <p:spPr>
          <a:xfrm>
            <a:off x="11792374" y="2808000"/>
            <a:ext cx="838222" cy="1402372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113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Petrobras Sans XBold"/>
                <a:ea typeface="+mn-ea"/>
                <a:cs typeface="+mn-cs"/>
              </a:rPr>
              <a:t>3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57BC1C3-EF4B-EA1C-D300-FD8A9AF54D98}"/>
              </a:ext>
            </a:extLst>
          </p:cNvPr>
          <p:cNvSpPr txBox="1"/>
          <p:nvPr/>
        </p:nvSpPr>
        <p:spPr>
          <a:xfrm>
            <a:off x="12431373" y="4841830"/>
            <a:ext cx="4680000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Fortalecer a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ultura de dados e inovação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omovendo a mentalidade analítica e o uso de IA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omover capacitação em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métodos estatísticos </a:t>
            </a: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m eventos no AUDLABS e trilhas no CT (Centro de Treinamento) da Auditoria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604DA254-5402-9A1C-E529-2190B89CBE65}"/>
              </a:ext>
            </a:extLst>
          </p:cNvPr>
          <p:cNvSpPr txBox="1"/>
          <p:nvPr/>
        </p:nvSpPr>
        <p:spPr>
          <a:xfrm>
            <a:off x="551278" y="1282810"/>
            <a:ext cx="16710311" cy="10606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517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7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Os temas abaixo compõem o Plano de Auditoria Digital e Inovação. O PADI foi elaborado em alinhamento com os objetivos </a:t>
            </a:r>
            <a:r>
              <a:rPr kumimoji="0" lang="pt-BR" sz="199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organizacionais e a cultura data-</a:t>
            </a:r>
            <a:r>
              <a:rPr kumimoji="0" lang="pt-BR" sz="199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driven</a:t>
            </a:r>
            <a:r>
              <a:rPr kumimoji="0" lang="pt-BR" sz="1992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 e visa promover eficiência, ganho de escala e maior abrangência dos testes de auditoria, integrando ferramentas de análise de dados e automação nos trabalhos de avaliação. </a:t>
            </a:r>
            <a:endParaRPr kumimoji="0" lang="pt-BR" sz="179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Imagem 4" descr="Texto&#10;&#10;Descrição gerada automaticamente">
            <a:extLst>
              <a:ext uri="{FF2B5EF4-FFF2-40B4-BE49-F238E27FC236}">
                <a16:creationId xmlns:a16="http://schemas.microsoft.com/office/drawing/2014/main" id="{B4282EF7-38CE-43C6-8428-ACBDE821FE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202" y="14123"/>
            <a:ext cx="3115110" cy="92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296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740DC290-AA89-2B7F-8D73-15D45CE8AA0A}"/>
              </a:ext>
            </a:extLst>
          </p:cNvPr>
          <p:cNvSpPr/>
          <p:nvPr/>
        </p:nvSpPr>
        <p:spPr>
          <a:xfrm>
            <a:off x="7557250" y="2090831"/>
            <a:ext cx="9298760" cy="6084617"/>
          </a:xfrm>
          <a:prstGeom prst="rect">
            <a:avLst/>
          </a:prstGeom>
          <a:solidFill>
            <a:schemeClr val="bg2">
              <a:lumMod val="8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aphicFrame>
        <p:nvGraphicFramePr>
          <p:cNvPr id="90" name="think-cell data - do not delete" hidden="1">
            <a:extLst>
              <a:ext uri="{FF2B5EF4-FFF2-40B4-BE49-F238E27FC236}">
                <a16:creationId xmlns:a16="http://schemas.microsoft.com/office/drawing/2014/main" id="{DADAB786-36A3-A779-8CD0-35A208DC9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2110" y="2334"/>
          <a:ext cx="2334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1" progId="TCLayout.ActiveDocument.1">
                  <p:embed/>
                </p:oleObj>
              </mc:Choice>
              <mc:Fallback>
                <p:oleObj name="Slide do think-cell" r:id="rId4" imgW="592" imgH="591" progId="TCLayout.ActiveDocument.1">
                  <p:embed/>
                  <p:pic>
                    <p:nvPicPr>
                      <p:cNvPr id="9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DAB786-36A3-A779-8CD0-35A208DC9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110" y="2334"/>
                        <a:ext cx="2334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5" name="Gráfico 22">
            <a:extLst>
              <a:ext uri="{FF2B5EF4-FFF2-40B4-BE49-F238E27FC236}">
                <a16:creationId xmlns:a16="http://schemas.microsoft.com/office/drawing/2014/main" id="{84A2FD68-0F34-F8BF-242C-30469F6F4B21}"/>
              </a:ext>
            </a:extLst>
          </p:cNvPr>
          <p:cNvSpPr/>
          <p:nvPr/>
        </p:nvSpPr>
        <p:spPr>
          <a:xfrm>
            <a:off x="-3381191" y="-659523"/>
            <a:ext cx="23545342" cy="10940206"/>
          </a:xfrm>
          <a:custGeom>
            <a:avLst/>
            <a:gdLst>
              <a:gd name="connsiteX0" fmla="*/ 15928746 w 15943379"/>
              <a:gd name="connsiteY0" fmla="*/ 101423 h 7442786"/>
              <a:gd name="connsiteX1" fmla="*/ 15896265 w 15943379"/>
              <a:gd name="connsiteY1" fmla="*/ 91955 h 7442786"/>
              <a:gd name="connsiteX2" fmla="*/ 13607349 w 15943379"/>
              <a:gd name="connsiteY2" fmla="*/ 6304818 h 7442786"/>
              <a:gd name="connsiteX3" fmla="*/ 13278399 w 15943379"/>
              <a:gd name="connsiteY3" fmla="*/ 6543285 h 7442786"/>
              <a:gd name="connsiteX4" fmla="*/ 3007024 w 15943379"/>
              <a:gd name="connsiteY4" fmla="*/ 6920392 h 7442786"/>
              <a:gd name="connsiteX5" fmla="*/ 2671867 w 15943379"/>
              <a:gd name="connsiteY5" fmla="*/ 6702304 h 7442786"/>
              <a:gd name="connsiteX6" fmla="*/ 44156 w 15943379"/>
              <a:gd name="connsiteY6" fmla="*/ 127195 h 7442786"/>
              <a:gd name="connsiteX7" fmla="*/ 24278 w 15943379"/>
              <a:gd name="connsiteY7" fmla="*/ 134218 h 7442786"/>
              <a:gd name="connsiteX8" fmla="*/ 2165086 w 15943379"/>
              <a:gd name="connsiteY8" fmla="*/ 7209461 h 7442786"/>
              <a:gd name="connsiteX9" fmla="*/ 2480429 w 15943379"/>
              <a:gd name="connsiteY9" fmla="*/ 7442786 h 7442786"/>
              <a:gd name="connsiteX10" fmla="*/ 14093374 w 15943379"/>
              <a:gd name="connsiteY10" fmla="*/ 7406668 h 7442786"/>
              <a:gd name="connsiteX11" fmla="*/ 14389969 w 15943379"/>
              <a:gd name="connsiteY11" fmla="*/ 7166947 h 7442786"/>
              <a:gd name="connsiteX12" fmla="*/ 15928746 w 15943379"/>
              <a:gd name="connsiteY12" fmla="*/ 101423 h 7442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943379" h="7442786">
                <a:moveTo>
                  <a:pt x="15928746" y="101423"/>
                </a:moveTo>
                <a:cubicBezTo>
                  <a:pt x="15957340" y="-30006"/>
                  <a:pt x="15942729" y="-34270"/>
                  <a:pt x="15896265" y="91955"/>
                </a:cubicBezTo>
                <a:lnTo>
                  <a:pt x="13607349" y="6304818"/>
                </a:lnTo>
                <a:cubicBezTo>
                  <a:pt x="13560821" y="6431043"/>
                  <a:pt x="13412838" y="6538331"/>
                  <a:pt x="13278399" y="6543285"/>
                </a:cubicBezTo>
                <a:lnTo>
                  <a:pt x="3007024" y="6920392"/>
                </a:lnTo>
                <a:cubicBezTo>
                  <a:pt x="2872585" y="6925346"/>
                  <a:pt x="2721780" y="6827150"/>
                  <a:pt x="2671867" y="6702304"/>
                </a:cubicBezTo>
                <a:lnTo>
                  <a:pt x="44156" y="127195"/>
                </a:lnTo>
                <a:cubicBezTo>
                  <a:pt x="-5758" y="2287"/>
                  <a:pt x="-14724" y="5485"/>
                  <a:pt x="24278" y="134218"/>
                </a:cubicBezTo>
                <a:lnTo>
                  <a:pt x="2165086" y="7209461"/>
                </a:lnTo>
                <a:cubicBezTo>
                  <a:pt x="2204025" y="7338195"/>
                  <a:pt x="2345927" y="7443162"/>
                  <a:pt x="2480429" y="7442786"/>
                </a:cubicBezTo>
                <a:lnTo>
                  <a:pt x="14093374" y="7406668"/>
                </a:lnTo>
                <a:cubicBezTo>
                  <a:pt x="14227876" y="7406229"/>
                  <a:pt x="14361312" y="7298377"/>
                  <a:pt x="14389969" y="7166947"/>
                </a:cubicBezTo>
                <a:lnTo>
                  <a:pt x="15928746" y="101423"/>
                </a:lnTo>
                <a:close/>
              </a:path>
            </a:pathLst>
          </a:custGeom>
          <a:gradFill>
            <a:gsLst>
              <a:gs pos="36000">
                <a:schemeClr val="accent1">
                  <a:alpha val="90000"/>
                </a:schemeClr>
              </a:gs>
              <a:gs pos="0">
                <a:schemeClr val="tx2">
                  <a:alpha val="90000"/>
                </a:schemeClr>
              </a:gs>
            </a:gsLst>
            <a:lin ang="0" scaled="1"/>
          </a:gradFill>
          <a:ln w="62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58" name="Gráfico 57">
            <a:extLst>
              <a:ext uri="{FF2B5EF4-FFF2-40B4-BE49-F238E27FC236}">
                <a16:creationId xmlns:a16="http://schemas.microsoft.com/office/drawing/2014/main" id="{09584965-8CBE-596F-D0C9-A32558988F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704">
            <a:off x="-3124583" y="-1006116"/>
            <a:ext cx="23761984" cy="10514399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63C2C745-36BB-4A79-DFAB-13F85ECBFA1F}"/>
              </a:ext>
            </a:extLst>
          </p:cNvPr>
          <p:cNvSpPr txBox="1"/>
          <p:nvPr/>
        </p:nvSpPr>
        <p:spPr>
          <a:xfrm>
            <a:off x="766415" y="120148"/>
            <a:ext cx="13230212" cy="1828492"/>
          </a:xfrm>
          <a:prstGeom prst="rect">
            <a:avLst/>
          </a:prstGeom>
          <a:noFill/>
        </p:spPr>
        <p:txBody>
          <a:bodyPr wrap="square" lIns="134408" tIns="67204" rIns="134408" bIns="67204" rtlCol="0" anchor="t">
            <a:spAutoFit/>
          </a:bodyPr>
          <a:lstStyle/>
          <a:p>
            <a:pPr marL="0" marR="0" lvl="0" indent="0" algn="just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1" u="none" strike="noStrike" kern="1200" cap="none" spc="-2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XBold"/>
                <a:ea typeface="+mn-lt"/>
                <a:cs typeface="+mn-lt"/>
              </a:rPr>
              <a:t>Projetos de Gestão</a:t>
            </a:r>
          </a:p>
          <a:p>
            <a:pPr marL="0" marR="0" lvl="0" indent="0" algn="just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t-BR" sz="2000" b="0" i="1" u="none" strike="noStrike" kern="1200" cap="none" spc="-2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2000" b="0" i="1" u="none" strike="noStrike" kern="1200" cap="none" spc="-2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m complemento às iniciativas digitais, destacamos a seguir os principais Projetos de Gestão a serem desenvolvidos na Auditoria Interna ao longo de 2026, bem como os principais objetivos que esperamos alcançar</a:t>
            </a:r>
          </a:p>
        </p:txBody>
      </p:sp>
      <p:sp>
        <p:nvSpPr>
          <p:cNvPr id="76" name="Espaço Reservado para Número de Slide 6">
            <a:extLst>
              <a:ext uri="{FF2B5EF4-FFF2-40B4-BE49-F238E27FC236}">
                <a16:creationId xmlns:a16="http://schemas.microsoft.com/office/drawing/2014/main" id="{EAA2D8CC-523F-BE01-2603-DA4D6B95A443}"/>
              </a:ext>
            </a:extLst>
          </p:cNvPr>
          <p:cNvSpPr txBox="1">
            <a:spLocks/>
          </p:cNvSpPr>
          <p:nvPr/>
        </p:nvSpPr>
        <p:spPr>
          <a:xfrm>
            <a:off x="13573347" y="9513666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2082" name="CaixaDeTexto 2081">
            <a:extLst>
              <a:ext uri="{FF2B5EF4-FFF2-40B4-BE49-F238E27FC236}">
                <a16:creationId xmlns:a16="http://schemas.microsoft.com/office/drawing/2014/main" id="{F56EFFA1-E466-E2DC-08A4-3DAEAA310989}"/>
              </a:ext>
            </a:extLst>
          </p:cNvPr>
          <p:cNvSpPr txBox="1"/>
          <p:nvPr/>
        </p:nvSpPr>
        <p:spPr>
          <a:xfrm>
            <a:off x="1584612" y="3258519"/>
            <a:ext cx="5749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ntegrar o RAÍ (Robô da Auditoria Interna) à base de conhecimento do sistema de gestão</a:t>
            </a:r>
          </a:p>
        </p:txBody>
      </p:sp>
      <p:cxnSp>
        <p:nvCxnSpPr>
          <p:cNvPr id="2083" name="Conector reto 2082">
            <a:extLst>
              <a:ext uri="{FF2B5EF4-FFF2-40B4-BE49-F238E27FC236}">
                <a16:creationId xmlns:a16="http://schemas.microsoft.com/office/drawing/2014/main" id="{EBA7E495-25C9-330B-0488-64DFF11845BE}"/>
              </a:ext>
            </a:extLst>
          </p:cNvPr>
          <p:cNvCxnSpPr>
            <a:cxnSpLocks/>
          </p:cNvCxnSpPr>
          <p:nvPr/>
        </p:nvCxnSpPr>
        <p:spPr>
          <a:xfrm>
            <a:off x="1507724" y="4322843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2" name="CaixaDeTexto 2091">
            <a:extLst>
              <a:ext uri="{FF2B5EF4-FFF2-40B4-BE49-F238E27FC236}">
                <a16:creationId xmlns:a16="http://schemas.microsoft.com/office/drawing/2014/main" id="{6E30F5A0-491C-B0FE-5F4A-320BE5C0D17D}"/>
              </a:ext>
            </a:extLst>
          </p:cNvPr>
          <p:cNvSpPr txBox="1"/>
          <p:nvPr/>
        </p:nvSpPr>
        <p:spPr>
          <a:xfrm>
            <a:off x="1584612" y="2288017"/>
            <a:ext cx="5749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otencializar a aplicação de Modelos de Linguagem de Grande Escala (LLM) no planejamento das auditorias</a:t>
            </a: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75787B">
                  <a:lumMod val="75000"/>
                </a:srgbClr>
              </a:solidFill>
              <a:effectLst/>
              <a:highlight>
                <a:srgbClr val="FFFF00"/>
              </a:highlight>
              <a:uLnTx/>
              <a:uFillTx/>
              <a:latin typeface="Petrobras Sans"/>
              <a:ea typeface="+mn-ea"/>
              <a:cs typeface="+mn-cs"/>
            </a:endParaRPr>
          </a:p>
        </p:txBody>
      </p:sp>
      <p:cxnSp>
        <p:nvCxnSpPr>
          <p:cNvPr id="2093" name="Conector reto 2092">
            <a:extLst>
              <a:ext uri="{FF2B5EF4-FFF2-40B4-BE49-F238E27FC236}">
                <a16:creationId xmlns:a16="http://schemas.microsoft.com/office/drawing/2014/main" id="{EE2096F5-6C3D-E3F8-B8A2-277CE694DB0B}"/>
              </a:ext>
            </a:extLst>
          </p:cNvPr>
          <p:cNvCxnSpPr>
            <a:cxnSpLocks/>
          </p:cNvCxnSpPr>
          <p:nvPr/>
        </p:nvCxnSpPr>
        <p:spPr>
          <a:xfrm>
            <a:off x="1554773" y="2175655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95" name="Group 4">
            <a:extLst>
              <a:ext uri="{FF2B5EF4-FFF2-40B4-BE49-F238E27FC236}">
                <a16:creationId xmlns:a16="http://schemas.microsoft.com/office/drawing/2014/main" id="{690CBD1B-EFF2-668F-9B34-D7188C8AF9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67683" y="2546036"/>
            <a:ext cx="624621" cy="614797"/>
            <a:chOff x="4660" y="1826"/>
            <a:chExt cx="254" cy="250"/>
          </a:xfrm>
          <a:solidFill>
            <a:srgbClr val="008542"/>
          </a:solidFill>
        </p:grpSpPr>
        <p:sp>
          <p:nvSpPr>
            <p:cNvPr id="2096" name="Freeform 5">
              <a:extLst>
                <a:ext uri="{FF2B5EF4-FFF2-40B4-BE49-F238E27FC236}">
                  <a16:creationId xmlns:a16="http://schemas.microsoft.com/office/drawing/2014/main" id="{F9EA55C5-E136-6EBF-9EC1-42F77237E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" y="1865"/>
              <a:ext cx="92" cy="62"/>
            </a:xfrm>
            <a:custGeom>
              <a:avLst/>
              <a:gdLst>
                <a:gd name="T0" fmla="*/ 331 w 404"/>
                <a:gd name="T1" fmla="*/ 57 h 273"/>
                <a:gd name="T2" fmla="*/ 300 w 404"/>
                <a:gd name="T3" fmla="*/ 35 h 273"/>
                <a:gd name="T4" fmla="*/ 306 w 404"/>
                <a:gd name="T5" fmla="*/ 9 h 273"/>
                <a:gd name="T6" fmla="*/ 329 w 404"/>
                <a:gd name="T7" fmla="*/ 9 h 273"/>
                <a:gd name="T8" fmla="*/ 390 w 404"/>
                <a:gd name="T9" fmla="*/ 70 h 273"/>
                <a:gd name="T10" fmla="*/ 388 w 404"/>
                <a:gd name="T11" fmla="*/ 104 h 273"/>
                <a:gd name="T12" fmla="*/ 338 w 404"/>
                <a:gd name="T13" fmla="*/ 154 h 273"/>
                <a:gd name="T14" fmla="*/ 304 w 404"/>
                <a:gd name="T15" fmla="*/ 160 h 273"/>
                <a:gd name="T16" fmla="*/ 311 w 404"/>
                <a:gd name="T17" fmla="*/ 129 h 273"/>
                <a:gd name="T18" fmla="*/ 330 w 404"/>
                <a:gd name="T19" fmla="*/ 117 h 273"/>
                <a:gd name="T20" fmla="*/ 324 w 404"/>
                <a:gd name="T21" fmla="*/ 107 h 273"/>
                <a:gd name="T22" fmla="*/ 94 w 404"/>
                <a:gd name="T23" fmla="*/ 108 h 273"/>
                <a:gd name="T24" fmla="*/ 50 w 404"/>
                <a:gd name="T25" fmla="*/ 153 h 273"/>
                <a:gd name="T26" fmla="*/ 50 w 404"/>
                <a:gd name="T27" fmla="*/ 240 h 273"/>
                <a:gd name="T28" fmla="*/ 29 w 404"/>
                <a:gd name="T29" fmla="*/ 273 h 273"/>
                <a:gd name="T30" fmla="*/ 12 w 404"/>
                <a:gd name="T31" fmla="*/ 239 h 273"/>
                <a:gd name="T32" fmla="*/ 11 w 404"/>
                <a:gd name="T33" fmla="*/ 164 h 273"/>
                <a:gd name="T34" fmla="*/ 106 w 404"/>
                <a:gd name="T35" fmla="*/ 68 h 273"/>
                <a:gd name="T36" fmla="*/ 323 w 404"/>
                <a:gd name="T37" fmla="*/ 68 h 273"/>
                <a:gd name="T38" fmla="*/ 331 w 404"/>
                <a:gd name="T39" fmla="*/ 5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4" h="273">
                  <a:moveTo>
                    <a:pt x="331" y="57"/>
                  </a:moveTo>
                  <a:cubicBezTo>
                    <a:pt x="321" y="50"/>
                    <a:pt x="310" y="43"/>
                    <a:pt x="300" y="35"/>
                  </a:cubicBezTo>
                  <a:cubicBezTo>
                    <a:pt x="288" y="24"/>
                    <a:pt x="300" y="17"/>
                    <a:pt x="306" y="9"/>
                  </a:cubicBezTo>
                  <a:cubicBezTo>
                    <a:pt x="314" y="0"/>
                    <a:pt x="320" y="1"/>
                    <a:pt x="329" y="9"/>
                  </a:cubicBezTo>
                  <a:cubicBezTo>
                    <a:pt x="349" y="30"/>
                    <a:pt x="369" y="51"/>
                    <a:pt x="390" y="70"/>
                  </a:cubicBezTo>
                  <a:cubicBezTo>
                    <a:pt x="404" y="83"/>
                    <a:pt x="398" y="94"/>
                    <a:pt x="388" y="104"/>
                  </a:cubicBezTo>
                  <a:cubicBezTo>
                    <a:pt x="372" y="121"/>
                    <a:pt x="355" y="137"/>
                    <a:pt x="338" y="154"/>
                  </a:cubicBezTo>
                  <a:cubicBezTo>
                    <a:pt x="328" y="164"/>
                    <a:pt x="321" y="178"/>
                    <a:pt x="304" y="160"/>
                  </a:cubicBezTo>
                  <a:cubicBezTo>
                    <a:pt x="289" y="144"/>
                    <a:pt x="302" y="137"/>
                    <a:pt x="311" y="129"/>
                  </a:cubicBezTo>
                  <a:cubicBezTo>
                    <a:pt x="316" y="124"/>
                    <a:pt x="324" y="121"/>
                    <a:pt x="330" y="117"/>
                  </a:cubicBezTo>
                  <a:cubicBezTo>
                    <a:pt x="328" y="114"/>
                    <a:pt x="326" y="110"/>
                    <a:pt x="324" y="107"/>
                  </a:cubicBezTo>
                  <a:cubicBezTo>
                    <a:pt x="248" y="107"/>
                    <a:pt x="171" y="106"/>
                    <a:pt x="94" y="108"/>
                  </a:cubicBezTo>
                  <a:cubicBezTo>
                    <a:pt x="67" y="108"/>
                    <a:pt x="51" y="125"/>
                    <a:pt x="50" y="153"/>
                  </a:cubicBezTo>
                  <a:cubicBezTo>
                    <a:pt x="50" y="182"/>
                    <a:pt x="50" y="211"/>
                    <a:pt x="50" y="240"/>
                  </a:cubicBezTo>
                  <a:cubicBezTo>
                    <a:pt x="50" y="255"/>
                    <a:pt x="56" y="273"/>
                    <a:pt x="29" y="273"/>
                  </a:cubicBezTo>
                  <a:cubicBezTo>
                    <a:pt x="0" y="272"/>
                    <a:pt x="13" y="251"/>
                    <a:pt x="12" y="239"/>
                  </a:cubicBezTo>
                  <a:cubicBezTo>
                    <a:pt x="10" y="214"/>
                    <a:pt x="11" y="189"/>
                    <a:pt x="11" y="164"/>
                  </a:cubicBezTo>
                  <a:cubicBezTo>
                    <a:pt x="12" y="104"/>
                    <a:pt x="47" y="68"/>
                    <a:pt x="106" y="68"/>
                  </a:cubicBezTo>
                  <a:cubicBezTo>
                    <a:pt x="178" y="67"/>
                    <a:pt x="251" y="68"/>
                    <a:pt x="323" y="68"/>
                  </a:cubicBezTo>
                  <a:cubicBezTo>
                    <a:pt x="326" y="64"/>
                    <a:pt x="329" y="61"/>
                    <a:pt x="33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7" name="Freeform 6">
              <a:extLst>
                <a:ext uri="{FF2B5EF4-FFF2-40B4-BE49-F238E27FC236}">
                  <a16:creationId xmlns:a16="http://schemas.microsoft.com/office/drawing/2014/main" id="{82BFF008-BF22-6632-F91A-CF6EC21C4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2" y="1858"/>
              <a:ext cx="10" cy="10"/>
            </a:xfrm>
            <a:custGeom>
              <a:avLst/>
              <a:gdLst>
                <a:gd name="T0" fmla="*/ 40 w 45"/>
                <a:gd name="T1" fmla="*/ 20 h 42"/>
                <a:gd name="T2" fmla="*/ 21 w 45"/>
                <a:gd name="T3" fmla="*/ 42 h 42"/>
                <a:gd name="T4" fmla="*/ 0 w 45"/>
                <a:gd name="T5" fmla="*/ 22 h 42"/>
                <a:gd name="T6" fmla="*/ 20 w 45"/>
                <a:gd name="T7" fmla="*/ 1 h 42"/>
                <a:gd name="T8" fmla="*/ 40 w 45"/>
                <a:gd name="T9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2">
                  <a:moveTo>
                    <a:pt x="40" y="20"/>
                  </a:moveTo>
                  <a:cubicBezTo>
                    <a:pt x="43" y="36"/>
                    <a:pt x="38" y="42"/>
                    <a:pt x="21" y="42"/>
                  </a:cubicBezTo>
                  <a:cubicBezTo>
                    <a:pt x="7" y="42"/>
                    <a:pt x="0" y="39"/>
                    <a:pt x="0" y="22"/>
                  </a:cubicBezTo>
                  <a:cubicBezTo>
                    <a:pt x="1" y="8"/>
                    <a:pt x="3" y="0"/>
                    <a:pt x="20" y="1"/>
                  </a:cubicBezTo>
                  <a:cubicBezTo>
                    <a:pt x="33" y="2"/>
                    <a:pt x="45" y="2"/>
                    <a:pt x="4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8" name="Freeform 7">
              <a:extLst>
                <a:ext uri="{FF2B5EF4-FFF2-40B4-BE49-F238E27FC236}">
                  <a16:creationId xmlns:a16="http://schemas.microsoft.com/office/drawing/2014/main" id="{70D8FADB-5802-F6AC-D6DA-1A5A026F4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8" y="1858"/>
              <a:ext cx="10" cy="10"/>
            </a:xfrm>
            <a:custGeom>
              <a:avLst/>
              <a:gdLst>
                <a:gd name="T0" fmla="*/ 41 w 44"/>
                <a:gd name="T1" fmla="*/ 24 h 44"/>
                <a:gd name="T2" fmla="*/ 20 w 44"/>
                <a:gd name="T3" fmla="*/ 43 h 44"/>
                <a:gd name="T4" fmla="*/ 1 w 44"/>
                <a:gd name="T5" fmla="*/ 19 h 44"/>
                <a:gd name="T6" fmla="*/ 24 w 44"/>
                <a:gd name="T7" fmla="*/ 2 h 44"/>
                <a:gd name="T8" fmla="*/ 41 w 44"/>
                <a:gd name="T9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4">
                  <a:moveTo>
                    <a:pt x="41" y="24"/>
                  </a:moveTo>
                  <a:cubicBezTo>
                    <a:pt x="44" y="41"/>
                    <a:pt x="34" y="42"/>
                    <a:pt x="20" y="43"/>
                  </a:cubicBezTo>
                  <a:cubicBezTo>
                    <a:pt x="0" y="44"/>
                    <a:pt x="2" y="33"/>
                    <a:pt x="1" y="19"/>
                  </a:cubicBezTo>
                  <a:cubicBezTo>
                    <a:pt x="0" y="0"/>
                    <a:pt x="12" y="4"/>
                    <a:pt x="24" y="2"/>
                  </a:cubicBezTo>
                  <a:cubicBezTo>
                    <a:pt x="42" y="1"/>
                    <a:pt x="42" y="12"/>
                    <a:pt x="4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9" name="Freeform 8">
              <a:extLst>
                <a:ext uri="{FF2B5EF4-FFF2-40B4-BE49-F238E27FC236}">
                  <a16:creationId xmlns:a16="http://schemas.microsoft.com/office/drawing/2014/main" id="{51953C7A-EF6B-BCE9-4D2D-D5A1A0EC5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" y="1858"/>
              <a:ext cx="9" cy="10"/>
            </a:xfrm>
            <a:custGeom>
              <a:avLst/>
              <a:gdLst>
                <a:gd name="T0" fmla="*/ 19 w 40"/>
                <a:gd name="T1" fmla="*/ 3 h 43"/>
                <a:gd name="T2" fmla="*/ 37 w 40"/>
                <a:gd name="T3" fmla="*/ 20 h 43"/>
                <a:gd name="T4" fmla="*/ 21 w 40"/>
                <a:gd name="T5" fmla="*/ 43 h 43"/>
                <a:gd name="T6" fmla="*/ 2 w 40"/>
                <a:gd name="T7" fmla="*/ 25 h 43"/>
                <a:gd name="T8" fmla="*/ 19 w 40"/>
                <a:gd name="T9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3">
                  <a:moveTo>
                    <a:pt x="19" y="3"/>
                  </a:moveTo>
                  <a:cubicBezTo>
                    <a:pt x="32" y="1"/>
                    <a:pt x="38" y="6"/>
                    <a:pt x="37" y="20"/>
                  </a:cubicBezTo>
                  <a:cubicBezTo>
                    <a:pt x="36" y="31"/>
                    <a:pt x="40" y="43"/>
                    <a:pt x="21" y="43"/>
                  </a:cubicBezTo>
                  <a:cubicBezTo>
                    <a:pt x="8" y="42"/>
                    <a:pt x="1" y="39"/>
                    <a:pt x="2" y="25"/>
                  </a:cubicBezTo>
                  <a:cubicBezTo>
                    <a:pt x="3" y="13"/>
                    <a:pt x="0" y="0"/>
                    <a:pt x="1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0" name="Freeform 9">
              <a:extLst>
                <a:ext uri="{FF2B5EF4-FFF2-40B4-BE49-F238E27FC236}">
                  <a16:creationId xmlns:a16="http://schemas.microsoft.com/office/drawing/2014/main" id="{68F7ABBF-4835-9B3C-E81B-A0F392C78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8" y="1963"/>
              <a:ext cx="59" cy="59"/>
            </a:xfrm>
            <a:custGeom>
              <a:avLst/>
              <a:gdLst>
                <a:gd name="T0" fmla="*/ 260 w 260"/>
                <a:gd name="T1" fmla="*/ 133 h 261"/>
                <a:gd name="T2" fmla="*/ 133 w 260"/>
                <a:gd name="T3" fmla="*/ 2 h 261"/>
                <a:gd name="T4" fmla="*/ 0 w 260"/>
                <a:gd name="T5" fmla="*/ 133 h 261"/>
                <a:gd name="T6" fmla="*/ 131 w 260"/>
                <a:gd name="T7" fmla="*/ 261 h 261"/>
                <a:gd name="T8" fmla="*/ 260 w 260"/>
                <a:gd name="T9" fmla="*/ 13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61">
                  <a:moveTo>
                    <a:pt x="260" y="133"/>
                  </a:moveTo>
                  <a:cubicBezTo>
                    <a:pt x="260" y="62"/>
                    <a:pt x="203" y="3"/>
                    <a:pt x="133" y="2"/>
                  </a:cubicBezTo>
                  <a:cubicBezTo>
                    <a:pt x="65" y="0"/>
                    <a:pt x="0" y="65"/>
                    <a:pt x="0" y="133"/>
                  </a:cubicBezTo>
                  <a:cubicBezTo>
                    <a:pt x="1" y="203"/>
                    <a:pt x="60" y="261"/>
                    <a:pt x="131" y="261"/>
                  </a:cubicBezTo>
                  <a:cubicBezTo>
                    <a:pt x="204" y="261"/>
                    <a:pt x="260" y="206"/>
                    <a:pt x="260" y="133"/>
                  </a:cubicBezTo>
                  <a:close/>
                </a:path>
              </a:pathLst>
            </a:custGeom>
            <a:noFill/>
            <a:ln w="12700">
              <a:solidFill>
                <a:srgbClr val="008542"/>
              </a:solidFill>
              <a:round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1" name="Freeform 10">
              <a:extLst>
                <a:ext uri="{FF2B5EF4-FFF2-40B4-BE49-F238E27FC236}">
                  <a16:creationId xmlns:a16="http://schemas.microsoft.com/office/drawing/2014/main" id="{E2EDDDD4-96B9-F414-A6A2-BA1604011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" y="1943"/>
              <a:ext cx="10" cy="9"/>
            </a:xfrm>
            <a:custGeom>
              <a:avLst/>
              <a:gdLst>
                <a:gd name="T0" fmla="*/ 21 w 44"/>
                <a:gd name="T1" fmla="*/ 40 h 43"/>
                <a:gd name="T2" fmla="*/ 43 w 44"/>
                <a:gd name="T3" fmla="*/ 22 h 43"/>
                <a:gd name="T4" fmla="*/ 23 w 44"/>
                <a:gd name="T5" fmla="*/ 0 h 43"/>
                <a:gd name="T6" fmla="*/ 3 w 44"/>
                <a:gd name="T7" fmla="*/ 18 h 43"/>
                <a:gd name="T8" fmla="*/ 21 w 44"/>
                <a:gd name="T9" fmla="*/ 4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21" y="40"/>
                  </a:moveTo>
                  <a:cubicBezTo>
                    <a:pt x="34" y="41"/>
                    <a:pt x="44" y="40"/>
                    <a:pt x="43" y="22"/>
                  </a:cubicBezTo>
                  <a:cubicBezTo>
                    <a:pt x="42" y="8"/>
                    <a:pt x="40" y="0"/>
                    <a:pt x="23" y="0"/>
                  </a:cubicBezTo>
                  <a:cubicBezTo>
                    <a:pt x="11" y="1"/>
                    <a:pt x="0" y="0"/>
                    <a:pt x="3" y="18"/>
                  </a:cubicBezTo>
                  <a:cubicBezTo>
                    <a:pt x="5" y="30"/>
                    <a:pt x="3" y="43"/>
                    <a:pt x="21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2" name="Freeform 11">
              <a:extLst>
                <a:ext uri="{FF2B5EF4-FFF2-40B4-BE49-F238E27FC236}">
                  <a16:creationId xmlns:a16="http://schemas.microsoft.com/office/drawing/2014/main" id="{143A495B-301F-5FBC-FB4D-2B3F218E7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" y="1984"/>
              <a:ext cx="10" cy="9"/>
            </a:xfrm>
            <a:custGeom>
              <a:avLst/>
              <a:gdLst>
                <a:gd name="T0" fmla="*/ 20 w 44"/>
                <a:gd name="T1" fmla="*/ 41 h 42"/>
                <a:gd name="T2" fmla="*/ 42 w 44"/>
                <a:gd name="T3" fmla="*/ 23 h 42"/>
                <a:gd name="T4" fmla="*/ 22 w 44"/>
                <a:gd name="T5" fmla="*/ 1 h 42"/>
                <a:gd name="T6" fmla="*/ 3 w 44"/>
                <a:gd name="T7" fmla="*/ 18 h 42"/>
                <a:gd name="T8" fmla="*/ 20 w 44"/>
                <a:gd name="T9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20" y="41"/>
                  </a:moveTo>
                  <a:cubicBezTo>
                    <a:pt x="33" y="40"/>
                    <a:pt x="44" y="40"/>
                    <a:pt x="42" y="23"/>
                  </a:cubicBezTo>
                  <a:cubicBezTo>
                    <a:pt x="44" y="6"/>
                    <a:pt x="36" y="2"/>
                    <a:pt x="22" y="1"/>
                  </a:cubicBezTo>
                  <a:cubicBezTo>
                    <a:pt x="9" y="0"/>
                    <a:pt x="2" y="3"/>
                    <a:pt x="3" y="18"/>
                  </a:cubicBezTo>
                  <a:cubicBezTo>
                    <a:pt x="4" y="29"/>
                    <a:pt x="0" y="42"/>
                    <a:pt x="2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3" name="Freeform 12">
              <a:extLst>
                <a:ext uri="{FF2B5EF4-FFF2-40B4-BE49-F238E27FC236}">
                  <a16:creationId xmlns:a16="http://schemas.microsoft.com/office/drawing/2014/main" id="{AE2D5A63-8CD0-AB73-B05A-E5FECAA54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" y="2003"/>
              <a:ext cx="11" cy="11"/>
            </a:xfrm>
            <a:custGeom>
              <a:avLst/>
              <a:gdLst>
                <a:gd name="T0" fmla="*/ 28 w 47"/>
                <a:gd name="T1" fmla="*/ 5 h 49"/>
                <a:gd name="T2" fmla="*/ 4 w 47"/>
                <a:gd name="T3" fmla="*/ 21 h 49"/>
                <a:gd name="T4" fmla="*/ 19 w 47"/>
                <a:gd name="T5" fmla="*/ 48 h 49"/>
                <a:gd name="T6" fmla="*/ 47 w 47"/>
                <a:gd name="T7" fmla="*/ 28 h 49"/>
                <a:gd name="T8" fmla="*/ 28 w 47"/>
                <a:gd name="T9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9">
                  <a:moveTo>
                    <a:pt x="28" y="5"/>
                  </a:moveTo>
                  <a:cubicBezTo>
                    <a:pt x="20" y="7"/>
                    <a:pt x="0" y="5"/>
                    <a:pt x="4" y="21"/>
                  </a:cubicBezTo>
                  <a:cubicBezTo>
                    <a:pt x="6" y="30"/>
                    <a:pt x="5" y="49"/>
                    <a:pt x="19" y="48"/>
                  </a:cubicBezTo>
                  <a:cubicBezTo>
                    <a:pt x="28" y="47"/>
                    <a:pt x="44" y="44"/>
                    <a:pt x="47" y="28"/>
                  </a:cubicBezTo>
                  <a:cubicBezTo>
                    <a:pt x="39" y="21"/>
                    <a:pt x="46" y="0"/>
                    <a:pt x="2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4" name="Freeform 13">
              <a:extLst>
                <a:ext uri="{FF2B5EF4-FFF2-40B4-BE49-F238E27FC236}">
                  <a16:creationId xmlns:a16="http://schemas.microsoft.com/office/drawing/2014/main" id="{C5D72EE3-43C2-2BCC-65B0-7C7BFB26F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7" y="2029"/>
              <a:ext cx="13" cy="14"/>
            </a:xfrm>
            <a:custGeom>
              <a:avLst/>
              <a:gdLst>
                <a:gd name="T0" fmla="*/ 32 w 58"/>
                <a:gd name="T1" fmla="*/ 12 h 60"/>
                <a:gd name="T2" fmla="*/ 10 w 58"/>
                <a:gd name="T3" fmla="*/ 31 h 60"/>
                <a:gd name="T4" fmla="*/ 30 w 58"/>
                <a:gd name="T5" fmla="*/ 51 h 60"/>
                <a:gd name="T6" fmla="*/ 47 w 58"/>
                <a:gd name="T7" fmla="*/ 32 h 60"/>
                <a:gd name="T8" fmla="*/ 32 w 58"/>
                <a:gd name="T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0">
                  <a:moveTo>
                    <a:pt x="32" y="12"/>
                  </a:moveTo>
                  <a:cubicBezTo>
                    <a:pt x="8" y="0"/>
                    <a:pt x="13" y="24"/>
                    <a:pt x="10" y="31"/>
                  </a:cubicBezTo>
                  <a:cubicBezTo>
                    <a:pt x="0" y="51"/>
                    <a:pt x="22" y="47"/>
                    <a:pt x="30" y="51"/>
                  </a:cubicBezTo>
                  <a:cubicBezTo>
                    <a:pt x="48" y="60"/>
                    <a:pt x="47" y="44"/>
                    <a:pt x="47" y="32"/>
                  </a:cubicBezTo>
                  <a:cubicBezTo>
                    <a:pt x="58" y="14"/>
                    <a:pt x="43" y="16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5" name="Freeform 14">
              <a:extLst>
                <a:ext uri="{FF2B5EF4-FFF2-40B4-BE49-F238E27FC236}">
                  <a16:creationId xmlns:a16="http://schemas.microsoft.com/office/drawing/2014/main" id="{C053E400-8A49-FF5C-32DD-DE686ACD9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" y="1953"/>
              <a:ext cx="17" cy="13"/>
            </a:xfrm>
            <a:custGeom>
              <a:avLst/>
              <a:gdLst>
                <a:gd name="T0" fmla="*/ 37 w 72"/>
                <a:gd name="T1" fmla="*/ 0 h 56"/>
                <a:gd name="T2" fmla="*/ 22 w 72"/>
                <a:gd name="T3" fmla="*/ 39 h 56"/>
                <a:gd name="T4" fmla="*/ 57 w 72"/>
                <a:gd name="T5" fmla="*/ 35 h 56"/>
                <a:gd name="T6" fmla="*/ 37 w 72"/>
                <a:gd name="T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56">
                  <a:moveTo>
                    <a:pt x="37" y="0"/>
                  </a:moveTo>
                  <a:cubicBezTo>
                    <a:pt x="44" y="19"/>
                    <a:pt x="0" y="12"/>
                    <a:pt x="22" y="39"/>
                  </a:cubicBezTo>
                  <a:cubicBezTo>
                    <a:pt x="36" y="56"/>
                    <a:pt x="49" y="47"/>
                    <a:pt x="57" y="35"/>
                  </a:cubicBezTo>
                  <a:cubicBezTo>
                    <a:pt x="72" y="15"/>
                    <a:pt x="43" y="14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6" name="Freeform 15">
              <a:extLst>
                <a:ext uri="{FF2B5EF4-FFF2-40B4-BE49-F238E27FC236}">
                  <a16:creationId xmlns:a16="http://schemas.microsoft.com/office/drawing/2014/main" id="{D025D492-1A16-CA94-D5B0-4E55414F5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2" y="2011"/>
              <a:ext cx="11" cy="11"/>
            </a:xfrm>
            <a:custGeom>
              <a:avLst/>
              <a:gdLst>
                <a:gd name="T0" fmla="*/ 22 w 48"/>
                <a:gd name="T1" fmla="*/ 2 h 48"/>
                <a:gd name="T2" fmla="*/ 3 w 48"/>
                <a:gd name="T3" fmla="*/ 22 h 48"/>
                <a:gd name="T4" fmla="*/ 26 w 48"/>
                <a:gd name="T5" fmla="*/ 47 h 48"/>
                <a:gd name="T6" fmla="*/ 46 w 48"/>
                <a:gd name="T7" fmla="*/ 22 h 48"/>
                <a:gd name="T8" fmla="*/ 22 w 48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22" y="2"/>
                  </a:moveTo>
                  <a:cubicBezTo>
                    <a:pt x="7" y="0"/>
                    <a:pt x="4" y="16"/>
                    <a:pt x="3" y="22"/>
                  </a:cubicBezTo>
                  <a:cubicBezTo>
                    <a:pt x="0" y="37"/>
                    <a:pt x="14" y="46"/>
                    <a:pt x="26" y="47"/>
                  </a:cubicBezTo>
                  <a:cubicBezTo>
                    <a:pt x="40" y="48"/>
                    <a:pt x="44" y="31"/>
                    <a:pt x="46" y="22"/>
                  </a:cubicBezTo>
                  <a:cubicBezTo>
                    <a:pt x="48" y="8"/>
                    <a:pt x="29" y="10"/>
                    <a:pt x="2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7" name="Freeform 16">
              <a:extLst>
                <a:ext uri="{FF2B5EF4-FFF2-40B4-BE49-F238E27FC236}">
                  <a16:creationId xmlns:a16="http://schemas.microsoft.com/office/drawing/2014/main" id="{0EC505C2-69F5-46D7-FF56-D213795E9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8" y="2019"/>
              <a:ext cx="16" cy="13"/>
            </a:xfrm>
            <a:custGeom>
              <a:avLst/>
              <a:gdLst>
                <a:gd name="T0" fmla="*/ 44 w 69"/>
                <a:gd name="T1" fmla="*/ 15 h 59"/>
                <a:gd name="T2" fmla="*/ 15 w 69"/>
                <a:gd name="T3" fmla="*/ 25 h 59"/>
                <a:gd name="T4" fmla="*/ 34 w 69"/>
                <a:gd name="T5" fmla="*/ 59 h 59"/>
                <a:gd name="T6" fmla="*/ 44 w 69"/>
                <a:gd name="T7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59">
                  <a:moveTo>
                    <a:pt x="44" y="15"/>
                  </a:moveTo>
                  <a:cubicBezTo>
                    <a:pt x="27" y="0"/>
                    <a:pt x="19" y="19"/>
                    <a:pt x="15" y="25"/>
                  </a:cubicBezTo>
                  <a:cubicBezTo>
                    <a:pt x="0" y="45"/>
                    <a:pt x="29" y="45"/>
                    <a:pt x="34" y="59"/>
                  </a:cubicBezTo>
                  <a:cubicBezTo>
                    <a:pt x="40" y="44"/>
                    <a:pt x="69" y="35"/>
                    <a:pt x="4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8" name="Freeform 17">
              <a:extLst>
                <a:ext uri="{FF2B5EF4-FFF2-40B4-BE49-F238E27FC236}">
                  <a16:creationId xmlns:a16="http://schemas.microsoft.com/office/drawing/2014/main" id="{260206B0-452B-19C4-7A20-872438A2A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7" y="2025"/>
              <a:ext cx="12" cy="11"/>
            </a:xfrm>
            <a:custGeom>
              <a:avLst/>
              <a:gdLst>
                <a:gd name="T0" fmla="*/ 25 w 50"/>
                <a:gd name="T1" fmla="*/ 5 h 50"/>
                <a:gd name="T2" fmla="*/ 4 w 50"/>
                <a:gd name="T3" fmla="*/ 28 h 50"/>
                <a:gd name="T4" fmla="*/ 25 w 50"/>
                <a:gd name="T5" fmla="*/ 48 h 50"/>
                <a:gd name="T6" fmla="*/ 50 w 50"/>
                <a:gd name="T7" fmla="*/ 26 h 50"/>
                <a:gd name="T8" fmla="*/ 25 w 50"/>
                <a:gd name="T9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25" y="5"/>
                  </a:moveTo>
                  <a:cubicBezTo>
                    <a:pt x="15" y="7"/>
                    <a:pt x="0" y="14"/>
                    <a:pt x="4" y="28"/>
                  </a:cubicBezTo>
                  <a:cubicBezTo>
                    <a:pt x="7" y="36"/>
                    <a:pt x="11" y="50"/>
                    <a:pt x="25" y="48"/>
                  </a:cubicBezTo>
                  <a:cubicBezTo>
                    <a:pt x="36" y="47"/>
                    <a:pt x="44" y="38"/>
                    <a:pt x="50" y="26"/>
                  </a:cubicBezTo>
                  <a:cubicBezTo>
                    <a:pt x="38" y="21"/>
                    <a:pt x="41" y="0"/>
                    <a:pt x="2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9" name="Freeform 18">
              <a:extLst>
                <a:ext uri="{FF2B5EF4-FFF2-40B4-BE49-F238E27FC236}">
                  <a16:creationId xmlns:a16="http://schemas.microsoft.com/office/drawing/2014/main" id="{68A60FD3-BFAD-53C8-8F5A-BEB9AAA90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" y="2033"/>
              <a:ext cx="12" cy="11"/>
            </a:xfrm>
            <a:custGeom>
              <a:avLst/>
              <a:gdLst>
                <a:gd name="T0" fmla="*/ 27 w 56"/>
                <a:gd name="T1" fmla="*/ 5 h 49"/>
                <a:gd name="T2" fmla="*/ 14 w 56"/>
                <a:gd name="T3" fmla="*/ 49 h 49"/>
                <a:gd name="T4" fmla="*/ 52 w 56"/>
                <a:gd name="T5" fmla="*/ 21 h 49"/>
                <a:gd name="T6" fmla="*/ 27 w 56"/>
                <a:gd name="T7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9">
                  <a:moveTo>
                    <a:pt x="27" y="5"/>
                  </a:moveTo>
                  <a:cubicBezTo>
                    <a:pt x="0" y="13"/>
                    <a:pt x="18" y="30"/>
                    <a:pt x="14" y="49"/>
                  </a:cubicBezTo>
                  <a:cubicBezTo>
                    <a:pt x="30" y="38"/>
                    <a:pt x="56" y="49"/>
                    <a:pt x="52" y="21"/>
                  </a:cubicBezTo>
                  <a:cubicBezTo>
                    <a:pt x="50" y="11"/>
                    <a:pt x="44" y="0"/>
                    <a:pt x="2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0" name="Freeform 19">
              <a:extLst>
                <a:ext uri="{FF2B5EF4-FFF2-40B4-BE49-F238E27FC236}">
                  <a16:creationId xmlns:a16="http://schemas.microsoft.com/office/drawing/2014/main" id="{2939BD9B-8290-66A5-114E-0D79E0468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1944"/>
              <a:ext cx="11" cy="10"/>
            </a:xfrm>
            <a:custGeom>
              <a:avLst/>
              <a:gdLst>
                <a:gd name="T0" fmla="*/ 24 w 46"/>
                <a:gd name="T1" fmla="*/ 42 h 43"/>
                <a:gd name="T2" fmla="*/ 44 w 46"/>
                <a:gd name="T3" fmla="*/ 18 h 43"/>
                <a:gd name="T4" fmla="*/ 27 w 46"/>
                <a:gd name="T5" fmla="*/ 3 h 43"/>
                <a:gd name="T6" fmla="*/ 3 w 46"/>
                <a:gd name="T7" fmla="*/ 20 h 43"/>
                <a:gd name="T8" fmla="*/ 24 w 46"/>
                <a:gd name="T9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3">
                  <a:moveTo>
                    <a:pt x="24" y="42"/>
                  </a:moveTo>
                  <a:cubicBezTo>
                    <a:pt x="39" y="43"/>
                    <a:pt x="43" y="29"/>
                    <a:pt x="44" y="18"/>
                  </a:cubicBezTo>
                  <a:cubicBezTo>
                    <a:pt x="46" y="6"/>
                    <a:pt x="34" y="5"/>
                    <a:pt x="27" y="3"/>
                  </a:cubicBezTo>
                  <a:cubicBezTo>
                    <a:pt x="11" y="0"/>
                    <a:pt x="6" y="9"/>
                    <a:pt x="3" y="20"/>
                  </a:cubicBezTo>
                  <a:cubicBezTo>
                    <a:pt x="0" y="36"/>
                    <a:pt x="12" y="41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1" name="Freeform 20">
              <a:extLst>
                <a:ext uri="{FF2B5EF4-FFF2-40B4-BE49-F238E27FC236}">
                  <a16:creationId xmlns:a16="http://schemas.microsoft.com/office/drawing/2014/main" id="{E1963776-A306-2CF0-6724-294AFD2BE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7" y="1949"/>
              <a:ext cx="10" cy="10"/>
            </a:xfrm>
            <a:custGeom>
              <a:avLst/>
              <a:gdLst>
                <a:gd name="T0" fmla="*/ 20 w 42"/>
                <a:gd name="T1" fmla="*/ 45 h 46"/>
                <a:gd name="T2" fmla="*/ 42 w 42"/>
                <a:gd name="T3" fmla="*/ 29 h 46"/>
                <a:gd name="T4" fmla="*/ 26 w 42"/>
                <a:gd name="T5" fmla="*/ 1 h 46"/>
                <a:gd name="T6" fmla="*/ 1 w 42"/>
                <a:gd name="T7" fmla="*/ 21 h 46"/>
                <a:gd name="T8" fmla="*/ 20 w 42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6">
                  <a:moveTo>
                    <a:pt x="20" y="45"/>
                  </a:moveTo>
                  <a:cubicBezTo>
                    <a:pt x="29" y="46"/>
                    <a:pt x="39" y="38"/>
                    <a:pt x="42" y="29"/>
                  </a:cubicBezTo>
                  <a:cubicBezTo>
                    <a:pt x="40" y="16"/>
                    <a:pt x="35" y="2"/>
                    <a:pt x="26" y="1"/>
                  </a:cubicBezTo>
                  <a:cubicBezTo>
                    <a:pt x="17" y="0"/>
                    <a:pt x="2" y="6"/>
                    <a:pt x="1" y="21"/>
                  </a:cubicBezTo>
                  <a:cubicBezTo>
                    <a:pt x="0" y="33"/>
                    <a:pt x="8" y="45"/>
                    <a:pt x="2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2" name="Freeform 21">
              <a:extLst>
                <a:ext uri="{FF2B5EF4-FFF2-40B4-BE49-F238E27FC236}">
                  <a16:creationId xmlns:a16="http://schemas.microsoft.com/office/drawing/2014/main" id="{43897FCD-EA2F-41ED-DD24-6697814F1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" y="1964"/>
              <a:ext cx="10" cy="11"/>
            </a:xfrm>
            <a:custGeom>
              <a:avLst/>
              <a:gdLst>
                <a:gd name="T0" fmla="*/ 48 w 48"/>
                <a:gd name="T1" fmla="*/ 25 h 50"/>
                <a:gd name="T2" fmla="*/ 24 w 48"/>
                <a:gd name="T3" fmla="*/ 3 h 50"/>
                <a:gd name="T4" fmla="*/ 3 w 48"/>
                <a:gd name="T5" fmla="*/ 25 h 50"/>
                <a:gd name="T6" fmla="*/ 26 w 48"/>
                <a:gd name="T7" fmla="*/ 46 h 50"/>
                <a:gd name="T8" fmla="*/ 48 w 48"/>
                <a:gd name="T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0">
                  <a:moveTo>
                    <a:pt x="48" y="25"/>
                  </a:moveTo>
                  <a:cubicBezTo>
                    <a:pt x="43" y="14"/>
                    <a:pt x="35" y="6"/>
                    <a:pt x="24" y="3"/>
                  </a:cubicBezTo>
                  <a:cubicBezTo>
                    <a:pt x="8" y="0"/>
                    <a:pt x="6" y="17"/>
                    <a:pt x="3" y="25"/>
                  </a:cubicBezTo>
                  <a:cubicBezTo>
                    <a:pt x="0" y="40"/>
                    <a:pt x="15" y="43"/>
                    <a:pt x="26" y="46"/>
                  </a:cubicBezTo>
                  <a:cubicBezTo>
                    <a:pt x="41" y="50"/>
                    <a:pt x="38" y="30"/>
                    <a:pt x="4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3" name="Freeform 22">
              <a:extLst>
                <a:ext uri="{FF2B5EF4-FFF2-40B4-BE49-F238E27FC236}">
                  <a16:creationId xmlns:a16="http://schemas.microsoft.com/office/drawing/2014/main" id="{07EE20D0-5C79-2DFE-ECCB-9B1DA22F8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1971"/>
              <a:ext cx="11" cy="10"/>
            </a:xfrm>
            <a:custGeom>
              <a:avLst/>
              <a:gdLst>
                <a:gd name="T0" fmla="*/ 23 w 45"/>
                <a:gd name="T1" fmla="*/ 42 h 45"/>
                <a:gd name="T2" fmla="*/ 45 w 45"/>
                <a:gd name="T3" fmla="*/ 34 h 45"/>
                <a:gd name="T4" fmla="*/ 24 w 45"/>
                <a:gd name="T5" fmla="*/ 4 h 45"/>
                <a:gd name="T6" fmla="*/ 2 w 45"/>
                <a:gd name="T7" fmla="*/ 21 h 45"/>
                <a:gd name="T8" fmla="*/ 23 w 45"/>
                <a:gd name="T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23" y="42"/>
                  </a:moveTo>
                  <a:cubicBezTo>
                    <a:pt x="33" y="41"/>
                    <a:pt x="44" y="42"/>
                    <a:pt x="45" y="34"/>
                  </a:cubicBezTo>
                  <a:cubicBezTo>
                    <a:pt x="40" y="16"/>
                    <a:pt x="39" y="0"/>
                    <a:pt x="24" y="4"/>
                  </a:cubicBezTo>
                  <a:cubicBezTo>
                    <a:pt x="16" y="5"/>
                    <a:pt x="0" y="6"/>
                    <a:pt x="2" y="21"/>
                  </a:cubicBezTo>
                  <a:cubicBezTo>
                    <a:pt x="4" y="30"/>
                    <a:pt x="6" y="45"/>
                    <a:pt x="2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4" name="Freeform 23">
              <a:extLst>
                <a:ext uri="{FF2B5EF4-FFF2-40B4-BE49-F238E27FC236}">
                  <a16:creationId xmlns:a16="http://schemas.microsoft.com/office/drawing/2014/main" id="{8E1FDD93-4765-391D-EADA-539CA3255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9" y="1992"/>
              <a:ext cx="9" cy="10"/>
            </a:xfrm>
            <a:custGeom>
              <a:avLst/>
              <a:gdLst>
                <a:gd name="T0" fmla="*/ 26 w 43"/>
                <a:gd name="T1" fmla="*/ 5 h 45"/>
                <a:gd name="T2" fmla="*/ 1 w 43"/>
                <a:gd name="T3" fmla="*/ 21 h 45"/>
                <a:gd name="T4" fmla="*/ 26 w 43"/>
                <a:gd name="T5" fmla="*/ 43 h 45"/>
                <a:gd name="T6" fmla="*/ 41 w 43"/>
                <a:gd name="T7" fmla="*/ 23 h 45"/>
                <a:gd name="T8" fmla="*/ 26 w 43"/>
                <a:gd name="T9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5">
                  <a:moveTo>
                    <a:pt x="26" y="5"/>
                  </a:moveTo>
                  <a:cubicBezTo>
                    <a:pt x="16" y="7"/>
                    <a:pt x="3" y="0"/>
                    <a:pt x="1" y="21"/>
                  </a:cubicBezTo>
                  <a:cubicBezTo>
                    <a:pt x="0" y="41"/>
                    <a:pt x="16" y="41"/>
                    <a:pt x="26" y="43"/>
                  </a:cubicBezTo>
                  <a:cubicBezTo>
                    <a:pt x="41" y="45"/>
                    <a:pt x="38" y="30"/>
                    <a:pt x="41" y="23"/>
                  </a:cubicBezTo>
                  <a:cubicBezTo>
                    <a:pt x="43" y="9"/>
                    <a:pt x="38" y="3"/>
                    <a:pt x="2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5" name="Freeform 24">
              <a:extLst>
                <a:ext uri="{FF2B5EF4-FFF2-40B4-BE49-F238E27FC236}">
                  <a16:creationId xmlns:a16="http://schemas.microsoft.com/office/drawing/2014/main" id="{584F3D9A-D2B3-3C19-ED54-C02A3BA6B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1826"/>
              <a:ext cx="254" cy="250"/>
            </a:xfrm>
            <a:custGeom>
              <a:avLst/>
              <a:gdLst>
                <a:gd name="T0" fmla="*/ 1053 w 1120"/>
                <a:gd name="T1" fmla="*/ 619 h 1104"/>
                <a:gd name="T2" fmla="*/ 953 w 1120"/>
                <a:gd name="T3" fmla="*/ 506 h 1104"/>
                <a:gd name="T4" fmla="*/ 921 w 1120"/>
                <a:gd name="T5" fmla="*/ 97 h 1104"/>
                <a:gd name="T6" fmla="*/ 93 w 1120"/>
                <a:gd name="T7" fmla="*/ 0 h 1104"/>
                <a:gd name="T8" fmla="*/ 108 w 1120"/>
                <a:gd name="T9" fmla="*/ 662 h 1104"/>
                <a:gd name="T10" fmla="*/ 141 w 1120"/>
                <a:gd name="T11" fmla="*/ 824 h 1104"/>
                <a:gd name="T12" fmla="*/ 377 w 1120"/>
                <a:gd name="T13" fmla="*/ 936 h 1104"/>
                <a:gd name="T14" fmla="*/ 518 w 1120"/>
                <a:gd name="T15" fmla="*/ 998 h 1104"/>
                <a:gd name="T16" fmla="*/ 680 w 1120"/>
                <a:gd name="T17" fmla="*/ 1071 h 1104"/>
                <a:gd name="T18" fmla="*/ 795 w 1120"/>
                <a:gd name="T19" fmla="*/ 1070 h 1104"/>
                <a:gd name="T20" fmla="*/ 929 w 1120"/>
                <a:gd name="T21" fmla="*/ 1049 h 1104"/>
                <a:gd name="T22" fmla="*/ 1001 w 1120"/>
                <a:gd name="T23" fmla="*/ 952 h 1104"/>
                <a:gd name="T24" fmla="*/ 1067 w 1120"/>
                <a:gd name="T25" fmla="*/ 793 h 1104"/>
                <a:gd name="T26" fmla="*/ 35 w 1120"/>
                <a:gd name="T27" fmla="*/ 116 h 1104"/>
                <a:gd name="T28" fmla="*/ 804 w 1120"/>
                <a:gd name="T29" fmla="*/ 32 h 1104"/>
                <a:gd name="T30" fmla="*/ 837 w 1120"/>
                <a:gd name="T31" fmla="*/ 432 h 1104"/>
                <a:gd name="T32" fmla="*/ 680 w 1120"/>
                <a:gd name="T33" fmla="*/ 398 h 1104"/>
                <a:gd name="T34" fmla="*/ 518 w 1120"/>
                <a:gd name="T35" fmla="*/ 453 h 1104"/>
                <a:gd name="T36" fmla="*/ 145 w 1120"/>
                <a:gd name="T37" fmla="*/ 451 h 1104"/>
                <a:gd name="T38" fmla="*/ 304 w 1120"/>
                <a:gd name="T39" fmla="*/ 253 h 1104"/>
                <a:gd name="T40" fmla="*/ 172 w 1120"/>
                <a:gd name="T41" fmla="*/ 221 h 1104"/>
                <a:gd name="T42" fmla="*/ 738 w 1120"/>
                <a:gd name="T43" fmla="*/ 110 h 1104"/>
                <a:gd name="T44" fmla="*/ 791 w 1120"/>
                <a:gd name="T45" fmla="*/ 333 h 1104"/>
                <a:gd name="T46" fmla="*/ 778 w 1120"/>
                <a:gd name="T47" fmla="*/ 71 h 1104"/>
                <a:gd name="T48" fmla="*/ 114 w 1120"/>
                <a:gd name="T49" fmla="*/ 442 h 1104"/>
                <a:gd name="T50" fmla="*/ 96 w 1120"/>
                <a:gd name="T51" fmla="*/ 625 h 1104"/>
                <a:gd name="T52" fmla="*/ 436 w 1120"/>
                <a:gd name="T53" fmla="*/ 515 h 1104"/>
                <a:gd name="T54" fmla="*/ 404 w 1120"/>
                <a:gd name="T55" fmla="*/ 905 h 1104"/>
                <a:gd name="T56" fmla="*/ 361 w 1120"/>
                <a:gd name="T57" fmla="*/ 862 h 1104"/>
                <a:gd name="T58" fmla="*/ 275 w 1120"/>
                <a:gd name="T59" fmla="*/ 801 h 1104"/>
                <a:gd name="T60" fmla="*/ 427 w 1120"/>
                <a:gd name="T61" fmla="*/ 662 h 1104"/>
                <a:gd name="T62" fmla="*/ 409 w 1120"/>
                <a:gd name="T63" fmla="*/ 792 h 1104"/>
                <a:gd name="T64" fmla="*/ 1044 w 1120"/>
                <a:gd name="T65" fmla="*/ 760 h 1104"/>
                <a:gd name="T66" fmla="*/ 997 w 1120"/>
                <a:gd name="T67" fmla="*/ 912 h 1104"/>
                <a:gd name="T68" fmla="*/ 874 w 1120"/>
                <a:gd name="T69" fmla="*/ 1017 h 1104"/>
                <a:gd name="T70" fmla="*/ 738 w 1120"/>
                <a:gd name="T71" fmla="*/ 1069 h 1104"/>
                <a:gd name="T72" fmla="*/ 572 w 1120"/>
                <a:gd name="T73" fmla="*/ 1022 h 1104"/>
                <a:gd name="T74" fmla="*/ 449 w 1120"/>
                <a:gd name="T75" fmla="*/ 899 h 1104"/>
                <a:gd name="T76" fmla="*/ 406 w 1120"/>
                <a:gd name="T77" fmla="*/ 734 h 1104"/>
                <a:gd name="T78" fmla="*/ 452 w 1120"/>
                <a:gd name="T79" fmla="*/ 566 h 1104"/>
                <a:gd name="T80" fmla="*/ 570 w 1120"/>
                <a:gd name="T81" fmla="*/ 449 h 1104"/>
                <a:gd name="T82" fmla="*/ 738 w 1120"/>
                <a:gd name="T83" fmla="*/ 404 h 1104"/>
                <a:gd name="T84" fmla="*/ 871 w 1120"/>
                <a:gd name="T85" fmla="*/ 456 h 1104"/>
                <a:gd name="T86" fmla="*/ 994 w 1120"/>
                <a:gd name="T87" fmla="*/ 557 h 1104"/>
                <a:gd name="T88" fmla="*/ 1046 w 1120"/>
                <a:gd name="T89" fmla="*/ 711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0" h="1104">
                  <a:moveTo>
                    <a:pt x="1103" y="755"/>
                  </a:moveTo>
                  <a:cubicBezTo>
                    <a:pt x="1099" y="725"/>
                    <a:pt x="1120" y="685"/>
                    <a:pt x="1068" y="674"/>
                  </a:cubicBezTo>
                  <a:cubicBezTo>
                    <a:pt x="1032" y="667"/>
                    <a:pt x="1026" y="641"/>
                    <a:pt x="1053" y="619"/>
                  </a:cubicBezTo>
                  <a:cubicBezTo>
                    <a:pt x="1081" y="598"/>
                    <a:pt x="1074" y="578"/>
                    <a:pt x="1060" y="555"/>
                  </a:cubicBezTo>
                  <a:cubicBezTo>
                    <a:pt x="1045" y="531"/>
                    <a:pt x="1033" y="500"/>
                    <a:pt x="995" y="519"/>
                  </a:cubicBezTo>
                  <a:cubicBezTo>
                    <a:pt x="974" y="529"/>
                    <a:pt x="951" y="511"/>
                    <a:pt x="953" y="506"/>
                  </a:cubicBezTo>
                  <a:cubicBezTo>
                    <a:pt x="974" y="457"/>
                    <a:pt x="932" y="428"/>
                    <a:pt x="921" y="390"/>
                  </a:cubicBezTo>
                  <a:cubicBezTo>
                    <a:pt x="920" y="385"/>
                    <a:pt x="921" y="380"/>
                    <a:pt x="921" y="374"/>
                  </a:cubicBezTo>
                  <a:cubicBezTo>
                    <a:pt x="921" y="282"/>
                    <a:pt x="921" y="190"/>
                    <a:pt x="921" y="97"/>
                  </a:cubicBezTo>
                  <a:cubicBezTo>
                    <a:pt x="921" y="33"/>
                    <a:pt x="888" y="0"/>
                    <a:pt x="825" y="0"/>
                  </a:cubicBezTo>
                  <a:cubicBezTo>
                    <a:pt x="704" y="0"/>
                    <a:pt x="583" y="0"/>
                    <a:pt x="461" y="0"/>
                  </a:cubicBezTo>
                  <a:cubicBezTo>
                    <a:pt x="339" y="0"/>
                    <a:pt x="216" y="0"/>
                    <a:pt x="93" y="0"/>
                  </a:cubicBezTo>
                  <a:cubicBezTo>
                    <a:pt x="36" y="0"/>
                    <a:pt x="3" y="33"/>
                    <a:pt x="3" y="89"/>
                  </a:cubicBezTo>
                  <a:cubicBezTo>
                    <a:pt x="3" y="245"/>
                    <a:pt x="6" y="401"/>
                    <a:pt x="2" y="556"/>
                  </a:cubicBezTo>
                  <a:cubicBezTo>
                    <a:pt x="0" y="626"/>
                    <a:pt x="48" y="664"/>
                    <a:pt x="108" y="662"/>
                  </a:cubicBezTo>
                  <a:cubicBezTo>
                    <a:pt x="148" y="661"/>
                    <a:pt x="187" y="662"/>
                    <a:pt x="227" y="662"/>
                  </a:cubicBezTo>
                  <a:cubicBezTo>
                    <a:pt x="286" y="662"/>
                    <a:pt x="283" y="661"/>
                    <a:pt x="265" y="719"/>
                  </a:cubicBezTo>
                  <a:cubicBezTo>
                    <a:pt x="246" y="782"/>
                    <a:pt x="232" y="847"/>
                    <a:pt x="141" y="824"/>
                  </a:cubicBezTo>
                  <a:cubicBezTo>
                    <a:pt x="122" y="820"/>
                    <a:pt x="113" y="832"/>
                    <a:pt x="113" y="853"/>
                  </a:cubicBezTo>
                  <a:cubicBezTo>
                    <a:pt x="113" y="894"/>
                    <a:pt x="148" y="933"/>
                    <a:pt x="191" y="934"/>
                  </a:cubicBezTo>
                  <a:cubicBezTo>
                    <a:pt x="253" y="936"/>
                    <a:pt x="315" y="935"/>
                    <a:pt x="377" y="936"/>
                  </a:cubicBezTo>
                  <a:cubicBezTo>
                    <a:pt x="401" y="936"/>
                    <a:pt x="428" y="926"/>
                    <a:pt x="445" y="955"/>
                  </a:cubicBezTo>
                  <a:cubicBezTo>
                    <a:pt x="450" y="962"/>
                    <a:pt x="461" y="956"/>
                    <a:pt x="470" y="953"/>
                  </a:cubicBezTo>
                  <a:cubicBezTo>
                    <a:pt x="516" y="940"/>
                    <a:pt x="530" y="952"/>
                    <a:pt x="518" y="998"/>
                  </a:cubicBezTo>
                  <a:cubicBezTo>
                    <a:pt x="507" y="1040"/>
                    <a:pt x="542" y="1045"/>
                    <a:pt x="564" y="1060"/>
                  </a:cubicBezTo>
                  <a:cubicBezTo>
                    <a:pt x="583" y="1073"/>
                    <a:pt x="600" y="1075"/>
                    <a:pt x="619" y="1054"/>
                  </a:cubicBezTo>
                  <a:cubicBezTo>
                    <a:pt x="647" y="1022"/>
                    <a:pt x="669" y="1028"/>
                    <a:pt x="680" y="1071"/>
                  </a:cubicBezTo>
                  <a:cubicBezTo>
                    <a:pt x="686" y="1096"/>
                    <a:pt x="697" y="1104"/>
                    <a:pt x="720" y="1101"/>
                  </a:cubicBezTo>
                  <a:cubicBezTo>
                    <a:pt x="732" y="1099"/>
                    <a:pt x="744" y="1099"/>
                    <a:pt x="756" y="1101"/>
                  </a:cubicBezTo>
                  <a:cubicBezTo>
                    <a:pt x="780" y="1103"/>
                    <a:pt x="794" y="1096"/>
                    <a:pt x="795" y="1070"/>
                  </a:cubicBezTo>
                  <a:cubicBezTo>
                    <a:pt x="795" y="1054"/>
                    <a:pt x="800" y="1042"/>
                    <a:pt x="816" y="1037"/>
                  </a:cubicBezTo>
                  <a:cubicBezTo>
                    <a:pt x="832" y="1033"/>
                    <a:pt x="844" y="1040"/>
                    <a:pt x="854" y="1053"/>
                  </a:cubicBezTo>
                  <a:cubicBezTo>
                    <a:pt x="880" y="1087"/>
                    <a:pt x="904" y="1062"/>
                    <a:pt x="929" y="1049"/>
                  </a:cubicBezTo>
                  <a:cubicBezTo>
                    <a:pt x="950" y="1038"/>
                    <a:pt x="971" y="1027"/>
                    <a:pt x="954" y="995"/>
                  </a:cubicBezTo>
                  <a:cubicBezTo>
                    <a:pt x="948" y="984"/>
                    <a:pt x="943" y="969"/>
                    <a:pt x="959" y="954"/>
                  </a:cubicBezTo>
                  <a:cubicBezTo>
                    <a:pt x="975" y="938"/>
                    <a:pt x="988" y="950"/>
                    <a:pt x="1001" y="952"/>
                  </a:cubicBezTo>
                  <a:cubicBezTo>
                    <a:pt x="1011" y="954"/>
                    <a:pt x="1020" y="961"/>
                    <a:pt x="1031" y="955"/>
                  </a:cubicBezTo>
                  <a:cubicBezTo>
                    <a:pt x="1065" y="937"/>
                    <a:pt x="1076" y="876"/>
                    <a:pt x="1050" y="846"/>
                  </a:cubicBezTo>
                  <a:cubicBezTo>
                    <a:pt x="1030" y="822"/>
                    <a:pt x="1037" y="797"/>
                    <a:pt x="1067" y="793"/>
                  </a:cubicBezTo>
                  <a:cubicBezTo>
                    <a:pt x="1093" y="789"/>
                    <a:pt x="1107" y="783"/>
                    <a:pt x="1103" y="755"/>
                  </a:cubicBezTo>
                  <a:close/>
                  <a:moveTo>
                    <a:pt x="34" y="440"/>
                  </a:moveTo>
                  <a:cubicBezTo>
                    <a:pt x="36" y="332"/>
                    <a:pt x="35" y="224"/>
                    <a:pt x="35" y="116"/>
                  </a:cubicBezTo>
                  <a:cubicBezTo>
                    <a:pt x="35" y="54"/>
                    <a:pt x="57" y="32"/>
                    <a:pt x="120" y="32"/>
                  </a:cubicBezTo>
                  <a:cubicBezTo>
                    <a:pt x="234" y="32"/>
                    <a:pt x="349" y="32"/>
                    <a:pt x="464" y="32"/>
                  </a:cubicBezTo>
                  <a:cubicBezTo>
                    <a:pt x="577" y="32"/>
                    <a:pt x="691" y="32"/>
                    <a:pt x="804" y="32"/>
                  </a:cubicBezTo>
                  <a:cubicBezTo>
                    <a:pt x="863" y="32"/>
                    <a:pt x="882" y="51"/>
                    <a:pt x="882" y="108"/>
                  </a:cubicBezTo>
                  <a:cubicBezTo>
                    <a:pt x="882" y="194"/>
                    <a:pt x="880" y="279"/>
                    <a:pt x="883" y="365"/>
                  </a:cubicBezTo>
                  <a:cubicBezTo>
                    <a:pt x="884" y="401"/>
                    <a:pt x="859" y="419"/>
                    <a:pt x="837" y="432"/>
                  </a:cubicBezTo>
                  <a:cubicBezTo>
                    <a:pt x="818" y="444"/>
                    <a:pt x="797" y="427"/>
                    <a:pt x="795" y="402"/>
                  </a:cubicBezTo>
                  <a:cubicBezTo>
                    <a:pt x="793" y="370"/>
                    <a:pt x="774" y="362"/>
                    <a:pt x="747" y="365"/>
                  </a:cubicBezTo>
                  <a:cubicBezTo>
                    <a:pt x="721" y="367"/>
                    <a:pt x="689" y="353"/>
                    <a:pt x="680" y="398"/>
                  </a:cubicBezTo>
                  <a:cubicBezTo>
                    <a:pt x="671" y="443"/>
                    <a:pt x="652" y="446"/>
                    <a:pt x="618" y="414"/>
                  </a:cubicBezTo>
                  <a:cubicBezTo>
                    <a:pt x="609" y="405"/>
                    <a:pt x="600" y="388"/>
                    <a:pt x="583" y="400"/>
                  </a:cubicBezTo>
                  <a:cubicBezTo>
                    <a:pt x="559" y="416"/>
                    <a:pt x="521" y="417"/>
                    <a:pt x="518" y="453"/>
                  </a:cubicBezTo>
                  <a:cubicBezTo>
                    <a:pt x="516" y="475"/>
                    <a:pt x="509" y="475"/>
                    <a:pt x="493" y="475"/>
                  </a:cubicBezTo>
                  <a:cubicBezTo>
                    <a:pt x="386" y="475"/>
                    <a:pt x="279" y="475"/>
                    <a:pt x="172" y="475"/>
                  </a:cubicBezTo>
                  <a:cubicBezTo>
                    <a:pt x="154" y="476"/>
                    <a:pt x="144" y="474"/>
                    <a:pt x="145" y="451"/>
                  </a:cubicBezTo>
                  <a:cubicBezTo>
                    <a:pt x="147" y="393"/>
                    <a:pt x="146" y="335"/>
                    <a:pt x="145" y="277"/>
                  </a:cubicBezTo>
                  <a:cubicBezTo>
                    <a:pt x="144" y="257"/>
                    <a:pt x="152" y="253"/>
                    <a:pt x="170" y="253"/>
                  </a:cubicBezTo>
                  <a:cubicBezTo>
                    <a:pt x="215" y="254"/>
                    <a:pt x="260" y="254"/>
                    <a:pt x="304" y="253"/>
                  </a:cubicBezTo>
                  <a:cubicBezTo>
                    <a:pt x="316" y="253"/>
                    <a:pt x="336" y="263"/>
                    <a:pt x="335" y="236"/>
                  </a:cubicBezTo>
                  <a:cubicBezTo>
                    <a:pt x="334" y="211"/>
                    <a:pt x="314" y="221"/>
                    <a:pt x="303" y="221"/>
                  </a:cubicBezTo>
                  <a:cubicBezTo>
                    <a:pt x="259" y="220"/>
                    <a:pt x="215" y="219"/>
                    <a:pt x="172" y="221"/>
                  </a:cubicBezTo>
                  <a:cubicBezTo>
                    <a:pt x="152" y="221"/>
                    <a:pt x="145" y="216"/>
                    <a:pt x="145" y="195"/>
                  </a:cubicBezTo>
                  <a:cubicBezTo>
                    <a:pt x="143" y="111"/>
                    <a:pt x="142" y="111"/>
                    <a:pt x="224" y="111"/>
                  </a:cubicBezTo>
                  <a:cubicBezTo>
                    <a:pt x="395" y="111"/>
                    <a:pt x="567" y="112"/>
                    <a:pt x="738" y="110"/>
                  </a:cubicBezTo>
                  <a:cubicBezTo>
                    <a:pt x="767" y="110"/>
                    <a:pt x="773" y="118"/>
                    <a:pt x="772" y="145"/>
                  </a:cubicBezTo>
                  <a:cubicBezTo>
                    <a:pt x="770" y="199"/>
                    <a:pt x="772" y="253"/>
                    <a:pt x="771" y="307"/>
                  </a:cubicBezTo>
                  <a:cubicBezTo>
                    <a:pt x="771" y="322"/>
                    <a:pt x="771" y="332"/>
                    <a:pt x="791" y="333"/>
                  </a:cubicBezTo>
                  <a:cubicBezTo>
                    <a:pt x="812" y="333"/>
                    <a:pt x="810" y="321"/>
                    <a:pt x="810" y="308"/>
                  </a:cubicBezTo>
                  <a:cubicBezTo>
                    <a:pt x="810" y="239"/>
                    <a:pt x="809" y="170"/>
                    <a:pt x="811" y="102"/>
                  </a:cubicBezTo>
                  <a:cubicBezTo>
                    <a:pt x="811" y="76"/>
                    <a:pt x="800" y="71"/>
                    <a:pt x="778" y="71"/>
                  </a:cubicBezTo>
                  <a:cubicBezTo>
                    <a:pt x="567" y="72"/>
                    <a:pt x="356" y="72"/>
                    <a:pt x="145" y="71"/>
                  </a:cubicBezTo>
                  <a:cubicBezTo>
                    <a:pt x="117" y="71"/>
                    <a:pt x="113" y="81"/>
                    <a:pt x="113" y="105"/>
                  </a:cubicBezTo>
                  <a:cubicBezTo>
                    <a:pt x="114" y="217"/>
                    <a:pt x="111" y="330"/>
                    <a:pt x="114" y="442"/>
                  </a:cubicBezTo>
                  <a:cubicBezTo>
                    <a:pt x="116" y="481"/>
                    <a:pt x="95" y="474"/>
                    <a:pt x="71" y="476"/>
                  </a:cubicBezTo>
                  <a:cubicBezTo>
                    <a:pt x="44" y="478"/>
                    <a:pt x="33" y="472"/>
                    <a:pt x="34" y="440"/>
                  </a:cubicBezTo>
                  <a:close/>
                  <a:moveTo>
                    <a:pt x="96" y="625"/>
                  </a:moveTo>
                  <a:cubicBezTo>
                    <a:pt x="53" y="624"/>
                    <a:pt x="17" y="560"/>
                    <a:pt x="35" y="522"/>
                  </a:cubicBezTo>
                  <a:cubicBezTo>
                    <a:pt x="41" y="509"/>
                    <a:pt x="53" y="515"/>
                    <a:pt x="63" y="515"/>
                  </a:cubicBezTo>
                  <a:cubicBezTo>
                    <a:pt x="186" y="515"/>
                    <a:pt x="310" y="515"/>
                    <a:pt x="436" y="515"/>
                  </a:cubicBezTo>
                  <a:cubicBezTo>
                    <a:pt x="426" y="553"/>
                    <a:pt x="373" y="580"/>
                    <a:pt x="424" y="625"/>
                  </a:cubicBezTo>
                  <a:cubicBezTo>
                    <a:pt x="311" y="625"/>
                    <a:pt x="204" y="627"/>
                    <a:pt x="96" y="625"/>
                  </a:cubicBezTo>
                  <a:close/>
                  <a:moveTo>
                    <a:pt x="404" y="905"/>
                  </a:moveTo>
                  <a:cubicBezTo>
                    <a:pt x="321" y="890"/>
                    <a:pt x="232" y="927"/>
                    <a:pt x="154" y="880"/>
                  </a:cubicBezTo>
                  <a:cubicBezTo>
                    <a:pt x="155" y="874"/>
                    <a:pt x="156" y="869"/>
                    <a:pt x="156" y="863"/>
                  </a:cubicBezTo>
                  <a:cubicBezTo>
                    <a:pt x="225" y="863"/>
                    <a:pt x="293" y="865"/>
                    <a:pt x="361" y="862"/>
                  </a:cubicBezTo>
                  <a:cubicBezTo>
                    <a:pt x="393" y="861"/>
                    <a:pt x="407" y="868"/>
                    <a:pt x="404" y="905"/>
                  </a:cubicBezTo>
                  <a:close/>
                  <a:moveTo>
                    <a:pt x="291" y="824"/>
                  </a:moveTo>
                  <a:cubicBezTo>
                    <a:pt x="271" y="824"/>
                    <a:pt x="269" y="817"/>
                    <a:pt x="275" y="801"/>
                  </a:cubicBezTo>
                  <a:cubicBezTo>
                    <a:pt x="291" y="761"/>
                    <a:pt x="306" y="721"/>
                    <a:pt x="319" y="681"/>
                  </a:cubicBezTo>
                  <a:cubicBezTo>
                    <a:pt x="324" y="668"/>
                    <a:pt x="331" y="662"/>
                    <a:pt x="344" y="662"/>
                  </a:cubicBezTo>
                  <a:cubicBezTo>
                    <a:pt x="372" y="662"/>
                    <a:pt x="399" y="662"/>
                    <a:pt x="427" y="662"/>
                  </a:cubicBezTo>
                  <a:cubicBezTo>
                    <a:pt x="429" y="665"/>
                    <a:pt x="430" y="669"/>
                    <a:pt x="432" y="672"/>
                  </a:cubicBezTo>
                  <a:cubicBezTo>
                    <a:pt x="385" y="673"/>
                    <a:pt x="360" y="691"/>
                    <a:pt x="366" y="741"/>
                  </a:cubicBezTo>
                  <a:cubicBezTo>
                    <a:pt x="370" y="770"/>
                    <a:pt x="372" y="792"/>
                    <a:pt x="409" y="792"/>
                  </a:cubicBezTo>
                  <a:cubicBezTo>
                    <a:pt x="425" y="792"/>
                    <a:pt x="433" y="805"/>
                    <a:pt x="436" y="824"/>
                  </a:cubicBezTo>
                  <a:cubicBezTo>
                    <a:pt x="387" y="824"/>
                    <a:pt x="339" y="823"/>
                    <a:pt x="291" y="824"/>
                  </a:cubicBezTo>
                  <a:close/>
                  <a:moveTo>
                    <a:pt x="1044" y="760"/>
                  </a:moveTo>
                  <a:cubicBezTo>
                    <a:pt x="1002" y="770"/>
                    <a:pt x="983" y="833"/>
                    <a:pt x="1013" y="864"/>
                  </a:cubicBezTo>
                  <a:cubicBezTo>
                    <a:pt x="1031" y="883"/>
                    <a:pt x="1031" y="883"/>
                    <a:pt x="1031" y="889"/>
                  </a:cubicBezTo>
                  <a:cubicBezTo>
                    <a:pt x="1020" y="896"/>
                    <a:pt x="1025" y="920"/>
                    <a:pt x="997" y="912"/>
                  </a:cubicBezTo>
                  <a:cubicBezTo>
                    <a:pt x="941" y="896"/>
                    <a:pt x="900" y="938"/>
                    <a:pt x="914" y="992"/>
                  </a:cubicBezTo>
                  <a:cubicBezTo>
                    <a:pt x="917" y="1007"/>
                    <a:pt x="917" y="1014"/>
                    <a:pt x="903" y="1022"/>
                  </a:cubicBezTo>
                  <a:cubicBezTo>
                    <a:pt x="889" y="1029"/>
                    <a:pt x="881" y="1029"/>
                    <a:pt x="874" y="1017"/>
                  </a:cubicBezTo>
                  <a:cubicBezTo>
                    <a:pt x="856" y="991"/>
                    <a:pt x="835" y="990"/>
                    <a:pt x="807" y="1000"/>
                  </a:cubicBezTo>
                  <a:cubicBezTo>
                    <a:pt x="782" y="1008"/>
                    <a:pt x="761" y="1015"/>
                    <a:pt x="762" y="1048"/>
                  </a:cubicBezTo>
                  <a:cubicBezTo>
                    <a:pt x="762" y="1059"/>
                    <a:pt x="753" y="1068"/>
                    <a:pt x="738" y="1069"/>
                  </a:cubicBezTo>
                  <a:cubicBezTo>
                    <a:pt x="721" y="1069"/>
                    <a:pt x="718" y="1061"/>
                    <a:pt x="714" y="1046"/>
                  </a:cubicBezTo>
                  <a:cubicBezTo>
                    <a:pt x="700" y="994"/>
                    <a:pt x="642" y="980"/>
                    <a:pt x="602" y="1018"/>
                  </a:cubicBezTo>
                  <a:cubicBezTo>
                    <a:pt x="591" y="1029"/>
                    <a:pt x="584" y="1029"/>
                    <a:pt x="572" y="1022"/>
                  </a:cubicBezTo>
                  <a:cubicBezTo>
                    <a:pt x="561" y="1015"/>
                    <a:pt x="555" y="1008"/>
                    <a:pt x="559" y="993"/>
                  </a:cubicBezTo>
                  <a:cubicBezTo>
                    <a:pt x="571" y="940"/>
                    <a:pt x="533" y="899"/>
                    <a:pt x="481" y="911"/>
                  </a:cubicBezTo>
                  <a:cubicBezTo>
                    <a:pt x="465" y="915"/>
                    <a:pt x="457" y="912"/>
                    <a:pt x="449" y="899"/>
                  </a:cubicBezTo>
                  <a:cubicBezTo>
                    <a:pt x="442" y="885"/>
                    <a:pt x="447" y="879"/>
                    <a:pt x="457" y="869"/>
                  </a:cubicBezTo>
                  <a:cubicBezTo>
                    <a:pt x="495" y="832"/>
                    <a:pt x="479" y="773"/>
                    <a:pt x="428" y="760"/>
                  </a:cubicBezTo>
                  <a:cubicBezTo>
                    <a:pt x="412" y="757"/>
                    <a:pt x="407" y="749"/>
                    <a:pt x="406" y="734"/>
                  </a:cubicBezTo>
                  <a:cubicBezTo>
                    <a:pt x="405" y="715"/>
                    <a:pt x="414" y="715"/>
                    <a:pt x="428" y="711"/>
                  </a:cubicBezTo>
                  <a:cubicBezTo>
                    <a:pt x="478" y="698"/>
                    <a:pt x="493" y="640"/>
                    <a:pt x="459" y="603"/>
                  </a:cubicBezTo>
                  <a:cubicBezTo>
                    <a:pt x="448" y="591"/>
                    <a:pt x="442" y="583"/>
                    <a:pt x="452" y="566"/>
                  </a:cubicBezTo>
                  <a:cubicBezTo>
                    <a:pt x="463" y="549"/>
                    <a:pt x="472" y="557"/>
                    <a:pt x="485" y="560"/>
                  </a:cubicBezTo>
                  <a:cubicBezTo>
                    <a:pt x="530" y="573"/>
                    <a:pt x="576" y="526"/>
                    <a:pt x="562" y="481"/>
                  </a:cubicBezTo>
                  <a:cubicBezTo>
                    <a:pt x="558" y="466"/>
                    <a:pt x="555" y="458"/>
                    <a:pt x="570" y="449"/>
                  </a:cubicBezTo>
                  <a:cubicBezTo>
                    <a:pt x="585" y="440"/>
                    <a:pt x="593" y="445"/>
                    <a:pt x="604" y="455"/>
                  </a:cubicBezTo>
                  <a:cubicBezTo>
                    <a:pt x="645" y="491"/>
                    <a:pt x="700" y="476"/>
                    <a:pt x="714" y="424"/>
                  </a:cubicBezTo>
                  <a:cubicBezTo>
                    <a:pt x="718" y="407"/>
                    <a:pt x="723" y="403"/>
                    <a:pt x="738" y="404"/>
                  </a:cubicBezTo>
                  <a:cubicBezTo>
                    <a:pt x="755" y="404"/>
                    <a:pt x="763" y="411"/>
                    <a:pt x="763" y="427"/>
                  </a:cubicBezTo>
                  <a:cubicBezTo>
                    <a:pt x="763" y="449"/>
                    <a:pt x="773" y="464"/>
                    <a:pt x="794" y="466"/>
                  </a:cubicBezTo>
                  <a:cubicBezTo>
                    <a:pt x="820" y="469"/>
                    <a:pt x="849" y="492"/>
                    <a:pt x="871" y="456"/>
                  </a:cubicBezTo>
                  <a:cubicBezTo>
                    <a:pt x="878" y="443"/>
                    <a:pt x="888" y="439"/>
                    <a:pt x="903" y="447"/>
                  </a:cubicBezTo>
                  <a:cubicBezTo>
                    <a:pt x="918" y="455"/>
                    <a:pt x="916" y="466"/>
                    <a:pt x="913" y="480"/>
                  </a:cubicBezTo>
                  <a:cubicBezTo>
                    <a:pt x="902" y="528"/>
                    <a:pt x="946" y="570"/>
                    <a:pt x="994" y="557"/>
                  </a:cubicBezTo>
                  <a:cubicBezTo>
                    <a:pt x="1011" y="552"/>
                    <a:pt x="1017" y="558"/>
                    <a:pt x="1025" y="571"/>
                  </a:cubicBezTo>
                  <a:cubicBezTo>
                    <a:pt x="1033" y="584"/>
                    <a:pt x="1029" y="591"/>
                    <a:pt x="1020" y="600"/>
                  </a:cubicBezTo>
                  <a:cubicBezTo>
                    <a:pt x="984" y="636"/>
                    <a:pt x="998" y="697"/>
                    <a:pt x="1046" y="711"/>
                  </a:cubicBezTo>
                  <a:cubicBezTo>
                    <a:pt x="1060" y="715"/>
                    <a:pt x="1072" y="715"/>
                    <a:pt x="1071" y="733"/>
                  </a:cubicBezTo>
                  <a:cubicBezTo>
                    <a:pt x="1071" y="752"/>
                    <a:pt x="1060" y="757"/>
                    <a:pt x="1044" y="7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122" name="Conector reto 2121">
            <a:extLst>
              <a:ext uri="{FF2B5EF4-FFF2-40B4-BE49-F238E27FC236}">
                <a16:creationId xmlns:a16="http://schemas.microsoft.com/office/drawing/2014/main" id="{71BD0BCA-679E-667C-8F6A-15003816DA9B}"/>
              </a:ext>
            </a:extLst>
          </p:cNvPr>
          <p:cNvCxnSpPr>
            <a:cxnSpLocks/>
          </p:cNvCxnSpPr>
          <p:nvPr/>
        </p:nvCxnSpPr>
        <p:spPr>
          <a:xfrm>
            <a:off x="1496469" y="5414538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0" name="CaixaDeTexto 2139">
            <a:extLst>
              <a:ext uri="{FF2B5EF4-FFF2-40B4-BE49-F238E27FC236}">
                <a16:creationId xmlns:a16="http://schemas.microsoft.com/office/drawing/2014/main" id="{0539C688-8E1A-F48B-ECCC-0574231EB520}"/>
              </a:ext>
            </a:extLst>
          </p:cNvPr>
          <p:cNvSpPr txBox="1"/>
          <p:nvPr/>
        </p:nvSpPr>
        <p:spPr>
          <a:xfrm>
            <a:off x="1554773" y="4294633"/>
            <a:ext cx="58330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perfeiçoar a cobertura de asseguração por meio da integração entre as linhas, incluindo riscos operacionais (</a:t>
            </a: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Bow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</a:t>
            </a: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ie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)</a:t>
            </a:r>
          </a:p>
        </p:txBody>
      </p:sp>
      <p:sp>
        <p:nvSpPr>
          <p:cNvPr id="2141" name="CaixaDeTexto 2140">
            <a:extLst>
              <a:ext uri="{FF2B5EF4-FFF2-40B4-BE49-F238E27FC236}">
                <a16:creationId xmlns:a16="http://schemas.microsoft.com/office/drawing/2014/main" id="{43017AFE-D4FB-6782-57CA-11E0BA73C4D8}"/>
              </a:ext>
            </a:extLst>
          </p:cNvPr>
          <p:cNvSpPr txBox="1"/>
          <p:nvPr/>
        </p:nvSpPr>
        <p:spPr>
          <a:xfrm>
            <a:off x="1514029" y="5495573"/>
            <a:ext cx="55230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Desenvolver e gerenciar talentos de auditoria por meio de programas de mentoria interna e externa</a:t>
            </a:r>
          </a:p>
        </p:txBody>
      </p:sp>
      <p:cxnSp>
        <p:nvCxnSpPr>
          <p:cNvPr id="2142" name="Conector reto 2141">
            <a:extLst>
              <a:ext uri="{FF2B5EF4-FFF2-40B4-BE49-F238E27FC236}">
                <a16:creationId xmlns:a16="http://schemas.microsoft.com/office/drawing/2014/main" id="{F69F460B-1E16-EA5C-F394-70B061FEFD0D}"/>
              </a:ext>
            </a:extLst>
          </p:cNvPr>
          <p:cNvCxnSpPr>
            <a:cxnSpLocks/>
          </p:cNvCxnSpPr>
          <p:nvPr/>
        </p:nvCxnSpPr>
        <p:spPr>
          <a:xfrm>
            <a:off x="1491937" y="6415455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3" name="Conector reto 2142">
            <a:extLst>
              <a:ext uri="{FF2B5EF4-FFF2-40B4-BE49-F238E27FC236}">
                <a16:creationId xmlns:a16="http://schemas.microsoft.com/office/drawing/2014/main" id="{372EC930-94C6-4A5A-FBB1-2D2109848883}"/>
              </a:ext>
            </a:extLst>
          </p:cNvPr>
          <p:cNvCxnSpPr>
            <a:cxnSpLocks/>
          </p:cNvCxnSpPr>
          <p:nvPr/>
        </p:nvCxnSpPr>
        <p:spPr>
          <a:xfrm>
            <a:off x="1539030" y="3158739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4" name="Gráfico 2143" descr="Conexões estrutura de tópicos">
            <a:extLst>
              <a:ext uri="{FF2B5EF4-FFF2-40B4-BE49-F238E27FC236}">
                <a16:creationId xmlns:a16="http://schemas.microsoft.com/office/drawing/2014/main" id="{55564F92-F644-5F39-8DFD-F19204AF4A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539" y="6471257"/>
            <a:ext cx="726077" cy="726077"/>
          </a:xfrm>
          <a:prstGeom prst="rect">
            <a:avLst/>
          </a:prstGeom>
        </p:spPr>
      </p:pic>
      <p:sp>
        <p:nvSpPr>
          <p:cNvPr id="2145" name="CaixaDeTexto 2144">
            <a:extLst>
              <a:ext uri="{FF2B5EF4-FFF2-40B4-BE49-F238E27FC236}">
                <a16:creationId xmlns:a16="http://schemas.microsoft.com/office/drawing/2014/main" id="{8565ED91-6032-3705-E897-0FFE48B72E18}"/>
              </a:ext>
            </a:extLst>
          </p:cNvPr>
          <p:cNvSpPr txBox="1"/>
          <p:nvPr/>
        </p:nvSpPr>
        <p:spPr>
          <a:xfrm>
            <a:off x="1505890" y="7597138"/>
            <a:ext cx="55436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mplementar alertas automáticos para desvios em indicadores-chave </a:t>
            </a:r>
          </a:p>
        </p:txBody>
      </p:sp>
      <p:cxnSp>
        <p:nvCxnSpPr>
          <p:cNvPr id="2146" name="Conector reto 2145">
            <a:extLst>
              <a:ext uri="{FF2B5EF4-FFF2-40B4-BE49-F238E27FC236}">
                <a16:creationId xmlns:a16="http://schemas.microsoft.com/office/drawing/2014/main" id="{038E4EB0-B56F-FC0C-DCB7-479F774C2294}"/>
              </a:ext>
            </a:extLst>
          </p:cNvPr>
          <p:cNvCxnSpPr>
            <a:cxnSpLocks/>
          </p:cNvCxnSpPr>
          <p:nvPr/>
        </p:nvCxnSpPr>
        <p:spPr>
          <a:xfrm>
            <a:off x="1479816" y="7552612"/>
            <a:ext cx="0" cy="795805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0" name="Gráfico 2149" descr="Professor estrutura de tópicos">
            <a:extLst>
              <a:ext uri="{FF2B5EF4-FFF2-40B4-BE49-F238E27FC236}">
                <a16:creationId xmlns:a16="http://schemas.microsoft.com/office/drawing/2014/main" id="{995DF205-D779-1EE5-864E-628DAA25EB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3074" y="4458196"/>
            <a:ext cx="643853" cy="643853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ACBC66E8-4623-C0A9-DCBD-9AF4FF2D9BC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039081" y="1810865"/>
            <a:ext cx="890313" cy="2152937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D8996EE3-D2C5-7FC6-DFF0-D6E724116674}"/>
              </a:ext>
            </a:extLst>
          </p:cNvPr>
          <p:cNvSpPr txBox="1"/>
          <p:nvPr/>
        </p:nvSpPr>
        <p:spPr>
          <a:xfrm>
            <a:off x="8654706" y="2681028"/>
            <a:ext cx="61097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AINT 2026 no Novo Sistema de Gestão da Auditoria</a:t>
            </a: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C6E88C8E-5FAE-0030-8751-7FA90B35C0CC}"/>
              </a:ext>
            </a:extLst>
          </p:cNvPr>
          <p:cNvGrpSpPr/>
          <p:nvPr/>
        </p:nvGrpSpPr>
        <p:grpSpPr>
          <a:xfrm>
            <a:off x="8588596" y="3711727"/>
            <a:ext cx="1152000" cy="1128081"/>
            <a:chOff x="2239433" y="1925884"/>
            <a:chExt cx="1152000" cy="1128081"/>
          </a:xfrm>
        </p:grpSpPr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00DE825A-75A1-7CF7-EC46-E22FEE7ED6D1}"/>
                </a:ext>
              </a:extLst>
            </p:cNvPr>
            <p:cNvGrpSpPr/>
            <p:nvPr/>
          </p:nvGrpSpPr>
          <p:grpSpPr>
            <a:xfrm>
              <a:off x="2258024" y="1932103"/>
              <a:ext cx="1114816" cy="1114816"/>
              <a:chOff x="1401905" y="1234013"/>
              <a:chExt cx="1114816" cy="1114816"/>
            </a:xfrm>
          </p:grpSpPr>
          <p:sp>
            <p:nvSpPr>
              <p:cNvPr id="23" name="Elipse 22">
                <a:extLst>
                  <a:ext uri="{FF2B5EF4-FFF2-40B4-BE49-F238E27FC236}">
                    <a16:creationId xmlns:a16="http://schemas.microsoft.com/office/drawing/2014/main" id="{52BC8035-8A1D-63C1-88DA-55708D5F54DC}"/>
                  </a:ext>
                </a:extLst>
              </p:cNvPr>
              <p:cNvSpPr/>
              <p:nvPr/>
            </p:nvSpPr>
            <p:spPr>
              <a:xfrm>
                <a:off x="1401905" y="1234013"/>
                <a:ext cx="1114816" cy="1114816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etrobras Sans"/>
                  <a:ea typeface="+mn-ea"/>
                  <a:cs typeface="+mn-cs"/>
                </a:endParaRPr>
              </a:p>
            </p:txBody>
          </p:sp>
          <p:pic>
            <p:nvPicPr>
              <p:cNvPr id="24" name="Gráfico 23">
                <a:extLst>
                  <a:ext uri="{FF2B5EF4-FFF2-40B4-BE49-F238E27FC236}">
                    <a16:creationId xmlns:a16="http://schemas.microsoft.com/office/drawing/2014/main" id="{F733B221-8E96-7301-CF03-B092A28E6D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1600956" y="1443203"/>
                <a:ext cx="684000" cy="684000"/>
              </a:xfrm>
              <a:prstGeom prst="rect">
                <a:avLst/>
              </a:prstGeom>
            </p:spPr>
          </p:pic>
        </p:grpSp>
        <p:sp>
          <p:nvSpPr>
            <p:cNvPr id="22" name="Semicírculo 21">
              <a:extLst>
                <a:ext uri="{FF2B5EF4-FFF2-40B4-BE49-F238E27FC236}">
                  <a16:creationId xmlns:a16="http://schemas.microsoft.com/office/drawing/2014/main" id="{27522FD2-8BC4-7B38-F9E0-E7DF9E1D6BE5}"/>
                </a:ext>
              </a:extLst>
            </p:cNvPr>
            <p:cNvSpPr/>
            <p:nvPr/>
          </p:nvSpPr>
          <p:spPr>
            <a:xfrm rot="10800000">
              <a:off x="2239433" y="1925884"/>
              <a:ext cx="1152000" cy="1128081"/>
            </a:xfrm>
            <a:prstGeom prst="blockArc">
              <a:avLst>
                <a:gd name="adj1" fmla="val 10800000"/>
                <a:gd name="adj2" fmla="val 0"/>
                <a:gd name="adj3" fmla="val 6395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endParaRPr>
            </a:p>
          </p:txBody>
        </p:sp>
      </p:grp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6298692-7854-63E6-ABB5-0D3EEC55692C}"/>
              </a:ext>
            </a:extLst>
          </p:cNvPr>
          <p:cNvSpPr txBox="1"/>
          <p:nvPr/>
        </p:nvSpPr>
        <p:spPr>
          <a:xfrm>
            <a:off x="7846329" y="6175176"/>
            <a:ext cx="2636446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xecução e gestão do PAI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Migração de dados histórico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xecução e gestão dos trabalhos SOX - Auditoria e CONF.</a:t>
            </a:r>
          </a:p>
        </p:txBody>
      </p:sp>
      <p:sp>
        <p:nvSpPr>
          <p:cNvPr id="26" name="Retângulo: Cantos Arredondados 25">
            <a:extLst>
              <a:ext uri="{FF2B5EF4-FFF2-40B4-BE49-F238E27FC236}">
                <a16:creationId xmlns:a16="http://schemas.microsoft.com/office/drawing/2014/main" id="{87FBA79E-EA6D-3A30-D25A-4F3C48E73FE7}"/>
              </a:ext>
            </a:extLst>
          </p:cNvPr>
          <p:cNvSpPr/>
          <p:nvPr/>
        </p:nvSpPr>
        <p:spPr>
          <a:xfrm>
            <a:off x="7814552" y="5433519"/>
            <a:ext cx="2700000" cy="2064866"/>
          </a:xfrm>
          <a:prstGeom prst="roundRect">
            <a:avLst>
              <a:gd name="adj" fmla="val 11548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AC61085D-A8CC-BFB1-9E4D-BC98349968FF}"/>
              </a:ext>
            </a:extLst>
          </p:cNvPr>
          <p:cNvSpPr txBox="1"/>
          <p:nvPr/>
        </p:nvSpPr>
        <p:spPr>
          <a:xfrm>
            <a:off x="7825548" y="5634373"/>
            <a:ext cx="2638680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EBFF00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MPLANTAÇÃO DO DILIGENT ONE</a:t>
            </a: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CB69B453-7C24-B2EE-BD22-D506BBCB838A}"/>
              </a:ext>
            </a:extLst>
          </p:cNvPr>
          <p:cNvCxnSpPr>
            <a:cxnSpLocks/>
            <a:stCxn id="23" idx="4"/>
            <a:endCxn id="26" idx="0"/>
          </p:cNvCxnSpPr>
          <p:nvPr/>
        </p:nvCxnSpPr>
        <p:spPr>
          <a:xfrm flipH="1">
            <a:off x="9164552" y="4832762"/>
            <a:ext cx="43" cy="60075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Elipse 29">
            <a:extLst>
              <a:ext uri="{FF2B5EF4-FFF2-40B4-BE49-F238E27FC236}">
                <a16:creationId xmlns:a16="http://schemas.microsoft.com/office/drawing/2014/main" id="{9370250A-5B84-F477-168F-27F3470BF397}"/>
              </a:ext>
            </a:extLst>
          </p:cNvPr>
          <p:cNvSpPr/>
          <p:nvPr/>
        </p:nvSpPr>
        <p:spPr>
          <a:xfrm>
            <a:off x="9065799" y="5324181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CEAD34F-B05E-5880-AB5B-313F90F62C5D}"/>
              </a:ext>
            </a:extLst>
          </p:cNvPr>
          <p:cNvSpPr/>
          <p:nvPr/>
        </p:nvSpPr>
        <p:spPr>
          <a:xfrm>
            <a:off x="9065799" y="7399632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9F52B146-1A7B-F56D-56AD-8D05AAAFFAE3}"/>
              </a:ext>
            </a:extLst>
          </p:cNvPr>
          <p:cNvGrpSpPr/>
          <p:nvPr/>
        </p:nvGrpSpPr>
        <p:grpSpPr>
          <a:xfrm>
            <a:off x="11630630" y="3695763"/>
            <a:ext cx="1152000" cy="1128081"/>
            <a:chOff x="5365377" y="1925884"/>
            <a:chExt cx="1152000" cy="1128081"/>
          </a:xfrm>
        </p:grpSpPr>
        <p:grpSp>
          <p:nvGrpSpPr>
            <p:cNvPr id="34" name="Agrupar 33">
              <a:extLst>
                <a:ext uri="{FF2B5EF4-FFF2-40B4-BE49-F238E27FC236}">
                  <a16:creationId xmlns:a16="http://schemas.microsoft.com/office/drawing/2014/main" id="{CDCF0218-6A16-3D3E-BDE7-BC60C1E116CE}"/>
                </a:ext>
              </a:extLst>
            </p:cNvPr>
            <p:cNvGrpSpPr/>
            <p:nvPr/>
          </p:nvGrpSpPr>
          <p:grpSpPr>
            <a:xfrm>
              <a:off x="5383969" y="1925885"/>
              <a:ext cx="1114816" cy="1114816"/>
              <a:chOff x="1401905" y="3074393"/>
              <a:chExt cx="1114816" cy="1114816"/>
            </a:xfrm>
          </p:grpSpPr>
          <p:sp>
            <p:nvSpPr>
              <p:cNvPr id="36" name="Elipse 35">
                <a:extLst>
                  <a:ext uri="{FF2B5EF4-FFF2-40B4-BE49-F238E27FC236}">
                    <a16:creationId xmlns:a16="http://schemas.microsoft.com/office/drawing/2014/main" id="{29B5787E-00CB-193B-3BDA-871CE240A3E5}"/>
                  </a:ext>
                </a:extLst>
              </p:cNvPr>
              <p:cNvSpPr/>
              <p:nvPr/>
            </p:nvSpPr>
            <p:spPr>
              <a:xfrm>
                <a:off x="1401905" y="3074393"/>
                <a:ext cx="1114816" cy="1114816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etrobras Sans"/>
                  <a:ea typeface="+mn-ea"/>
                  <a:cs typeface="+mn-cs"/>
                </a:endParaRPr>
              </a:p>
            </p:txBody>
          </p:sp>
          <p:pic>
            <p:nvPicPr>
              <p:cNvPr id="37" name="Gráfico 36">
                <a:extLst>
                  <a:ext uri="{FF2B5EF4-FFF2-40B4-BE49-F238E27FC236}">
                    <a16:creationId xmlns:a16="http://schemas.microsoft.com/office/drawing/2014/main" id="{0A8B4139-8A82-2F32-AF4D-2CAA32B308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600956" y="3289801"/>
                <a:ext cx="684000" cy="684000"/>
              </a:xfrm>
              <a:prstGeom prst="rect">
                <a:avLst/>
              </a:prstGeom>
            </p:spPr>
          </p:pic>
        </p:grpSp>
        <p:sp>
          <p:nvSpPr>
            <p:cNvPr id="35" name="Semicírculo 34">
              <a:extLst>
                <a:ext uri="{FF2B5EF4-FFF2-40B4-BE49-F238E27FC236}">
                  <a16:creationId xmlns:a16="http://schemas.microsoft.com/office/drawing/2014/main" id="{E2DEC6AC-A880-93F9-D070-AF02EB3C009E}"/>
                </a:ext>
              </a:extLst>
            </p:cNvPr>
            <p:cNvSpPr/>
            <p:nvPr/>
          </p:nvSpPr>
          <p:spPr>
            <a:xfrm rot="10800000">
              <a:off x="5365377" y="1925884"/>
              <a:ext cx="1152000" cy="1128081"/>
            </a:xfrm>
            <a:prstGeom prst="blockArc">
              <a:avLst>
                <a:gd name="adj1" fmla="val 10800000"/>
                <a:gd name="adj2" fmla="val 0"/>
                <a:gd name="adj3" fmla="val 6395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endParaRPr>
            </a:p>
          </p:txBody>
        </p:sp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84CBBE3-F9A4-254E-DDAA-C35EDE654F6C}"/>
              </a:ext>
            </a:extLst>
          </p:cNvPr>
          <p:cNvSpPr txBox="1"/>
          <p:nvPr/>
        </p:nvSpPr>
        <p:spPr>
          <a:xfrm>
            <a:off x="10888634" y="6183339"/>
            <a:ext cx="2700000" cy="1200329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Utilização de fluxos de dados (PAINT, planos de ação e apontamento de horas)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riação de novos fluxos de dados (solicitações, projetos/processos estratégicos).</a:t>
            </a:r>
          </a:p>
        </p:txBody>
      </p: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735D5BFC-068B-5FA1-6677-677215F6126D}"/>
              </a:ext>
            </a:extLst>
          </p:cNvPr>
          <p:cNvSpPr/>
          <p:nvPr/>
        </p:nvSpPr>
        <p:spPr>
          <a:xfrm>
            <a:off x="10840273" y="5417555"/>
            <a:ext cx="2700000" cy="2064866"/>
          </a:xfrm>
          <a:prstGeom prst="roundRect">
            <a:avLst>
              <a:gd name="adj" fmla="val 11548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2949087-7A71-9F72-D6AA-1E143E7EC4E1}"/>
              </a:ext>
            </a:extLst>
          </p:cNvPr>
          <p:cNvSpPr txBox="1"/>
          <p:nvPr/>
        </p:nvSpPr>
        <p:spPr>
          <a:xfrm>
            <a:off x="10874284" y="5558992"/>
            <a:ext cx="247854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EBFF00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INTEGRAÇÃO COM PAINÉIS POWER BI</a:t>
            </a:r>
          </a:p>
        </p:txBody>
      </p: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F2D9DD36-F268-6377-7BD2-7CFB3E6F9573}"/>
              </a:ext>
            </a:extLst>
          </p:cNvPr>
          <p:cNvCxnSpPr>
            <a:cxnSpLocks/>
          </p:cNvCxnSpPr>
          <p:nvPr/>
        </p:nvCxnSpPr>
        <p:spPr>
          <a:xfrm flipH="1">
            <a:off x="12209994" y="4816798"/>
            <a:ext cx="43" cy="60075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Elipse 41">
            <a:extLst>
              <a:ext uri="{FF2B5EF4-FFF2-40B4-BE49-F238E27FC236}">
                <a16:creationId xmlns:a16="http://schemas.microsoft.com/office/drawing/2014/main" id="{8FEE343A-27FF-2A9B-BE29-5E4B78706DB2}"/>
              </a:ext>
            </a:extLst>
          </p:cNvPr>
          <p:cNvSpPr/>
          <p:nvPr/>
        </p:nvSpPr>
        <p:spPr>
          <a:xfrm>
            <a:off x="12111241" y="5308217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11FD3B85-5A99-9CE2-260E-C1B336D7A08C}"/>
              </a:ext>
            </a:extLst>
          </p:cNvPr>
          <p:cNvSpPr/>
          <p:nvPr/>
        </p:nvSpPr>
        <p:spPr>
          <a:xfrm>
            <a:off x="12111241" y="7383668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75" name="Agrupar 74">
            <a:extLst>
              <a:ext uri="{FF2B5EF4-FFF2-40B4-BE49-F238E27FC236}">
                <a16:creationId xmlns:a16="http://schemas.microsoft.com/office/drawing/2014/main" id="{3EEBBFB5-DC49-3F95-8E38-AEE2C98AC486}"/>
              </a:ext>
            </a:extLst>
          </p:cNvPr>
          <p:cNvGrpSpPr/>
          <p:nvPr/>
        </p:nvGrpSpPr>
        <p:grpSpPr>
          <a:xfrm>
            <a:off x="14669837" y="3704681"/>
            <a:ext cx="1152000" cy="1128081"/>
            <a:chOff x="8819159" y="1925884"/>
            <a:chExt cx="1152000" cy="1128081"/>
          </a:xfrm>
        </p:grpSpPr>
        <p:grpSp>
          <p:nvGrpSpPr>
            <p:cNvPr id="77" name="Agrupar 76">
              <a:extLst>
                <a:ext uri="{FF2B5EF4-FFF2-40B4-BE49-F238E27FC236}">
                  <a16:creationId xmlns:a16="http://schemas.microsoft.com/office/drawing/2014/main" id="{611C19D6-0C89-240B-9112-896C7DDEC24A}"/>
                </a:ext>
              </a:extLst>
            </p:cNvPr>
            <p:cNvGrpSpPr/>
            <p:nvPr/>
          </p:nvGrpSpPr>
          <p:grpSpPr>
            <a:xfrm>
              <a:off x="8837751" y="1925885"/>
              <a:ext cx="1114816" cy="1114816"/>
              <a:chOff x="1401905" y="4914773"/>
              <a:chExt cx="1114816" cy="1114816"/>
            </a:xfrm>
          </p:grpSpPr>
          <p:sp>
            <p:nvSpPr>
              <p:cNvPr id="82" name="Elipse 81">
                <a:extLst>
                  <a:ext uri="{FF2B5EF4-FFF2-40B4-BE49-F238E27FC236}">
                    <a16:creationId xmlns:a16="http://schemas.microsoft.com/office/drawing/2014/main" id="{ECCD2E0D-AC1B-BE37-F5D7-D9C658552ECC}"/>
                  </a:ext>
                </a:extLst>
              </p:cNvPr>
              <p:cNvSpPr/>
              <p:nvPr/>
            </p:nvSpPr>
            <p:spPr>
              <a:xfrm>
                <a:off x="1401905" y="4914773"/>
                <a:ext cx="1114816" cy="1114816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etrobras Sans"/>
                  <a:ea typeface="+mn-ea"/>
                  <a:cs typeface="+mn-cs"/>
                </a:endParaRPr>
              </a:p>
            </p:txBody>
          </p:sp>
          <p:pic>
            <p:nvPicPr>
              <p:cNvPr id="84" name="Gráfico 83">
                <a:extLst>
                  <a:ext uri="{FF2B5EF4-FFF2-40B4-BE49-F238E27FC236}">
                    <a16:creationId xmlns:a16="http://schemas.microsoft.com/office/drawing/2014/main" id="{7D3AD284-C1DB-F3F2-2F27-C46E817008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617313" y="5130179"/>
                <a:ext cx="684000" cy="684000"/>
              </a:xfrm>
              <a:prstGeom prst="rect">
                <a:avLst/>
              </a:prstGeom>
            </p:spPr>
          </p:pic>
        </p:grpSp>
        <p:sp>
          <p:nvSpPr>
            <p:cNvPr id="78" name="Semicírculo 77">
              <a:extLst>
                <a:ext uri="{FF2B5EF4-FFF2-40B4-BE49-F238E27FC236}">
                  <a16:creationId xmlns:a16="http://schemas.microsoft.com/office/drawing/2014/main" id="{82DE7E2C-7D78-4DEC-601A-5FF8E34891E7}"/>
                </a:ext>
              </a:extLst>
            </p:cNvPr>
            <p:cNvSpPr/>
            <p:nvPr/>
          </p:nvSpPr>
          <p:spPr>
            <a:xfrm rot="10800000">
              <a:off x="8819159" y="1925884"/>
              <a:ext cx="1152000" cy="1128081"/>
            </a:xfrm>
            <a:prstGeom prst="blockArc">
              <a:avLst>
                <a:gd name="adj1" fmla="val 10800000"/>
                <a:gd name="adj2" fmla="val 0"/>
                <a:gd name="adj3" fmla="val 6395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endParaRPr>
            </a:p>
          </p:txBody>
        </p:sp>
      </p:grp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2A6F686F-D8DC-2C25-6538-781CA7215C27}"/>
              </a:ext>
            </a:extLst>
          </p:cNvPr>
          <p:cNvSpPr txBox="1"/>
          <p:nvPr/>
        </p:nvSpPr>
        <p:spPr>
          <a:xfrm>
            <a:off x="13914608" y="6135595"/>
            <a:ext cx="2636446" cy="1015663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municação e conscientização de auditores e auditado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Suporte contínuo aos auditore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tualizações do manual e vídeos orientativos - sob demanda.</a:t>
            </a:r>
          </a:p>
        </p:txBody>
      </p:sp>
      <p:sp>
        <p:nvSpPr>
          <p:cNvPr id="87" name="Retângulo: Cantos Arredondados 86">
            <a:extLst>
              <a:ext uri="{FF2B5EF4-FFF2-40B4-BE49-F238E27FC236}">
                <a16:creationId xmlns:a16="http://schemas.microsoft.com/office/drawing/2014/main" id="{30CDC8B0-C4BF-C477-A0DC-CBF824B1064C}"/>
              </a:ext>
            </a:extLst>
          </p:cNvPr>
          <p:cNvSpPr/>
          <p:nvPr/>
        </p:nvSpPr>
        <p:spPr>
          <a:xfrm>
            <a:off x="13882831" y="5426473"/>
            <a:ext cx="2700000" cy="2064866"/>
          </a:xfrm>
          <a:prstGeom prst="roundRect">
            <a:avLst>
              <a:gd name="adj" fmla="val 11548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99720C70-601A-0E21-9795-396E0C2607D5}"/>
              </a:ext>
            </a:extLst>
          </p:cNvPr>
          <p:cNvSpPr txBox="1"/>
          <p:nvPr/>
        </p:nvSpPr>
        <p:spPr>
          <a:xfrm>
            <a:off x="13919088" y="5534994"/>
            <a:ext cx="263868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EBFF00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GESTÃO DE MUDANÇAS, TREINAMENTO E COMUNICAÇÃO</a:t>
            </a:r>
          </a:p>
        </p:txBody>
      </p:sp>
      <p:cxnSp>
        <p:nvCxnSpPr>
          <p:cNvPr id="89" name="Conector reto 88">
            <a:extLst>
              <a:ext uri="{FF2B5EF4-FFF2-40B4-BE49-F238E27FC236}">
                <a16:creationId xmlns:a16="http://schemas.microsoft.com/office/drawing/2014/main" id="{2DA234E5-AE2B-BCC1-BA16-EB1123DA1DD5}"/>
              </a:ext>
            </a:extLst>
          </p:cNvPr>
          <p:cNvCxnSpPr>
            <a:cxnSpLocks/>
          </p:cNvCxnSpPr>
          <p:nvPr/>
        </p:nvCxnSpPr>
        <p:spPr>
          <a:xfrm flipH="1">
            <a:off x="15249201" y="4825716"/>
            <a:ext cx="43" cy="60075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Elipse 90">
            <a:extLst>
              <a:ext uri="{FF2B5EF4-FFF2-40B4-BE49-F238E27FC236}">
                <a16:creationId xmlns:a16="http://schemas.microsoft.com/office/drawing/2014/main" id="{0743E609-0DC8-2777-8CB7-2E29DC3990AC}"/>
              </a:ext>
            </a:extLst>
          </p:cNvPr>
          <p:cNvSpPr/>
          <p:nvPr/>
        </p:nvSpPr>
        <p:spPr>
          <a:xfrm>
            <a:off x="15150448" y="5317135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93" name="Elipse 92">
            <a:extLst>
              <a:ext uri="{FF2B5EF4-FFF2-40B4-BE49-F238E27FC236}">
                <a16:creationId xmlns:a16="http://schemas.microsoft.com/office/drawing/2014/main" id="{7575E147-1888-554E-582C-BC60F0EBD345}"/>
              </a:ext>
            </a:extLst>
          </p:cNvPr>
          <p:cNvSpPr/>
          <p:nvPr/>
        </p:nvSpPr>
        <p:spPr>
          <a:xfrm>
            <a:off x="15150448" y="7392586"/>
            <a:ext cx="197506" cy="19750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98" name="Imagem 97">
            <a:extLst>
              <a:ext uri="{FF2B5EF4-FFF2-40B4-BE49-F238E27FC236}">
                <a16:creationId xmlns:a16="http://schemas.microsoft.com/office/drawing/2014/main" id="{5757FFCE-1013-8C1E-915A-F4E1C90961A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4748671" y="2588849"/>
            <a:ext cx="1949793" cy="63914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021EA91E-7924-4ED7-C1EA-A8CDA799A0EF}"/>
              </a:ext>
            </a:extLst>
          </p:cNvPr>
          <p:cNvSpPr txBox="1"/>
          <p:nvPr/>
        </p:nvSpPr>
        <p:spPr>
          <a:xfrm>
            <a:off x="1523715" y="6478546"/>
            <a:ext cx="55436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58">
                <a:solidFill>
                  <a:srgbClr val="75787B">
                    <a:lumMod val="75000"/>
                  </a:srgbClr>
                </a:solidFill>
                <a:latin typeface="Petrobras San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>
                    <a:lumMod val="75000"/>
                  </a:srgbClr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omover engajamento das partes interessadas por meio do programa  Auditor Convidad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D06A5B68-9A7E-198D-A1F8-0F60EA37FC2B}"/>
              </a:ext>
            </a:extLst>
          </p:cNvPr>
          <p:cNvPicPr/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04615" y="5695461"/>
            <a:ext cx="514350" cy="32385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DCABB76C-0753-22F9-D830-602CF2C65006}"/>
              </a:ext>
            </a:extLst>
          </p:cNvPr>
          <p:cNvPicPr/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23946" y="2391738"/>
            <a:ext cx="466725" cy="438150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55766F9-841A-C04B-53B9-0F1DD89D4224}"/>
              </a:ext>
            </a:extLst>
          </p:cNvPr>
          <p:cNvPicPr/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73025" y="3306867"/>
            <a:ext cx="409575" cy="46672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F1FFAB83-10F7-85BB-6907-E0E61D08E3B7}"/>
              </a:ext>
            </a:extLst>
          </p:cNvPr>
          <p:cNvPicPr/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04615" y="7688887"/>
            <a:ext cx="514350" cy="38100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822EE42B-74CE-F161-424C-9007DAB45F8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74262" y="12578"/>
            <a:ext cx="2891478" cy="8581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95119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áfico 22">
            <a:extLst>
              <a:ext uri="{FF2B5EF4-FFF2-40B4-BE49-F238E27FC236}">
                <a16:creationId xmlns:a16="http://schemas.microsoft.com/office/drawing/2014/main" id="{AF0763B4-7E85-BFE5-0FFB-829EE1DB35C4}"/>
              </a:ext>
            </a:extLst>
          </p:cNvPr>
          <p:cNvSpPr/>
          <p:nvPr/>
        </p:nvSpPr>
        <p:spPr>
          <a:xfrm>
            <a:off x="-3438938" y="-2139476"/>
            <a:ext cx="24323790" cy="12373429"/>
          </a:xfrm>
          <a:custGeom>
            <a:avLst/>
            <a:gdLst>
              <a:gd name="connsiteX0" fmla="*/ 15928746 w 15943379"/>
              <a:gd name="connsiteY0" fmla="*/ 101423 h 7442786"/>
              <a:gd name="connsiteX1" fmla="*/ 15896265 w 15943379"/>
              <a:gd name="connsiteY1" fmla="*/ 91955 h 7442786"/>
              <a:gd name="connsiteX2" fmla="*/ 13607349 w 15943379"/>
              <a:gd name="connsiteY2" fmla="*/ 6304818 h 7442786"/>
              <a:gd name="connsiteX3" fmla="*/ 13278399 w 15943379"/>
              <a:gd name="connsiteY3" fmla="*/ 6543285 h 7442786"/>
              <a:gd name="connsiteX4" fmla="*/ 3007024 w 15943379"/>
              <a:gd name="connsiteY4" fmla="*/ 6920392 h 7442786"/>
              <a:gd name="connsiteX5" fmla="*/ 2671867 w 15943379"/>
              <a:gd name="connsiteY5" fmla="*/ 6702304 h 7442786"/>
              <a:gd name="connsiteX6" fmla="*/ 44156 w 15943379"/>
              <a:gd name="connsiteY6" fmla="*/ 127195 h 7442786"/>
              <a:gd name="connsiteX7" fmla="*/ 24278 w 15943379"/>
              <a:gd name="connsiteY7" fmla="*/ 134218 h 7442786"/>
              <a:gd name="connsiteX8" fmla="*/ 2165086 w 15943379"/>
              <a:gd name="connsiteY8" fmla="*/ 7209461 h 7442786"/>
              <a:gd name="connsiteX9" fmla="*/ 2480429 w 15943379"/>
              <a:gd name="connsiteY9" fmla="*/ 7442786 h 7442786"/>
              <a:gd name="connsiteX10" fmla="*/ 14093374 w 15943379"/>
              <a:gd name="connsiteY10" fmla="*/ 7406668 h 7442786"/>
              <a:gd name="connsiteX11" fmla="*/ 14389969 w 15943379"/>
              <a:gd name="connsiteY11" fmla="*/ 7166947 h 7442786"/>
              <a:gd name="connsiteX12" fmla="*/ 15928746 w 15943379"/>
              <a:gd name="connsiteY12" fmla="*/ 101423 h 7442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943379" h="7442786">
                <a:moveTo>
                  <a:pt x="15928746" y="101423"/>
                </a:moveTo>
                <a:cubicBezTo>
                  <a:pt x="15957340" y="-30006"/>
                  <a:pt x="15942729" y="-34270"/>
                  <a:pt x="15896265" y="91955"/>
                </a:cubicBezTo>
                <a:lnTo>
                  <a:pt x="13607349" y="6304818"/>
                </a:lnTo>
                <a:cubicBezTo>
                  <a:pt x="13560821" y="6431043"/>
                  <a:pt x="13412838" y="6538331"/>
                  <a:pt x="13278399" y="6543285"/>
                </a:cubicBezTo>
                <a:lnTo>
                  <a:pt x="3007024" y="6920392"/>
                </a:lnTo>
                <a:cubicBezTo>
                  <a:pt x="2872585" y="6925346"/>
                  <a:pt x="2721780" y="6827150"/>
                  <a:pt x="2671867" y="6702304"/>
                </a:cubicBezTo>
                <a:lnTo>
                  <a:pt x="44156" y="127195"/>
                </a:lnTo>
                <a:cubicBezTo>
                  <a:pt x="-5758" y="2287"/>
                  <a:pt x="-14724" y="5485"/>
                  <a:pt x="24278" y="134218"/>
                </a:cubicBezTo>
                <a:lnTo>
                  <a:pt x="2165086" y="7209461"/>
                </a:lnTo>
                <a:cubicBezTo>
                  <a:pt x="2204025" y="7338195"/>
                  <a:pt x="2345927" y="7443162"/>
                  <a:pt x="2480429" y="7442786"/>
                </a:cubicBezTo>
                <a:lnTo>
                  <a:pt x="14093374" y="7406668"/>
                </a:lnTo>
                <a:cubicBezTo>
                  <a:pt x="14227876" y="7406229"/>
                  <a:pt x="14361312" y="7298377"/>
                  <a:pt x="14389969" y="7166947"/>
                </a:cubicBezTo>
                <a:lnTo>
                  <a:pt x="15928746" y="101423"/>
                </a:lnTo>
                <a:close/>
              </a:path>
            </a:pathLst>
          </a:custGeom>
          <a:gradFill>
            <a:gsLst>
              <a:gs pos="36000">
                <a:schemeClr val="accent1">
                  <a:alpha val="90000"/>
                </a:schemeClr>
              </a:gs>
              <a:gs pos="0">
                <a:schemeClr val="tx2">
                  <a:alpha val="90000"/>
                </a:schemeClr>
              </a:gs>
            </a:gsLst>
            <a:lin ang="0" scaled="1"/>
          </a:gradFill>
          <a:ln w="62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2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CF85A115-3407-ADEB-FB13-352214B1DE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9704">
            <a:off x="-2880661" y="-680706"/>
            <a:ext cx="23761984" cy="10514399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84A57F89-F5FF-EF85-4A65-BA87B33AF45F}"/>
              </a:ext>
            </a:extLst>
          </p:cNvPr>
          <p:cNvSpPr txBox="1"/>
          <p:nvPr/>
        </p:nvSpPr>
        <p:spPr>
          <a:xfrm>
            <a:off x="392702" y="569696"/>
            <a:ext cx="5850677" cy="5868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3440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/>
                <a:ea typeface="+mn-ea"/>
                <a:cs typeface="+mn-cs"/>
              </a:rPr>
              <a:t>CONSIDERAÇÕES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 panose="020B0606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pt-BR" sz="3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/>
                <a:ea typeface="+mn-ea"/>
                <a:cs typeface="+mn-cs"/>
              </a:rPr>
              <a:t>FINAIS</a:t>
            </a:r>
          </a:p>
        </p:txBody>
      </p:sp>
      <p:sp>
        <p:nvSpPr>
          <p:cNvPr id="19" name="Fluxograma: Processo Alternativo 18">
            <a:extLst>
              <a:ext uri="{FF2B5EF4-FFF2-40B4-BE49-F238E27FC236}">
                <a16:creationId xmlns:a16="http://schemas.microsoft.com/office/drawing/2014/main" id="{E341D47C-4DAF-6CCD-3DC9-C6FE62C88A93}"/>
              </a:ext>
            </a:extLst>
          </p:cNvPr>
          <p:cNvSpPr/>
          <p:nvPr/>
        </p:nvSpPr>
        <p:spPr>
          <a:xfrm>
            <a:off x="1086887" y="2110950"/>
            <a:ext cx="15331736" cy="1781653"/>
          </a:xfrm>
          <a:prstGeom prst="flowChartAlternateProcess">
            <a:avLst/>
          </a:prstGeom>
          <a:noFill/>
          <a:ln>
            <a:solidFill>
              <a:srgbClr val="C4D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2" name="TextBox 15">
            <a:extLst>
              <a:ext uri="{FF2B5EF4-FFF2-40B4-BE49-F238E27FC236}">
                <a16:creationId xmlns:a16="http://schemas.microsoft.com/office/drawing/2014/main" id="{B5ABED9A-B9E4-B612-4DED-370E4EB94B7D}"/>
              </a:ext>
            </a:extLst>
          </p:cNvPr>
          <p:cNvSpPr txBox="1"/>
          <p:nvPr/>
        </p:nvSpPr>
        <p:spPr>
          <a:xfrm>
            <a:off x="6903551" y="2215617"/>
            <a:ext cx="4584066" cy="346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ts val="2694"/>
              </a:lnSpc>
              <a:defRPr sz="3600" b="1">
                <a:solidFill>
                  <a:schemeClr val="bg1"/>
                </a:solidFill>
                <a:latin typeface="Petrobras Sans" panose="020B0606020204030204" pitchFamily="34" charset="0"/>
              </a:defRPr>
            </a:lvl1pPr>
          </a:lstStyle>
          <a:p>
            <a:pPr marL="0" marR="0" lvl="0" indent="0" algn="l" defTabSz="896021" rtl="0" eaLnBrk="1" fontAlgn="auto" latinLnBrk="0" hangingPunct="1">
              <a:lnSpc>
                <a:spcPts val="269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1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Acompanhamento do Plano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C3C6FAD7-3F23-C586-E351-B7046F8B8DBC}"/>
              </a:ext>
            </a:extLst>
          </p:cNvPr>
          <p:cNvSpPr txBox="1"/>
          <p:nvPr/>
        </p:nvSpPr>
        <p:spPr>
          <a:xfrm>
            <a:off x="1270811" y="2648072"/>
            <a:ext cx="14951134" cy="102419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spcAft>
                <a:spcPts val="800"/>
              </a:spcAft>
              <a:defRPr i="1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Uma vez aprovado o PAINT 2026, conforme Regulamento da Auditoria Interna da Petrobras¹, o acompanhamento de seus resultados é realizado pelo Comitê de Auditoria Estatutário (CAE), sendo encaminhado para conhecimento da Diretoria Executiva, do Conselho de Administração e do Conselho Fiscal, por meio dos Relatórios Trimestrais de Atividades de Auditoria.</a:t>
            </a:r>
          </a:p>
        </p:txBody>
      </p:sp>
      <p:sp>
        <p:nvSpPr>
          <p:cNvPr id="24" name="Fluxograma: Processo Alternativo 23">
            <a:extLst>
              <a:ext uri="{FF2B5EF4-FFF2-40B4-BE49-F238E27FC236}">
                <a16:creationId xmlns:a16="http://schemas.microsoft.com/office/drawing/2014/main" id="{878C972A-5C62-7015-259B-919E4D70D6E6}"/>
              </a:ext>
            </a:extLst>
          </p:cNvPr>
          <p:cNvSpPr/>
          <p:nvPr/>
        </p:nvSpPr>
        <p:spPr>
          <a:xfrm>
            <a:off x="1093279" y="4204255"/>
            <a:ext cx="8031695" cy="4287381"/>
          </a:xfrm>
          <a:prstGeom prst="flowChartAlternateProcess">
            <a:avLst/>
          </a:prstGeom>
          <a:noFill/>
          <a:ln>
            <a:solidFill>
              <a:srgbClr val="00B2A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BEEC01C1-B743-A0EA-DFBD-B79BEBAC7A9D}"/>
              </a:ext>
            </a:extLst>
          </p:cNvPr>
          <p:cNvSpPr txBox="1"/>
          <p:nvPr/>
        </p:nvSpPr>
        <p:spPr>
          <a:xfrm>
            <a:off x="9654096" y="4758449"/>
            <a:ext cx="6635226" cy="335662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spcAft>
                <a:spcPts val="800"/>
              </a:spcAft>
              <a:defRPr sz="1600">
                <a:effectLst/>
                <a:latin typeface="Petrobras Sans Light" panose="020B040602020403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Em razão da complexidade dos processos a serem examinados, bem como de eventuais dificuldades operacionais para obtenção das informações, há risco inerente à atividade de auditoria de não cumprimento do Plano de Auditoria.</a:t>
            </a:r>
          </a:p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Para mitigação desse risco, desde 2021, realizamos revisão periódica do Plano e realizamos a gestão centralizada de cronograma e priorização dos trabalhos. Esta medida colabora para o tratamento de ameaças e oportunidades, de forma a otimizar a alocação dos recursos e a definição do melhor período de execução dos trabalhos.</a:t>
            </a: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F0A35B46-7004-B921-04EB-23FFAF5FDD1A}"/>
              </a:ext>
            </a:extLst>
          </p:cNvPr>
          <p:cNvSpPr txBox="1"/>
          <p:nvPr/>
        </p:nvSpPr>
        <p:spPr>
          <a:xfrm>
            <a:off x="3598788" y="4388364"/>
            <a:ext cx="4835162" cy="346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ts val="2694"/>
              </a:lnSpc>
              <a:defRPr sz="3600" b="1">
                <a:solidFill>
                  <a:schemeClr val="bg1"/>
                </a:solidFill>
                <a:latin typeface="Petrobras Sans" panose="020B0606020204030204" pitchFamily="34" charset="0"/>
              </a:defRPr>
            </a:lvl1pPr>
          </a:lstStyle>
          <a:p>
            <a:pPr marL="0" marR="0" lvl="0" indent="0" algn="l" defTabSz="896021" rtl="0" eaLnBrk="1" fontAlgn="auto" latinLnBrk="0" hangingPunct="1">
              <a:lnSpc>
                <a:spcPts val="269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1" u="none" strike="noStrike" kern="120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Revisão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 do Plano</a:t>
            </a:r>
          </a:p>
        </p:txBody>
      </p:sp>
      <p:sp>
        <p:nvSpPr>
          <p:cNvPr id="27" name="TextBox 15">
            <a:extLst>
              <a:ext uri="{FF2B5EF4-FFF2-40B4-BE49-F238E27FC236}">
                <a16:creationId xmlns:a16="http://schemas.microsoft.com/office/drawing/2014/main" id="{A6092533-4488-A91A-A3B9-D3E3A2368046}"/>
              </a:ext>
            </a:extLst>
          </p:cNvPr>
          <p:cNvSpPr txBox="1"/>
          <p:nvPr/>
        </p:nvSpPr>
        <p:spPr>
          <a:xfrm>
            <a:off x="11105276" y="4383899"/>
            <a:ext cx="4584066" cy="346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ts val="2694"/>
              </a:lnSpc>
              <a:defRPr sz="3600" b="1">
                <a:solidFill>
                  <a:schemeClr val="bg1"/>
                </a:solidFill>
                <a:latin typeface="Petrobras Sans" panose="020B0606020204030204" pitchFamily="34" charset="0"/>
              </a:defRPr>
            </a:lvl1pPr>
          </a:lstStyle>
          <a:p>
            <a:pPr marL="0" marR="0" lvl="0" indent="0" algn="just" defTabSz="896021" rtl="0" eaLnBrk="1" fontAlgn="auto" latinLnBrk="0" hangingPunct="1">
              <a:lnSpc>
                <a:spcPts val="269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1" u="none" strike="noStrike" kern="1200" cap="none" spc="0" normalizeH="0" baseline="0" noProof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Gerenciamento de Riscos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0C70DB93-0EDF-1C66-8771-E48FA0A1BBF4}"/>
              </a:ext>
            </a:extLst>
          </p:cNvPr>
          <p:cNvSpPr txBox="1"/>
          <p:nvPr/>
        </p:nvSpPr>
        <p:spPr>
          <a:xfrm>
            <a:off x="1314041" y="4825184"/>
            <a:ext cx="7686290" cy="35725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15000"/>
              </a:lnSpc>
              <a:spcAft>
                <a:spcPts val="800"/>
              </a:spcAft>
              <a:defRPr>
                <a:solidFill>
                  <a:schemeClr val="bg1"/>
                </a:solidFill>
                <a:effectLst/>
                <a:latin typeface="Petrobras Sans Light" panose="020B040602020403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A revisão periódica do Plano traz maior flexibilidade e agilidade na adequação da Auditoria Interna às novas necessidades da Companhia, utilizando como principais insumos as seguintes informações: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Solicitações do Comitê de Auditoria, da Diretoria Executiva e Gerências Executivas;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Mudança de cenário no ambiente de negócios ou marcos regulatórios;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Atualização do mapeamento de Riscos;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Fatos novos relevantes divulgados;</a:t>
            </a:r>
          </a:p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Petrobras Sans"/>
              <a:cs typeface="Arial" panose="020B0604020202020204" pitchFamily="34" charset="0"/>
            </a:endParaRPr>
          </a:p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Petrobras Sans"/>
                <a:cs typeface="Arial" panose="020B0604020202020204" pitchFamily="34" charset="0"/>
              </a:rPr>
              <a:t>Alterações significativas² no PAINT serão submetidas à nova aprovação do CAE e CA.</a:t>
            </a:r>
          </a:p>
        </p:txBody>
      </p:sp>
      <p:sp>
        <p:nvSpPr>
          <p:cNvPr id="30" name="Fluxograma: Processo Alternativo 29">
            <a:extLst>
              <a:ext uri="{FF2B5EF4-FFF2-40B4-BE49-F238E27FC236}">
                <a16:creationId xmlns:a16="http://schemas.microsoft.com/office/drawing/2014/main" id="{BE2D99F1-D0D7-8DB3-F8DD-F07BEB2DD1E5}"/>
              </a:ext>
            </a:extLst>
          </p:cNvPr>
          <p:cNvSpPr/>
          <p:nvPr/>
        </p:nvSpPr>
        <p:spPr>
          <a:xfrm>
            <a:off x="9401494" y="4174201"/>
            <a:ext cx="6968985" cy="4287381"/>
          </a:xfrm>
          <a:prstGeom prst="flowChartAlternateProcess">
            <a:avLst/>
          </a:prstGeom>
          <a:noFill/>
          <a:ln>
            <a:solidFill>
              <a:srgbClr val="FDC82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33F0AD4-FF55-8928-3763-7289E834F3B9}"/>
              </a:ext>
            </a:extLst>
          </p:cNvPr>
          <p:cNvSpPr txBox="1"/>
          <p:nvPr/>
        </p:nvSpPr>
        <p:spPr>
          <a:xfrm>
            <a:off x="1648908" y="9672342"/>
            <a:ext cx="149521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pt-BR" sz="1200" b="1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Light" panose="020B0406020204030204" pitchFamily="34" charset="0"/>
                <a:ea typeface="+mn-ea"/>
                <a:cs typeface="+mn-cs"/>
              </a:rPr>
              <a:t>²</a:t>
            </a:r>
            <a:r>
              <a:rPr lang="pt-BR" sz="1200" b="1" i="1" kern="0">
                <a:solidFill>
                  <a:schemeClr val="bg1"/>
                </a:solidFill>
                <a:latin typeface="Petrobras Sans Light" panose="020B0406020204030204" pitchFamily="34" charset="0"/>
              </a:rPr>
              <a:t> ²Alterações significativas são aquelas que ultrapassem 20% das horas ou dos itens programados</a:t>
            </a:r>
            <a:r>
              <a:rPr kumimoji="0" lang="pt-BR" sz="1200" b="0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Light" panose="020B040602020403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A76ED41-41F4-913C-F3CC-D218E75AB067}"/>
              </a:ext>
            </a:extLst>
          </p:cNvPr>
          <p:cNvSpPr txBox="1"/>
          <p:nvPr/>
        </p:nvSpPr>
        <p:spPr>
          <a:xfrm>
            <a:off x="1648908" y="9460197"/>
            <a:ext cx="25209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 i="1" kern="0">
                <a:solidFill>
                  <a:schemeClr val="bg1"/>
                </a:solidFill>
                <a:latin typeface="Petrobras Sans Light" panose="020B0406020204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Light" panose="020B0406020204030204" pitchFamily="34" charset="0"/>
                <a:ea typeface="+mn-ea"/>
                <a:cs typeface="+mn-cs"/>
              </a:rPr>
              <a:t>¹ DI-1PBR-00043</a:t>
            </a:r>
          </a:p>
        </p:txBody>
      </p:sp>
      <p:sp>
        <p:nvSpPr>
          <p:cNvPr id="2" name="Espaço Reservado para Número de Slide 6">
            <a:extLst>
              <a:ext uri="{FF2B5EF4-FFF2-40B4-BE49-F238E27FC236}">
                <a16:creationId xmlns:a16="http://schemas.microsoft.com/office/drawing/2014/main" id="{60CAA952-88AC-BD10-4F45-680A463B35B9}"/>
              </a:ext>
            </a:extLst>
          </p:cNvPr>
          <p:cNvSpPr txBox="1">
            <a:spLocks/>
          </p:cNvSpPr>
          <p:nvPr/>
        </p:nvSpPr>
        <p:spPr>
          <a:xfrm>
            <a:off x="13457843" y="9330347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518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C9D048C-390E-3728-61D1-704AF392B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85131" y="9267570"/>
            <a:ext cx="920605" cy="536699"/>
          </a:xfrm>
        </p:spPr>
        <p:txBody>
          <a:bodyPr/>
          <a:lstStyle/>
          <a:p>
            <a:fld id="{66579FED-A24D-7E4F-A83E-EB88D716DD33}" type="slidenum">
              <a:rPr lang="pt-BR" sz="1800" b="1" smtClean="0">
                <a:solidFill>
                  <a:schemeClr val="bg1"/>
                </a:solidFill>
                <a:latin typeface="Petrobras Sans" panose="020B0606020204030204" pitchFamily="34" charset="77"/>
              </a:rPr>
              <a:t>13</a:t>
            </a:fld>
            <a:endParaRPr lang="pt-BR" b="1">
              <a:solidFill>
                <a:schemeClr val="bg1"/>
              </a:solidFill>
              <a:latin typeface="Petrobras Sans" panose="020B0606020204030204" pitchFamily="34" charset="77"/>
            </a:endParaRPr>
          </a:p>
        </p:txBody>
      </p:sp>
      <p:pic>
        <p:nvPicPr>
          <p:cNvPr id="2" name="Imagem 1" descr="Imagem de desenho infantil&#10;&#10;Descrição gerada automaticamente com confiança baixa">
            <a:extLst>
              <a:ext uri="{FF2B5EF4-FFF2-40B4-BE49-F238E27FC236}">
                <a16:creationId xmlns:a16="http://schemas.microsoft.com/office/drawing/2014/main" id="{4548AC86-E130-5F0C-D44E-F27104E45F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659" y="4148971"/>
            <a:ext cx="6015344" cy="1782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2682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8396">
              <a:srgbClr val="008542"/>
            </a:gs>
            <a:gs pos="4000">
              <a:srgbClr val="006298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ângulo 19">
            <a:extLst>
              <a:ext uri="{FF2B5EF4-FFF2-40B4-BE49-F238E27FC236}">
                <a16:creationId xmlns:a16="http://schemas.microsoft.com/office/drawing/2014/main" id="{69DBEDD2-0B92-413A-9131-98177F6E0CEC}"/>
              </a:ext>
            </a:extLst>
          </p:cNvPr>
          <p:cNvSpPr/>
          <p:nvPr/>
        </p:nvSpPr>
        <p:spPr>
          <a:xfrm>
            <a:off x="105659" y="9576700"/>
            <a:ext cx="1489510" cy="3938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pt-BR" sz="1959" b="1">
                <a:solidFill>
                  <a:prstClr val="white"/>
                </a:solidFill>
                <a:latin typeface="Petrobras Sans" panose="020B0606020204030204" pitchFamily="34" charset="0"/>
              </a:rPr>
              <a:t>PAINT</a:t>
            </a:r>
            <a:r>
              <a:rPr kumimoji="0" lang="en-US" altLang="pt-BR" sz="195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 2026</a:t>
            </a:r>
            <a:endParaRPr kumimoji="0" lang="pt-BR" altLang="pt-BR" sz="1959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12F8DAFB-1B46-48F0-8E24-24A6EC8C08B7}"/>
              </a:ext>
            </a:extLst>
          </p:cNvPr>
          <p:cNvSpPr/>
          <p:nvPr/>
        </p:nvSpPr>
        <p:spPr>
          <a:xfrm>
            <a:off x="658554" y="503925"/>
            <a:ext cx="103302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23890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Apêndice e Anexos</a:t>
            </a:r>
          </a:p>
        </p:txBody>
      </p:sp>
      <p:sp>
        <p:nvSpPr>
          <p:cNvPr id="26" name="Retângulo 1">
            <a:extLst>
              <a:ext uri="{FF2B5EF4-FFF2-40B4-BE49-F238E27FC236}">
                <a16:creationId xmlns:a16="http://schemas.microsoft.com/office/drawing/2014/main" id="{CED9A75C-4BF2-44DE-B1C2-DC9712A6BD36}"/>
              </a:ext>
            </a:extLst>
          </p:cNvPr>
          <p:cNvSpPr/>
          <p:nvPr/>
        </p:nvSpPr>
        <p:spPr>
          <a:xfrm>
            <a:off x="11018680" y="-16042"/>
            <a:ext cx="6998025" cy="2338875"/>
          </a:xfrm>
          <a:custGeom>
            <a:avLst/>
            <a:gdLst>
              <a:gd name="connsiteX0" fmla="*/ 0 w 2566988"/>
              <a:gd name="connsiteY0" fmla="*/ 0 h 1041400"/>
              <a:gd name="connsiteX1" fmla="*/ 2566988 w 2566988"/>
              <a:gd name="connsiteY1" fmla="*/ 0 h 1041400"/>
              <a:gd name="connsiteX2" fmla="*/ 2566988 w 2566988"/>
              <a:gd name="connsiteY2" fmla="*/ 1041400 h 1041400"/>
              <a:gd name="connsiteX3" fmla="*/ 0 w 2566988"/>
              <a:gd name="connsiteY3" fmla="*/ 1041400 h 1041400"/>
              <a:gd name="connsiteX4" fmla="*/ 0 w 2566988"/>
              <a:gd name="connsiteY4" fmla="*/ 0 h 1041400"/>
              <a:gd name="connsiteX0" fmla="*/ 0 w 3062288"/>
              <a:gd name="connsiteY0" fmla="*/ 3175 h 1041400"/>
              <a:gd name="connsiteX1" fmla="*/ 3062288 w 3062288"/>
              <a:gd name="connsiteY1" fmla="*/ 0 h 1041400"/>
              <a:gd name="connsiteX2" fmla="*/ 3062288 w 3062288"/>
              <a:gd name="connsiteY2" fmla="*/ 1041400 h 1041400"/>
              <a:gd name="connsiteX3" fmla="*/ 495300 w 3062288"/>
              <a:gd name="connsiteY3" fmla="*/ 1041400 h 1041400"/>
              <a:gd name="connsiteX4" fmla="*/ 0 w 3062288"/>
              <a:gd name="connsiteY4" fmla="*/ 3175 h 1041400"/>
              <a:gd name="connsiteX0" fmla="*/ 0 w 3062288"/>
              <a:gd name="connsiteY0" fmla="*/ 3175 h 1041400"/>
              <a:gd name="connsiteX1" fmla="*/ 3062288 w 3062288"/>
              <a:gd name="connsiteY1" fmla="*/ 0 h 1041400"/>
              <a:gd name="connsiteX2" fmla="*/ 3062288 w 3062288"/>
              <a:gd name="connsiteY2" fmla="*/ 1041400 h 1041400"/>
              <a:gd name="connsiteX3" fmla="*/ 1181100 w 3062288"/>
              <a:gd name="connsiteY3" fmla="*/ 901700 h 1041400"/>
              <a:gd name="connsiteX4" fmla="*/ 0 w 3062288"/>
              <a:gd name="connsiteY4" fmla="*/ 3175 h 1041400"/>
              <a:gd name="connsiteX0" fmla="*/ 0 w 3062288"/>
              <a:gd name="connsiteY0" fmla="*/ 3175 h 1041400"/>
              <a:gd name="connsiteX1" fmla="*/ 3062288 w 3062288"/>
              <a:gd name="connsiteY1" fmla="*/ 0 h 1041400"/>
              <a:gd name="connsiteX2" fmla="*/ 3062288 w 3062288"/>
              <a:gd name="connsiteY2" fmla="*/ 1041400 h 1041400"/>
              <a:gd name="connsiteX3" fmla="*/ 1139825 w 3062288"/>
              <a:gd name="connsiteY3" fmla="*/ 1000125 h 1041400"/>
              <a:gd name="connsiteX4" fmla="*/ 0 w 3062288"/>
              <a:gd name="connsiteY4" fmla="*/ 3175 h 1041400"/>
              <a:gd name="connsiteX0" fmla="*/ 0 w 3062288"/>
              <a:gd name="connsiteY0" fmla="*/ 3175 h 1000125"/>
              <a:gd name="connsiteX1" fmla="*/ 3062288 w 3062288"/>
              <a:gd name="connsiteY1" fmla="*/ 0 h 1000125"/>
              <a:gd name="connsiteX2" fmla="*/ 3062288 w 3062288"/>
              <a:gd name="connsiteY2" fmla="*/ 869950 h 1000125"/>
              <a:gd name="connsiteX3" fmla="*/ 1139825 w 3062288"/>
              <a:gd name="connsiteY3" fmla="*/ 1000125 h 1000125"/>
              <a:gd name="connsiteX4" fmla="*/ 0 w 3062288"/>
              <a:gd name="connsiteY4" fmla="*/ 3175 h 1000125"/>
              <a:gd name="connsiteX0" fmla="*/ 0 w 3062288"/>
              <a:gd name="connsiteY0" fmla="*/ 3175 h 1000125"/>
              <a:gd name="connsiteX1" fmla="*/ 3062288 w 3062288"/>
              <a:gd name="connsiteY1" fmla="*/ 0 h 1000125"/>
              <a:gd name="connsiteX2" fmla="*/ 3062288 w 3062288"/>
              <a:gd name="connsiteY2" fmla="*/ 828675 h 1000125"/>
              <a:gd name="connsiteX3" fmla="*/ 1139825 w 3062288"/>
              <a:gd name="connsiteY3" fmla="*/ 1000125 h 1000125"/>
              <a:gd name="connsiteX4" fmla="*/ 0 w 3062288"/>
              <a:gd name="connsiteY4" fmla="*/ 3175 h 1000125"/>
              <a:gd name="connsiteX0" fmla="*/ 0 w 3062288"/>
              <a:gd name="connsiteY0" fmla="*/ 3175 h 1000125"/>
              <a:gd name="connsiteX1" fmla="*/ 3062288 w 3062288"/>
              <a:gd name="connsiteY1" fmla="*/ 0 h 1000125"/>
              <a:gd name="connsiteX2" fmla="*/ 3059113 w 3062288"/>
              <a:gd name="connsiteY2" fmla="*/ 863600 h 1000125"/>
              <a:gd name="connsiteX3" fmla="*/ 1139825 w 3062288"/>
              <a:gd name="connsiteY3" fmla="*/ 1000125 h 1000125"/>
              <a:gd name="connsiteX4" fmla="*/ 0 w 3062288"/>
              <a:gd name="connsiteY4" fmla="*/ 3175 h 1000125"/>
              <a:gd name="connsiteX0" fmla="*/ 0 w 3062288"/>
              <a:gd name="connsiteY0" fmla="*/ 3175 h 1000125"/>
              <a:gd name="connsiteX1" fmla="*/ 3062288 w 3062288"/>
              <a:gd name="connsiteY1" fmla="*/ 0 h 1000125"/>
              <a:gd name="connsiteX2" fmla="*/ 3059113 w 3062288"/>
              <a:gd name="connsiteY2" fmla="*/ 863600 h 1000125"/>
              <a:gd name="connsiteX3" fmla="*/ 1520825 w 3062288"/>
              <a:gd name="connsiteY3" fmla="*/ 974726 h 1000125"/>
              <a:gd name="connsiteX4" fmla="*/ 1139825 w 3062288"/>
              <a:gd name="connsiteY4" fmla="*/ 1000125 h 1000125"/>
              <a:gd name="connsiteX5" fmla="*/ 0 w 3062288"/>
              <a:gd name="connsiteY5" fmla="*/ 3175 h 1000125"/>
              <a:gd name="connsiteX0" fmla="*/ 0 w 3062288"/>
              <a:gd name="connsiteY0" fmla="*/ 3175 h 1054101"/>
              <a:gd name="connsiteX1" fmla="*/ 3062288 w 3062288"/>
              <a:gd name="connsiteY1" fmla="*/ 0 h 1054101"/>
              <a:gd name="connsiteX2" fmla="*/ 3059113 w 3062288"/>
              <a:gd name="connsiteY2" fmla="*/ 863600 h 1054101"/>
              <a:gd name="connsiteX3" fmla="*/ 1355725 w 3062288"/>
              <a:gd name="connsiteY3" fmla="*/ 1054101 h 1054101"/>
              <a:gd name="connsiteX4" fmla="*/ 1139825 w 3062288"/>
              <a:gd name="connsiteY4" fmla="*/ 1000125 h 1054101"/>
              <a:gd name="connsiteX5" fmla="*/ 0 w 3062288"/>
              <a:gd name="connsiteY5" fmla="*/ 3175 h 1054101"/>
              <a:gd name="connsiteX0" fmla="*/ 0 w 3062288"/>
              <a:gd name="connsiteY0" fmla="*/ 3175 h 1047751"/>
              <a:gd name="connsiteX1" fmla="*/ 3062288 w 3062288"/>
              <a:gd name="connsiteY1" fmla="*/ 0 h 1047751"/>
              <a:gd name="connsiteX2" fmla="*/ 3059113 w 3062288"/>
              <a:gd name="connsiteY2" fmla="*/ 863600 h 1047751"/>
              <a:gd name="connsiteX3" fmla="*/ 1346200 w 3062288"/>
              <a:gd name="connsiteY3" fmla="*/ 1047751 h 1047751"/>
              <a:gd name="connsiteX4" fmla="*/ 1139825 w 3062288"/>
              <a:gd name="connsiteY4" fmla="*/ 1000125 h 1047751"/>
              <a:gd name="connsiteX5" fmla="*/ 0 w 3062288"/>
              <a:gd name="connsiteY5" fmla="*/ 3175 h 1047751"/>
              <a:gd name="connsiteX0" fmla="*/ 0 w 3062288"/>
              <a:gd name="connsiteY0" fmla="*/ 3175 h 1055327"/>
              <a:gd name="connsiteX1" fmla="*/ 3062288 w 3062288"/>
              <a:gd name="connsiteY1" fmla="*/ 0 h 1055327"/>
              <a:gd name="connsiteX2" fmla="*/ 3059113 w 3062288"/>
              <a:gd name="connsiteY2" fmla="*/ 863600 h 1055327"/>
              <a:gd name="connsiteX3" fmla="*/ 1346200 w 3062288"/>
              <a:gd name="connsiteY3" fmla="*/ 1047751 h 1055327"/>
              <a:gd name="connsiteX4" fmla="*/ 1139825 w 3062288"/>
              <a:gd name="connsiteY4" fmla="*/ 1000125 h 1055327"/>
              <a:gd name="connsiteX5" fmla="*/ 0 w 3062288"/>
              <a:gd name="connsiteY5" fmla="*/ 3175 h 1055327"/>
              <a:gd name="connsiteX0" fmla="*/ 0 w 3062288"/>
              <a:gd name="connsiteY0" fmla="*/ 3175 h 1061135"/>
              <a:gd name="connsiteX1" fmla="*/ 3062288 w 3062288"/>
              <a:gd name="connsiteY1" fmla="*/ 0 h 1061135"/>
              <a:gd name="connsiteX2" fmla="*/ 3059113 w 3062288"/>
              <a:gd name="connsiteY2" fmla="*/ 863600 h 1061135"/>
              <a:gd name="connsiteX3" fmla="*/ 1349375 w 3062288"/>
              <a:gd name="connsiteY3" fmla="*/ 1054101 h 1061135"/>
              <a:gd name="connsiteX4" fmla="*/ 1139825 w 3062288"/>
              <a:gd name="connsiteY4" fmla="*/ 1000125 h 1061135"/>
              <a:gd name="connsiteX5" fmla="*/ 0 w 3062288"/>
              <a:gd name="connsiteY5" fmla="*/ 3175 h 1061135"/>
              <a:gd name="connsiteX0" fmla="*/ 0 w 3062288"/>
              <a:gd name="connsiteY0" fmla="*/ 3175 h 1054717"/>
              <a:gd name="connsiteX1" fmla="*/ 3062288 w 3062288"/>
              <a:gd name="connsiteY1" fmla="*/ 0 h 1054717"/>
              <a:gd name="connsiteX2" fmla="*/ 3059113 w 3062288"/>
              <a:gd name="connsiteY2" fmla="*/ 863600 h 1054717"/>
              <a:gd name="connsiteX3" fmla="*/ 1349375 w 3062288"/>
              <a:gd name="connsiteY3" fmla="*/ 1054101 h 1054717"/>
              <a:gd name="connsiteX4" fmla="*/ 1139825 w 3062288"/>
              <a:gd name="connsiteY4" fmla="*/ 1000125 h 1054717"/>
              <a:gd name="connsiteX5" fmla="*/ 0 w 3062288"/>
              <a:gd name="connsiteY5" fmla="*/ 3175 h 1054717"/>
              <a:gd name="connsiteX0" fmla="*/ 0 w 3062288"/>
              <a:gd name="connsiteY0" fmla="*/ 3175 h 1054858"/>
              <a:gd name="connsiteX1" fmla="*/ 3062288 w 3062288"/>
              <a:gd name="connsiteY1" fmla="*/ 0 h 1054858"/>
              <a:gd name="connsiteX2" fmla="*/ 3059113 w 3062288"/>
              <a:gd name="connsiteY2" fmla="*/ 863600 h 1054858"/>
              <a:gd name="connsiteX3" fmla="*/ 1349375 w 3062288"/>
              <a:gd name="connsiteY3" fmla="*/ 1054101 h 1054858"/>
              <a:gd name="connsiteX4" fmla="*/ 1139825 w 3062288"/>
              <a:gd name="connsiteY4" fmla="*/ 1000125 h 1054858"/>
              <a:gd name="connsiteX5" fmla="*/ 0 w 3062288"/>
              <a:gd name="connsiteY5" fmla="*/ 3175 h 1054858"/>
              <a:gd name="connsiteX0" fmla="*/ 0 w 3062288"/>
              <a:gd name="connsiteY0" fmla="*/ 3175 h 1055596"/>
              <a:gd name="connsiteX1" fmla="*/ 3062288 w 3062288"/>
              <a:gd name="connsiteY1" fmla="*/ 0 h 1055596"/>
              <a:gd name="connsiteX2" fmla="*/ 3059113 w 3062288"/>
              <a:gd name="connsiteY2" fmla="*/ 863600 h 1055596"/>
              <a:gd name="connsiteX3" fmla="*/ 1349375 w 3062288"/>
              <a:gd name="connsiteY3" fmla="*/ 1054101 h 1055596"/>
              <a:gd name="connsiteX4" fmla="*/ 1139825 w 3062288"/>
              <a:gd name="connsiteY4" fmla="*/ 1000125 h 1055596"/>
              <a:gd name="connsiteX5" fmla="*/ 0 w 3062288"/>
              <a:gd name="connsiteY5" fmla="*/ 3175 h 1055596"/>
              <a:gd name="connsiteX0" fmla="*/ 0 w 3062288"/>
              <a:gd name="connsiteY0" fmla="*/ 3175 h 1057443"/>
              <a:gd name="connsiteX1" fmla="*/ 3062288 w 3062288"/>
              <a:gd name="connsiteY1" fmla="*/ 0 h 1057443"/>
              <a:gd name="connsiteX2" fmla="*/ 3059113 w 3062288"/>
              <a:gd name="connsiteY2" fmla="*/ 863600 h 1057443"/>
              <a:gd name="connsiteX3" fmla="*/ 1349375 w 3062288"/>
              <a:gd name="connsiteY3" fmla="*/ 1054101 h 1057443"/>
              <a:gd name="connsiteX4" fmla="*/ 1139825 w 3062288"/>
              <a:gd name="connsiteY4" fmla="*/ 1000125 h 1057443"/>
              <a:gd name="connsiteX5" fmla="*/ 0 w 3062288"/>
              <a:gd name="connsiteY5" fmla="*/ 3175 h 1057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62288" h="1057443">
                <a:moveTo>
                  <a:pt x="0" y="3175"/>
                </a:moveTo>
                <a:lnTo>
                  <a:pt x="3062288" y="0"/>
                </a:lnTo>
                <a:cubicBezTo>
                  <a:pt x="3061230" y="287867"/>
                  <a:pt x="3060171" y="575733"/>
                  <a:pt x="3059113" y="863600"/>
                </a:cubicBezTo>
                <a:lnTo>
                  <a:pt x="1349375" y="1054101"/>
                </a:lnTo>
                <a:cubicBezTo>
                  <a:pt x="1226608" y="1069976"/>
                  <a:pt x="1180042" y="1025525"/>
                  <a:pt x="1139825" y="1000125"/>
                </a:cubicBezTo>
                <a:lnTo>
                  <a:pt x="0" y="3175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791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27" b="0" i="0" u="none" strike="noStrike" kern="0" cap="none" spc="0" normalizeH="0" baseline="0" noProof="0">
              <a:ln>
                <a:noFill/>
              </a:ln>
              <a:solidFill>
                <a:srgbClr val="FDC82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5DDBFD4-AE51-9B56-75DE-22F18F6D9FCC}"/>
              </a:ext>
            </a:extLst>
          </p:cNvPr>
          <p:cNvSpPr txBox="1"/>
          <p:nvPr/>
        </p:nvSpPr>
        <p:spPr>
          <a:xfrm>
            <a:off x="1595169" y="3324793"/>
            <a:ext cx="10330266" cy="836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3200" b="1" i="0" u="none" strike="noStrike" kern="1200">
                <a:solidFill>
                  <a:srgbClr val="FDC82F"/>
                </a:solidFill>
                <a:effectLst/>
                <a:latin typeface="Petrobras Sans Light" panose="020B0406020204030204" pitchFamily="34" charset="0"/>
              </a:rPr>
              <a:t>Apêndice  </a:t>
            </a:r>
            <a:r>
              <a:rPr lang="pt-BR" sz="3200" b="0" i="0" u="none" strike="noStrike" kern="1200">
                <a:solidFill>
                  <a:srgbClr val="FFFFFF"/>
                </a:solidFill>
                <a:effectLst/>
                <a:latin typeface="Petrobras Sans Light" panose="020B0406020204030204" pitchFamily="34" charset="0"/>
              </a:rPr>
              <a:t>– Detalhamento dos Trabalhos Programados</a:t>
            </a:r>
            <a:endParaRPr lang="pt-BR" sz="2000" b="0" i="0" u="none" strike="noStrike">
              <a:effectLst/>
              <a:latin typeface="Arial" panose="020B0604020202020204" pitchFamily="34" charset="0"/>
            </a:endParaRPr>
          </a:p>
        </p:txBody>
      </p:sp>
      <p:pic>
        <p:nvPicPr>
          <p:cNvPr id="5" name="Gráfico 4" descr="Área de Transferência Marcada com preenchimento sólido">
            <a:extLst>
              <a:ext uri="{FF2B5EF4-FFF2-40B4-BE49-F238E27FC236}">
                <a16:creationId xmlns:a16="http://schemas.microsoft.com/office/drawing/2014/main" id="{6B56D15D-861E-32A1-DD6E-F104EB0660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5143" y="3596898"/>
            <a:ext cx="645442" cy="645442"/>
          </a:xfrm>
          <a:prstGeom prst="rect">
            <a:avLst/>
          </a:prstGeom>
        </p:spPr>
      </p:pic>
      <p:pic>
        <p:nvPicPr>
          <p:cNvPr id="2" name="Imagem 1" descr="Imagem de desenho infantil&#10;&#10;Descrição gerada automaticamente com confiança baixa">
            <a:extLst>
              <a:ext uri="{FF2B5EF4-FFF2-40B4-BE49-F238E27FC236}">
                <a16:creationId xmlns:a16="http://schemas.microsoft.com/office/drawing/2014/main" id="{6A482763-D944-B9D6-632E-037F47A82C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7181" y="415201"/>
            <a:ext cx="3238903" cy="959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11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EA9BAE46-2481-F215-7ABA-DBB3B1E369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3731"/>
            <a:ext cx="18262189" cy="100806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6242E2F2-6BB4-4B55-1005-13CDD91FD769}"/>
              </a:ext>
            </a:extLst>
          </p:cNvPr>
          <p:cNvSpPr/>
          <p:nvPr/>
        </p:nvSpPr>
        <p:spPr>
          <a:xfrm>
            <a:off x="16062" y="-13160"/>
            <a:ext cx="18262188" cy="10053163"/>
          </a:xfrm>
          <a:prstGeom prst="rect">
            <a:avLst/>
          </a:prstGeom>
          <a:solidFill>
            <a:schemeClr val="tx2">
              <a:lumMod val="2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0B79EB26-8E38-4AF5-D419-68A95D614584}"/>
              </a:ext>
            </a:extLst>
          </p:cNvPr>
          <p:cNvSpPr/>
          <p:nvPr/>
        </p:nvSpPr>
        <p:spPr>
          <a:xfrm>
            <a:off x="1055709" y="849313"/>
            <a:ext cx="16182894" cy="8149544"/>
          </a:xfrm>
          <a:custGeom>
            <a:avLst/>
            <a:gdLst/>
            <a:ahLst/>
            <a:cxnLst/>
            <a:rect l="l" t="t" r="r" b="b"/>
            <a:pathLst>
              <a:path w="3047051" h="1913890">
                <a:moveTo>
                  <a:pt x="0" y="0"/>
                </a:moveTo>
                <a:lnTo>
                  <a:pt x="3047051" y="0"/>
                </a:lnTo>
                <a:lnTo>
                  <a:pt x="3047051" y="1913890"/>
                </a:lnTo>
                <a:lnTo>
                  <a:pt x="0" y="191389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/>
          <a:lstStyle/>
          <a:p>
            <a:endParaRPr lang="pt-BR"/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F4E8A2FC-FA2C-426A-728B-EF407070D765}"/>
              </a:ext>
            </a:extLst>
          </p:cNvPr>
          <p:cNvGrpSpPr/>
          <p:nvPr/>
        </p:nvGrpSpPr>
        <p:grpSpPr>
          <a:xfrm>
            <a:off x="547077" y="719703"/>
            <a:ext cx="508632" cy="8279154"/>
            <a:chOff x="0" y="-28575"/>
            <a:chExt cx="1271902" cy="2134039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63C68FB4-BF84-2C15-4A08-7D162F17D101}"/>
                </a:ext>
              </a:extLst>
            </p:cNvPr>
            <p:cNvSpPr/>
            <p:nvPr/>
          </p:nvSpPr>
          <p:spPr>
            <a:xfrm>
              <a:off x="90459" y="0"/>
              <a:ext cx="1181443" cy="2105464"/>
            </a:xfrm>
            <a:custGeom>
              <a:avLst/>
              <a:gdLst/>
              <a:ahLst/>
              <a:cxnLst/>
              <a:rect l="l" t="t" r="r" b="b"/>
              <a:pathLst>
                <a:path w="1284324" h="1705284">
                  <a:moveTo>
                    <a:pt x="0" y="0"/>
                  </a:moveTo>
                  <a:lnTo>
                    <a:pt x="1284324" y="0"/>
                  </a:lnTo>
                  <a:lnTo>
                    <a:pt x="1284324" y="1705284"/>
                  </a:lnTo>
                  <a:lnTo>
                    <a:pt x="0" y="1705284"/>
                  </a:lnTo>
                  <a:close/>
                </a:path>
              </a:pathLst>
            </a:custGeom>
            <a:gradFill>
              <a:gsLst>
                <a:gs pos="2655">
                  <a:srgbClr val="004165"/>
                </a:gs>
                <a:gs pos="100000">
                  <a:srgbClr val="008542"/>
                </a:gs>
              </a:gsLst>
              <a:lin ang="5400000" scaled="1"/>
            </a:gradFill>
          </p:spPr>
          <p:txBody>
            <a:bodyPr/>
            <a:lstStyle/>
            <a:p>
              <a:endParaRPr lang="pt-BR"/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143A192E-09AB-68E0-B1A5-325E16E7E08F}"/>
                </a:ext>
              </a:extLst>
            </p:cNvPr>
            <p:cNvSpPr txBox="1"/>
            <p:nvPr/>
          </p:nvSpPr>
          <p:spPr>
            <a:xfrm>
              <a:off x="0" y="-28575"/>
              <a:ext cx="812800" cy="841375"/>
            </a:xfrm>
            <a:prstGeom prst="rect">
              <a:avLst/>
            </a:prstGeom>
          </p:spPr>
          <p:txBody>
            <a:bodyPr lIns="70004" tIns="70004" rIns="70004" bIns="70004" rtlCol="0" anchor="ctr"/>
            <a:lstStyle/>
            <a:p>
              <a:pPr marL="0" marR="0" lvl="0" indent="0" algn="ctr" defTabSz="457200" rtl="0" eaLnBrk="1" fontAlgn="auto" latinLnBrk="0" hangingPunct="1">
                <a:lnSpc>
                  <a:spcPts val="2702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aphicFrame>
        <p:nvGraphicFramePr>
          <p:cNvPr id="13" name="Tabela 12">
            <a:extLst>
              <a:ext uri="{FF2B5EF4-FFF2-40B4-BE49-F238E27FC236}">
                <a16:creationId xmlns:a16="http://schemas.microsoft.com/office/drawing/2014/main" id="{6310CFBB-492E-A482-5D5C-B74232028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028745"/>
              </p:ext>
            </p:extLst>
          </p:nvPr>
        </p:nvGraphicFramePr>
        <p:xfrm>
          <a:off x="1554996" y="925512"/>
          <a:ext cx="15047199" cy="7772400"/>
        </p:xfrm>
        <a:graphic>
          <a:graphicData uri="http://schemas.openxmlformats.org/drawingml/2006/table">
            <a:tbl>
              <a:tblPr firstRow="1" bandRow="1"/>
              <a:tblGrid>
                <a:gridCol w="1671911">
                  <a:extLst>
                    <a:ext uri="{9D8B030D-6E8A-4147-A177-3AD203B41FA5}">
                      <a16:colId xmlns:a16="http://schemas.microsoft.com/office/drawing/2014/main" val="125417559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20069735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873225839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34203574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40240806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Item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/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Tema/Objeto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Tipo de Serviç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Orige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H/H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Abrangênc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Macroprocess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Diretor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66905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133811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200717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267622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3345282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401434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4683397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535245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Unida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SMS - Meio Ambi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1.2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RANSPETRO</a:t>
                      </a:r>
                      <a:endParaRPr lang="pt-BR" sz="1000" b="0" i="0" u="none" strike="noStrike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 panose="020B0606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Gerir Segurança, Meio Ambiente e Saúde</a:t>
                      </a:r>
                    </a:p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 Gerir Sustentabilidade, Responsabilidade Social e Governanç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PRES</a:t>
                      </a:r>
                    </a:p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CJUR</a:t>
                      </a:r>
                    </a:p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DT</a:t>
                      </a:r>
                    </a:p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T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PRES/RS</a:t>
                      </a:r>
                    </a:p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CJUR/SMS</a:t>
                      </a:r>
                    </a:p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DT/DTNNESE</a:t>
                      </a:r>
                    </a:p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DT/DTSSPCO</a:t>
                      </a:r>
                    </a:p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TM/ON/EOTM/GIA</a:t>
                      </a:r>
                    </a:p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TM/INGER/SMS</a:t>
                      </a:r>
                      <a:endParaRPr lang="pt-BR" sz="1000" b="0" i="0" u="none" strike="noStrike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Contratação de Navios 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rograma TP 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Bens e Serviç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G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6017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quisição de Be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Bens e Serviç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G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23538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tação de Serviços - Faturamento e Contra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Desempenho, Finanças e Contabilida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/GEFIN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/DN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16812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stoque - Materiais excedent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Bens e Serviç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G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58867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corecard e Met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BEL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 PB-LO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Pessoas;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Estratégia de Negócio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BEL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B-LO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RH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/GEPLAN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BEL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 PB-LO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709378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muneração de Dirigente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 TRANSBEL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B-LO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Pessoas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BEL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B-LOG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RH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 TRANSBEL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B-LO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36038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grama de Proteção de Du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rover Proteção de Dut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PD/OPPD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PD/DPP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71371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tegridade de Du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Manutenção e Integridade Estrutur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MDT/I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39806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Gerir aquisição de bens e serviços para navi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Manutenção e Integridade Estrutur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T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TM/ON/EOTM/GIA TP/DTM/EMTM/MTM/CSMO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540731"/>
                  </a:ext>
                </a:extLst>
              </a:tr>
            </a:tbl>
          </a:graphicData>
        </a:graphic>
      </p:graphicFrame>
      <p:sp>
        <p:nvSpPr>
          <p:cNvPr id="3" name="Título 8">
            <a:extLst>
              <a:ext uri="{FF2B5EF4-FFF2-40B4-BE49-F238E27FC236}">
                <a16:creationId xmlns:a16="http://schemas.microsoft.com/office/drawing/2014/main" id="{72F50F43-487E-FA5A-D797-8C5769174FAA}"/>
              </a:ext>
            </a:extLst>
          </p:cNvPr>
          <p:cNvSpPr txBox="1">
            <a:spLocks/>
          </p:cNvSpPr>
          <p:nvPr/>
        </p:nvSpPr>
        <p:spPr>
          <a:xfrm>
            <a:off x="676787" y="43567"/>
            <a:ext cx="7552811" cy="734668"/>
          </a:xfrm>
          <a:prstGeom prst="rect">
            <a:avLst/>
          </a:prstGeom>
        </p:spPr>
        <p:txBody>
          <a:bodyPr vert="horz" lIns="134408" tIns="67204" rIns="134408" bIns="67204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44077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2940">
                <a:latin typeface="Petrobras Sans"/>
              </a:rPr>
              <a:t>TRABALHOS PAINT 2026 - TRANSPETRO</a:t>
            </a:r>
          </a:p>
        </p:txBody>
      </p:sp>
    </p:spTree>
    <p:extLst>
      <p:ext uri="{BB962C8B-B14F-4D97-AF65-F5344CB8AC3E}">
        <p14:creationId xmlns:p14="http://schemas.microsoft.com/office/powerpoint/2010/main" val="17988925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018AFB-DFB3-EA71-412D-70B6C4369E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159C0113-3552-9C29-994C-4203A1478E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3731"/>
            <a:ext cx="18009261" cy="100806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069DB076-71A1-9FCD-B965-FA1B87B4DB02}"/>
              </a:ext>
            </a:extLst>
          </p:cNvPr>
          <p:cNvSpPr/>
          <p:nvPr/>
        </p:nvSpPr>
        <p:spPr>
          <a:xfrm>
            <a:off x="-8597" y="-13731"/>
            <a:ext cx="18009260" cy="10050789"/>
          </a:xfrm>
          <a:prstGeom prst="rect">
            <a:avLst/>
          </a:prstGeom>
          <a:solidFill>
            <a:schemeClr val="tx2">
              <a:lumMod val="2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E376E1CE-BFE1-FDA7-E122-5063960735A9}"/>
              </a:ext>
            </a:extLst>
          </p:cNvPr>
          <p:cNvSpPr/>
          <p:nvPr/>
        </p:nvSpPr>
        <p:spPr>
          <a:xfrm>
            <a:off x="1031050" y="835533"/>
            <a:ext cx="16182894" cy="8730498"/>
          </a:xfrm>
          <a:custGeom>
            <a:avLst/>
            <a:gdLst/>
            <a:ahLst/>
            <a:cxnLst/>
            <a:rect l="l" t="t" r="r" b="b"/>
            <a:pathLst>
              <a:path w="3047051" h="1913890">
                <a:moveTo>
                  <a:pt x="0" y="0"/>
                </a:moveTo>
                <a:lnTo>
                  <a:pt x="3047051" y="0"/>
                </a:lnTo>
                <a:lnTo>
                  <a:pt x="3047051" y="1913890"/>
                </a:lnTo>
                <a:lnTo>
                  <a:pt x="0" y="191389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/>
          <a:lstStyle/>
          <a:p>
            <a:endParaRPr lang="pt-BR"/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1D9C6C6F-D5D0-FC84-CB6B-50AA93AE1BB4}"/>
              </a:ext>
            </a:extLst>
          </p:cNvPr>
          <p:cNvGrpSpPr/>
          <p:nvPr/>
        </p:nvGrpSpPr>
        <p:grpSpPr>
          <a:xfrm>
            <a:off x="559250" y="723638"/>
            <a:ext cx="488994" cy="8842393"/>
            <a:chOff x="0" y="-28575"/>
            <a:chExt cx="1271902" cy="2134039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059DFF9F-4249-CF95-45AA-946B19E6DD6E}"/>
                </a:ext>
              </a:extLst>
            </p:cNvPr>
            <p:cNvSpPr/>
            <p:nvPr/>
          </p:nvSpPr>
          <p:spPr>
            <a:xfrm>
              <a:off x="90459" y="0"/>
              <a:ext cx="1181443" cy="2105464"/>
            </a:xfrm>
            <a:custGeom>
              <a:avLst/>
              <a:gdLst/>
              <a:ahLst/>
              <a:cxnLst/>
              <a:rect l="l" t="t" r="r" b="b"/>
              <a:pathLst>
                <a:path w="1284324" h="1705284">
                  <a:moveTo>
                    <a:pt x="0" y="0"/>
                  </a:moveTo>
                  <a:lnTo>
                    <a:pt x="1284324" y="0"/>
                  </a:lnTo>
                  <a:lnTo>
                    <a:pt x="1284324" y="1705284"/>
                  </a:lnTo>
                  <a:lnTo>
                    <a:pt x="0" y="1705284"/>
                  </a:lnTo>
                  <a:close/>
                </a:path>
              </a:pathLst>
            </a:custGeom>
            <a:gradFill>
              <a:gsLst>
                <a:gs pos="2655">
                  <a:srgbClr val="004165"/>
                </a:gs>
                <a:gs pos="100000">
                  <a:srgbClr val="008542"/>
                </a:gs>
              </a:gsLst>
              <a:lin ang="5400000" scaled="1"/>
            </a:gradFill>
          </p:spPr>
          <p:txBody>
            <a:bodyPr/>
            <a:lstStyle/>
            <a:p>
              <a:endParaRPr lang="pt-BR"/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BB816E99-981F-BA0D-36DA-9752197FA77A}"/>
                </a:ext>
              </a:extLst>
            </p:cNvPr>
            <p:cNvSpPr txBox="1"/>
            <p:nvPr/>
          </p:nvSpPr>
          <p:spPr>
            <a:xfrm>
              <a:off x="0" y="-28575"/>
              <a:ext cx="812800" cy="841375"/>
            </a:xfrm>
            <a:prstGeom prst="rect">
              <a:avLst/>
            </a:prstGeom>
          </p:spPr>
          <p:txBody>
            <a:bodyPr lIns="70004" tIns="70004" rIns="70004" bIns="70004" rtlCol="0" anchor="ctr"/>
            <a:lstStyle/>
            <a:p>
              <a:pPr marL="0" marR="0" lvl="0" indent="0" algn="ctr" defTabSz="457200" rtl="0" eaLnBrk="1" fontAlgn="auto" latinLnBrk="0" hangingPunct="1">
                <a:lnSpc>
                  <a:spcPts val="2702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aphicFrame>
        <p:nvGraphicFramePr>
          <p:cNvPr id="13" name="Tabela 12">
            <a:extLst>
              <a:ext uri="{FF2B5EF4-FFF2-40B4-BE49-F238E27FC236}">
                <a16:creationId xmlns:a16="http://schemas.microsoft.com/office/drawing/2014/main" id="{FF8CA3A9-6FF1-34CA-BAF3-63DCDFE998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251864"/>
              </p:ext>
            </p:extLst>
          </p:nvPr>
        </p:nvGraphicFramePr>
        <p:xfrm>
          <a:off x="1607494" y="972964"/>
          <a:ext cx="15047199" cy="8305800"/>
        </p:xfrm>
        <a:graphic>
          <a:graphicData uri="http://schemas.openxmlformats.org/drawingml/2006/table">
            <a:tbl>
              <a:tblPr firstRow="1" bandRow="1"/>
              <a:tblGrid>
                <a:gridCol w="1671911">
                  <a:extLst>
                    <a:ext uri="{9D8B030D-6E8A-4147-A177-3AD203B41FA5}">
                      <a16:colId xmlns:a16="http://schemas.microsoft.com/office/drawing/2014/main" val="125417559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20069735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873225839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34203574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40240806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Item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/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Tema/Objeto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Tipo de Serviç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Orige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H/H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Abrangênc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Macroprocess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Diretor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66905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133811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200717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267622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3345282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401434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4683397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535245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Unida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ga e Descarga de Embarcaçã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Operações Logísticas Terrestres, Aquaviárias e Offshor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DTNNESE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DTSSPC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ficiência Operacional de Navi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3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RANSPETRO</a:t>
                      </a:r>
                      <a:endParaRPr lang="pt-BR" sz="1000" b="0" i="0" u="none" strike="noStrike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 panose="020B0606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rir Eficiência Operac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</a:t>
                      </a:r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/</a:t>
                      </a:r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DT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P/DTM/ON/EOTM/GIA</a:t>
                      </a:r>
                      <a:endParaRPr lang="pt-BR" sz="1000" b="0" i="0" u="none" strike="noStrike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6017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strução de Embarcaçõ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  <a:endParaRPr kumimoji="0" lang="pt-B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 panose="020B0606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rir Projetos e Empreendimen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T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TM/EMTM/ENG/GEST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TM/EMTM/ENG/T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23538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rmazenamento de Produ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  <a:endParaRPr kumimoji="0" lang="pt-B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 panose="020B0606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rir Operações Logísticas Terrestres, Aquaviárias e Offsho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DTNNESE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DTSSPC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16812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stoque de Produtos - Faltas e Sobr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3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  <a:endParaRPr kumimoji="0" lang="pt-B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 panose="020B0606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rir Operações Logísticas Terrestres, Aquaviárias e Offsho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INTEGRA/GMEQ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DTNNESE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DTSSPC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58867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stadia de navios nos terminai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  <a:endParaRPr kumimoji="0" lang="pt-B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 panose="020B0606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rir Integração Logístic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I B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/INTEGRA/PI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709378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ratos de gerenciamento de navi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2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RANSPETRO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</a:rPr>
                        <a:t>TI BV</a:t>
                      </a:r>
                      <a:endParaRPr lang="pt-BR" sz="1000" b="0" i="0" u="none" strike="noStrike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 panose="020B0606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Operação de Navi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TM</a:t>
                      </a:r>
                    </a:p>
                    <a:p>
                      <a:pPr algn="ctr" fontAlgn="b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I BV</a:t>
                      </a:r>
                    </a:p>
                    <a:p>
                      <a:pPr algn="ctr" fontAlgn="b">
                        <a:buNone/>
                      </a:pP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TM/ON/EOTM/GC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36038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B-LO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2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B-LOG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Bens e Serviços; Gerir Tecnologia da Informação e Telecomunicações; Gerir Desempenho, Finanças e Contabilida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PRE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marL="0" marR="0" lvl="0" indent="0" algn="ctr" defTabSz="13381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PRE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71371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stão de Ativ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Eficiência Operac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P/DDT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MDT/G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25099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egurança Cibernética no Transporte Maríti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Informação, Comunicação e Marc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T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39806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leição CA Transpet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Pesso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R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540731"/>
                  </a:ext>
                </a:extLst>
              </a:tr>
            </a:tbl>
          </a:graphicData>
        </a:graphic>
      </p:graphicFrame>
      <p:sp>
        <p:nvSpPr>
          <p:cNvPr id="3" name="Título 8">
            <a:extLst>
              <a:ext uri="{FF2B5EF4-FFF2-40B4-BE49-F238E27FC236}">
                <a16:creationId xmlns:a16="http://schemas.microsoft.com/office/drawing/2014/main" id="{6F38BBD6-B523-5CBB-5E55-53B39900BA35}"/>
              </a:ext>
            </a:extLst>
          </p:cNvPr>
          <p:cNvSpPr txBox="1">
            <a:spLocks/>
          </p:cNvSpPr>
          <p:nvPr/>
        </p:nvSpPr>
        <p:spPr>
          <a:xfrm>
            <a:off x="647760" y="43567"/>
            <a:ext cx="7596354" cy="734668"/>
          </a:xfrm>
          <a:prstGeom prst="rect">
            <a:avLst/>
          </a:prstGeom>
        </p:spPr>
        <p:txBody>
          <a:bodyPr vert="horz" lIns="134408" tIns="67204" rIns="134408" bIns="67204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44077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2940">
                <a:latin typeface="Petrobras Sans"/>
              </a:rPr>
              <a:t>TRABALHOS PAINT 2026 - TRANSPETRO</a:t>
            </a:r>
          </a:p>
        </p:txBody>
      </p:sp>
    </p:spTree>
    <p:extLst>
      <p:ext uri="{BB962C8B-B14F-4D97-AF65-F5344CB8AC3E}">
        <p14:creationId xmlns:p14="http://schemas.microsoft.com/office/powerpoint/2010/main" val="1184031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18599-A1AA-19CD-FBDE-871EFDD03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0432104B-7C1C-0DF3-487D-31F1A3CA42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3731"/>
            <a:ext cx="18262189" cy="100806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F05BDCCB-22A2-1899-A3FF-1A06CCC81B7C}"/>
              </a:ext>
            </a:extLst>
          </p:cNvPr>
          <p:cNvSpPr/>
          <p:nvPr/>
        </p:nvSpPr>
        <p:spPr>
          <a:xfrm>
            <a:off x="-8597" y="-16105"/>
            <a:ext cx="18262188" cy="10053163"/>
          </a:xfrm>
          <a:prstGeom prst="rect">
            <a:avLst/>
          </a:prstGeom>
          <a:solidFill>
            <a:schemeClr val="tx2">
              <a:lumMod val="2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CD8B545D-4615-C5B1-EFCF-5F62DD3B903C}"/>
              </a:ext>
            </a:extLst>
          </p:cNvPr>
          <p:cNvSpPr/>
          <p:nvPr/>
        </p:nvSpPr>
        <p:spPr>
          <a:xfrm>
            <a:off x="1031050" y="723638"/>
            <a:ext cx="16182894" cy="2772960"/>
          </a:xfrm>
          <a:custGeom>
            <a:avLst/>
            <a:gdLst/>
            <a:ahLst/>
            <a:cxnLst/>
            <a:rect l="l" t="t" r="r" b="b"/>
            <a:pathLst>
              <a:path w="3047051" h="1913890">
                <a:moveTo>
                  <a:pt x="0" y="0"/>
                </a:moveTo>
                <a:lnTo>
                  <a:pt x="3047051" y="0"/>
                </a:lnTo>
                <a:lnTo>
                  <a:pt x="3047051" y="1913890"/>
                </a:lnTo>
                <a:lnTo>
                  <a:pt x="0" y="191389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/>
          <a:lstStyle/>
          <a:p>
            <a:endParaRPr lang="pt-BR"/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EC5AD8A5-D831-A606-D24E-7F9C07C18D18}"/>
              </a:ext>
            </a:extLst>
          </p:cNvPr>
          <p:cNvGrpSpPr/>
          <p:nvPr/>
        </p:nvGrpSpPr>
        <p:grpSpPr>
          <a:xfrm>
            <a:off x="639162" y="723638"/>
            <a:ext cx="391889" cy="2772960"/>
            <a:chOff x="0" y="-28575"/>
            <a:chExt cx="1271902" cy="2134040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A90BE97F-96EF-8E04-FFAE-BA8F797956D8}"/>
                </a:ext>
              </a:extLst>
            </p:cNvPr>
            <p:cNvSpPr/>
            <p:nvPr/>
          </p:nvSpPr>
          <p:spPr>
            <a:xfrm>
              <a:off x="90459" y="-28574"/>
              <a:ext cx="1181443" cy="2134039"/>
            </a:xfrm>
            <a:custGeom>
              <a:avLst/>
              <a:gdLst/>
              <a:ahLst/>
              <a:cxnLst/>
              <a:rect l="l" t="t" r="r" b="b"/>
              <a:pathLst>
                <a:path w="1284324" h="1705284">
                  <a:moveTo>
                    <a:pt x="0" y="0"/>
                  </a:moveTo>
                  <a:lnTo>
                    <a:pt x="1284324" y="0"/>
                  </a:lnTo>
                  <a:lnTo>
                    <a:pt x="1284324" y="1705284"/>
                  </a:lnTo>
                  <a:lnTo>
                    <a:pt x="0" y="1705284"/>
                  </a:lnTo>
                  <a:close/>
                </a:path>
              </a:pathLst>
            </a:custGeom>
            <a:gradFill>
              <a:gsLst>
                <a:gs pos="2655">
                  <a:srgbClr val="004165"/>
                </a:gs>
                <a:gs pos="100000">
                  <a:srgbClr val="008542"/>
                </a:gs>
              </a:gsLst>
              <a:lin ang="5400000" scaled="1"/>
            </a:gradFill>
          </p:spPr>
          <p:txBody>
            <a:bodyPr/>
            <a:lstStyle/>
            <a:p>
              <a:endParaRPr lang="pt-BR"/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3E1AA16-D6D2-61D4-0268-7831DFAB2BFD}"/>
                </a:ext>
              </a:extLst>
            </p:cNvPr>
            <p:cNvSpPr txBox="1"/>
            <p:nvPr/>
          </p:nvSpPr>
          <p:spPr>
            <a:xfrm>
              <a:off x="0" y="-28575"/>
              <a:ext cx="812800" cy="841375"/>
            </a:xfrm>
            <a:prstGeom prst="rect">
              <a:avLst/>
            </a:prstGeom>
          </p:spPr>
          <p:txBody>
            <a:bodyPr lIns="70004" tIns="70004" rIns="70004" bIns="70004" rtlCol="0" anchor="ctr"/>
            <a:lstStyle/>
            <a:p>
              <a:pPr marL="0" marR="0" lvl="0" indent="0" algn="ctr" defTabSz="457200" rtl="0" eaLnBrk="1" fontAlgn="auto" latinLnBrk="0" hangingPunct="1">
                <a:lnSpc>
                  <a:spcPts val="2702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8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aphicFrame>
        <p:nvGraphicFramePr>
          <p:cNvPr id="13" name="Tabela 12">
            <a:extLst>
              <a:ext uri="{FF2B5EF4-FFF2-40B4-BE49-F238E27FC236}">
                <a16:creationId xmlns:a16="http://schemas.microsoft.com/office/drawing/2014/main" id="{22E518A7-764F-B240-0D1A-F0075F85D0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34938"/>
              </p:ext>
            </p:extLst>
          </p:nvPr>
        </p:nvGraphicFramePr>
        <p:xfrm>
          <a:off x="1554994" y="863930"/>
          <a:ext cx="15047199" cy="2492376"/>
        </p:xfrm>
        <a:graphic>
          <a:graphicData uri="http://schemas.openxmlformats.org/drawingml/2006/table">
            <a:tbl>
              <a:tblPr firstRow="1" bandRow="1"/>
              <a:tblGrid>
                <a:gridCol w="1671911">
                  <a:extLst>
                    <a:ext uri="{9D8B030D-6E8A-4147-A177-3AD203B41FA5}">
                      <a16:colId xmlns:a16="http://schemas.microsoft.com/office/drawing/2014/main" val="125417559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20069735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3713">
                  <a:extLst>
                    <a:ext uri="{9D8B030D-6E8A-4147-A177-3AD203B41FA5}">
                      <a16:colId xmlns:a16="http://schemas.microsoft.com/office/drawing/2014/main" val="1873225839"/>
                    </a:ext>
                  </a:extLst>
                </a:gridCol>
                <a:gridCol w="16701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34203574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40240806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Item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/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Tema/Objeto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Tipo de Serviç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Orige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H/H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Abrangênc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Macroprocess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Diretor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66905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133811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200717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267622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3345282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401434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4683397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535245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Unida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1596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ditoria Contínua -</a:t>
                      </a:r>
                    </a:p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utenção e Integridade Estrutur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Manutenção e Integridade Estrutur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DT/MD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713713"/>
                  </a:ext>
                </a:extLst>
              </a:tr>
              <a:tr h="56918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ditoria Contínua -</a:t>
                      </a:r>
                    </a:p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stão Contratu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  <a:p>
                      <a:pPr algn="ctr" fontAlgn="ctr">
                        <a:buNone/>
                      </a:pP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41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Bens e Serviç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CJUR/G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39806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4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ditoria Contínua - Faturament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RANSPETR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Desempenho, Finanças e Contabilida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TP/DFIN/GEF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177356"/>
                  </a:ext>
                </a:extLst>
              </a:tr>
            </a:tbl>
          </a:graphicData>
        </a:graphic>
      </p:graphicFrame>
      <p:sp>
        <p:nvSpPr>
          <p:cNvPr id="3" name="Título 8">
            <a:extLst>
              <a:ext uri="{FF2B5EF4-FFF2-40B4-BE49-F238E27FC236}">
                <a16:creationId xmlns:a16="http://schemas.microsoft.com/office/drawing/2014/main" id="{8DCEA8CB-73F4-5F0C-92F4-24505C725A79}"/>
              </a:ext>
            </a:extLst>
          </p:cNvPr>
          <p:cNvSpPr txBox="1">
            <a:spLocks/>
          </p:cNvSpPr>
          <p:nvPr/>
        </p:nvSpPr>
        <p:spPr>
          <a:xfrm>
            <a:off x="553792" y="43567"/>
            <a:ext cx="7100476" cy="734668"/>
          </a:xfrm>
          <a:prstGeom prst="rect">
            <a:avLst/>
          </a:prstGeom>
        </p:spPr>
        <p:txBody>
          <a:bodyPr vert="horz" lIns="134408" tIns="67204" rIns="134408" bIns="67204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44077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2940">
                <a:latin typeface="Petrobras Sans"/>
              </a:rPr>
              <a:t>AUDITORIA CONTÍNUA - TRANSPETRO</a:t>
            </a:r>
          </a:p>
        </p:txBody>
      </p:sp>
      <p:sp>
        <p:nvSpPr>
          <p:cNvPr id="2" name="Título 8">
            <a:extLst>
              <a:ext uri="{FF2B5EF4-FFF2-40B4-BE49-F238E27FC236}">
                <a16:creationId xmlns:a16="http://schemas.microsoft.com/office/drawing/2014/main" id="{E9C4C46F-4799-2B46-93C1-EF528CADA18E}"/>
              </a:ext>
            </a:extLst>
          </p:cNvPr>
          <p:cNvSpPr txBox="1">
            <a:spLocks/>
          </p:cNvSpPr>
          <p:nvPr/>
        </p:nvSpPr>
        <p:spPr>
          <a:xfrm>
            <a:off x="647760" y="3496598"/>
            <a:ext cx="7006508" cy="734668"/>
          </a:xfrm>
          <a:prstGeom prst="rect">
            <a:avLst/>
          </a:prstGeom>
        </p:spPr>
        <p:txBody>
          <a:bodyPr vert="horz" lIns="134408" tIns="67204" rIns="134408" bIns="67204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44077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2940">
                <a:latin typeface="Petrobras Sans"/>
              </a:rPr>
              <a:t>ENTIDADES EXTERNAS</a:t>
            </a: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CA2055F0-F87F-EDBD-08BC-1E6181CB9C04}"/>
              </a:ext>
            </a:extLst>
          </p:cNvPr>
          <p:cNvSpPr/>
          <p:nvPr/>
        </p:nvSpPr>
        <p:spPr>
          <a:xfrm>
            <a:off x="987148" y="4322543"/>
            <a:ext cx="16182894" cy="4832569"/>
          </a:xfrm>
          <a:custGeom>
            <a:avLst/>
            <a:gdLst/>
            <a:ahLst/>
            <a:cxnLst/>
            <a:rect l="l" t="t" r="r" b="b"/>
            <a:pathLst>
              <a:path w="3047051" h="1913890">
                <a:moveTo>
                  <a:pt x="0" y="0"/>
                </a:moveTo>
                <a:lnTo>
                  <a:pt x="3047051" y="0"/>
                </a:lnTo>
                <a:lnTo>
                  <a:pt x="3047051" y="1913890"/>
                </a:lnTo>
                <a:lnTo>
                  <a:pt x="0" y="191389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/>
          <a:lstStyle/>
          <a:p>
            <a:endParaRPr lang="pt-BR"/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C2879AF-1C4F-ACC2-2D96-BF06A6C3A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021820"/>
              </p:ext>
            </p:extLst>
          </p:nvPr>
        </p:nvGraphicFramePr>
        <p:xfrm>
          <a:off x="1554993" y="4482895"/>
          <a:ext cx="15047199" cy="4495800"/>
        </p:xfrm>
        <a:graphic>
          <a:graphicData uri="http://schemas.openxmlformats.org/drawingml/2006/table">
            <a:tbl>
              <a:tblPr firstRow="1" bandRow="1"/>
              <a:tblGrid>
                <a:gridCol w="1671911">
                  <a:extLst>
                    <a:ext uri="{9D8B030D-6E8A-4147-A177-3AD203B41FA5}">
                      <a16:colId xmlns:a16="http://schemas.microsoft.com/office/drawing/2014/main" val="125417559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20069735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873225839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434203574"/>
                    </a:ext>
                  </a:extLst>
                </a:gridCol>
                <a:gridCol w="1671911">
                  <a:extLst>
                    <a:ext uri="{9D8B030D-6E8A-4147-A177-3AD203B41FA5}">
                      <a16:colId xmlns:a16="http://schemas.microsoft.com/office/drawing/2014/main" val="140240806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Item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/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Tema/Objeto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Tipo de Serviç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Orige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H/H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</a:rPr>
                        <a:t>Abrangênc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i="1">
                          <a:solidFill>
                            <a:srgbClr val="FDC82F"/>
                          </a:solidFill>
                          <a:latin typeface="Petrobras Sans"/>
                        </a:rPr>
                        <a:t>Macroprocesso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Diretoria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tc>
                  <a:txBody>
                    <a:bodyPr/>
                    <a:lstStyle>
                      <a:lvl1pPr marL="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66905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133811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200717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2676226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3345282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4014340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4683397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5352453" algn="l" defTabSz="1338113" rtl="0" eaLnBrk="1" latinLnBrk="0" hangingPunct="1">
                        <a:defRPr sz="2634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indent="0" algn="ctr" defTabSz="6858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1">
                          <a:solidFill>
                            <a:srgbClr val="FDC82F"/>
                          </a:solidFill>
                          <a:latin typeface="Petrobras Sans"/>
                          <a:ea typeface="Trebuchet MS" charset="0"/>
                          <a:cs typeface="Trebuchet MS" charset="0"/>
                        </a:rPr>
                        <a:t>Unida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encio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6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a Supervisão de Planos de Previdência, Operações e Gestão Financeira de Seguros e Garanti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1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algn="ctr" fontAlgn="b">
                        <a:buNone/>
                      </a:pP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1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36038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rrecadação de Recurs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6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a Supervisão de Planos de Previdência, Operações e Gestão Financeira de Seguros e Garanti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71371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ssivo Atuar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  <a:p>
                      <a:pPr algn="ctr" fontAlgn="ctr">
                        <a:buNone/>
                      </a:pP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96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a Supervisão de Planos de Previdência, Operações e Gestão Financeira de Seguros e Garanti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PETROS 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  <a:p>
                      <a:pPr marL="0" algn="ctr" defTabSz="1338113" rtl="0" eaLnBrk="1" fontAlgn="ctr" latinLnBrk="0" hangingPunct="1"/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39806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estão da APS (Saúde Suplementar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rigação Leg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1.800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PS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Recursos Human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DCORP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RH</a:t>
                      </a:r>
                      <a:endParaRPr lang="pt-BR" sz="1000" b="0" i="0" u="none" strike="noStrike" kern="120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54073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b="0" i="0" u="none" strike="noStrike" err="1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Riscos</a:t>
                      </a:r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de </a:t>
                      </a:r>
                      <a:r>
                        <a:rPr lang="en-US" sz="1100" b="0" i="0" u="none" strike="noStrike" err="1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Terceiros</a:t>
                      </a:r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-  APS e PETROS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valia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3811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Petrobras Sans"/>
                          <a:ea typeface="+mn-ea"/>
                          <a:cs typeface="+mn-cs"/>
                        </a:rPr>
                        <a:t>Avaliação de Risc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500</a:t>
                      </a:r>
                      <a:endParaRPr lang="pt-BR" sz="1000" b="0" i="0" u="none" strike="noStrike" kern="1200">
                        <a:solidFill>
                          <a:schemeClr val="bg1"/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APS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 PETROS</a:t>
                      </a:r>
                      <a:endParaRPr lang="pt-BR" sz="1000" b="0" i="0" u="none" strike="noStrike" kern="1200">
                        <a:solidFill>
                          <a:schemeClr val="bg1"/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pt-BR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Gerir Segurança da Informação; Gerir Recursos Humanos; Gerir a Supervisão de Planos de Previdência, Operações e Gestão Financeira de Seguros e Garanti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DCORP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DFINRI</a:t>
                      </a:r>
                      <a:endParaRPr lang="pt-BR" sz="1000" b="0" i="0" u="none" strike="noStrike" kern="1200">
                        <a:solidFill>
                          <a:schemeClr val="bg1"/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SI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RH</a:t>
                      </a:r>
                    </a:p>
                    <a:p>
                      <a:pPr marL="0" algn="ctr" defTabSz="1338113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Petrobras Sans"/>
                          <a:ea typeface="+mn-ea"/>
                          <a:cs typeface="+mn-cs"/>
                        </a:rPr>
                        <a:t>SPSG</a:t>
                      </a:r>
                      <a:endParaRPr lang="pt-BR" sz="1000" b="0" i="0" u="none" strike="noStrike" kern="1200">
                        <a:solidFill>
                          <a:schemeClr val="bg1"/>
                        </a:solidFill>
                        <a:effectLst/>
                        <a:latin typeface="Petrobras San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3110587"/>
                  </a:ext>
                </a:extLst>
              </a:tr>
            </a:tbl>
          </a:graphicData>
        </a:graphic>
      </p:graphicFrame>
      <p:sp>
        <p:nvSpPr>
          <p:cNvPr id="6" name="Freeform 3">
            <a:extLst>
              <a:ext uri="{FF2B5EF4-FFF2-40B4-BE49-F238E27FC236}">
                <a16:creationId xmlns:a16="http://schemas.microsoft.com/office/drawing/2014/main" id="{466E5C2C-46AD-1E7D-7EB9-476AA1D28B0E}"/>
              </a:ext>
            </a:extLst>
          </p:cNvPr>
          <p:cNvSpPr/>
          <p:nvPr/>
        </p:nvSpPr>
        <p:spPr>
          <a:xfrm>
            <a:off x="667034" y="4314511"/>
            <a:ext cx="320110" cy="4840601"/>
          </a:xfrm>
          <a:custGeom>
            <a:avLst/>
            <a:gdLst/>
            <a:ahLst/>
            <a:cxnLst/>
            <a:rect l="l" t="t" r="r" b="b"/>
            <a:pathLst>
              <a:path w="1284324" h="1705284">
                <a:moveTo>
                  <a:pt x="0" y="0"/>
                </a:moveTo>
                <a:lnTo>
                  <a:pt x="1284324" y="0"/>
                </a:lnTo>
                <a:lnTo>
                  <a:pt x="1284324" y="1705284"/>
                </a:lnTo>
                <a:lnTo>
                  <a:pt x="0" y="1705284"/>
                </a:lnTo>
                <a:close/>
              </a:path>
            </a:pathLst>
          </a:custGeom>
          <a:gradFill>
            <a:gsLst>
              <a:gs pos="2655">
                <a:srgbClr val="004165"/>
              </a:gs>
              <a:gs pos="100000">
                <a:srgbClr val="008542"/>
              </a:gs>
            </a:gsLst>
            <a:lin ang="5400000" scaled="1"/>
          </a:gradFill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9396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Forma Livre: Forma 165">
            <a:extLst>
              <a:ext uri="{FF2B5EF4-FFF2-40B4-BE49-F238E27FC236}">
                <a16:creationId xmlns:a16="http://schemas.microsoft.com/office/drawing/2014/main" id="{058BB9D8-77DE-76CD-8CBA-741888437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9776" y="-1"/>
            <a:ext cx="4502842" cy="10080625"/>
          </a:xfrm>
          <a:custGeom>
            <a:avLst/>
            <a:gdLst>
              <a:gd name="connsiteX0" fmla="*/ 0 w 3676021"/>
              <a:gd name="connsiteY0" fmla="*/ 8229600 h 8229600"/>
              <a:gd name="connsiteX1" fmla="*/ 0 w 3676021"/>
              <a:gd name="connsiteY1" fmla="*/ 0 h 8229600"/>
              <a:gd name="connsiteX2" fmla="*/ 249479 w 3676021"/>
              <a:gd name="connsiteY2" fmla="*/ 0 h 8229600"/>
              <a:gd name="connsiteX3" fmla="*/ 2137944 w 3676021"/>
              <a:gd name="connsiteY3" fmla="*/ 278663 h 8229600"/>
              <a:gd name="connsiteX4" fmla="*/ 2389480 w 3676021"/>
              <a:gd name="connsiteY4" fmla="*/ 507797 h 8229600"/>
              <a:gd name="connsiteX5" fmla="*/ 3667277 w 3676021"/>
              <a:gd name="connsiteY5" fmla="*/ 5730774 h 8229600"/>
              <a:gd name="connsiteX6" fmla="*/ 3630549 w 3676021"/>
              <a:gd name="connsiteY6" fmla="*/ 5963260 h 8229600"/>
              <a:gd name="connsiteX7" fmla="*/ 2231822 w 3676021"/>
              <a:gd name="connsiteY7" fmla="*/ 8229600 h 8229600"/>
              <a:gd name="connsiteX8" fmla="*/ 0 w 3676021"/>
              <a:gd name="connsiteY8" fmla="*/ 8229600 h 822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6021" h="8229600">
                <a:moveTo>
                  <a:pt x="0" y="8229600"/>
                </a:moveTo>
                <a:lnTo>
                  <a:pt x="0" y="0"/>
                </a:lnTo>
                <a:lnTo>
                  <a:pt x="249479" y="0"/>
                </a:lnTo>
                <a:lnTo>
                  <a:pt x="2137944" y="278663"/>
                </a:lnTo>
                <a:cubicBezTo>
                  <a:pt x="2260626" y="296799"/>
                  <a:pt x="2360067" y="387325"/>
                  <a:pt x="2389480" y="507797"/>
                </a:cubicBezTo>
                <a:lnTo>
                  <a:pt x="3667277" y="5730774"/>
                </a:lnTo>
                <a:cubicBezTo>
                  <a:pt x="3686709" y="5810098"/>
                  <a:pt x="3673450" y="5893841"/>
                  <a:pt x="3630549" y="5963260"/>
                </a:cubicBezTo>
                <a:lnTo>
                  <a:pt x="2231822" y="8229600"/>
                </a:lnTo>
                <a:lnTo>
                  <a:pt x="0" y="8229600"/>
                </a:lnTo>
                <a:close/>
              </a:path>
            </a:pathLst>
          </a:custGeom>
          <a:solidFill>
            <a:srgbClr val="FDC82F"/>
          </a:solidFill>
          <a:ln w="76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8C0A3597-CC41-2DE6-ACDC-EF98869BE9F7}"/>
              </a:ext>
            </a:extLst>
          </p:cNvPr>
          <p:cNvSpPr/>
          <p:nvPr/>
        </p:nvSpPr>
        <p:spPr>
          <a:xfrm>
            <a:off x="0" y="-1"/>
            <a:ext cx="3963878" cy="10080626"/>
          </a:xfrm>
          <a:custGeom>
            <a:avLst/>
            <a:gdLst>
              <a:gd name="connsiteX0" fmla="*/ 0 w 3236023"/>
              <a:gd name="connsiteY0" fmla="*/ 8176413 h 8176412"/>
              <a:gd name="connsiteX1" fmla="*/ 0 w 3236023"/>
              <a:gd name="connsiteY1" fmla="*/ 0 h 8176412"/>
              <a:gd name="connsiteX2" fmla="*/ 3017825 w 3236023"/>
              <a:gd name="connsiteY2" fmla="*/ 894893 h 8176412"/>
              <a:gd name="connsiteX3" fmla="*/ 3230956 w 3236023"/>
              <a:gd name="connsiteY3" fmla="*/ 1242212 h 8176412"/>
              <a:gd name="connsiteX4" fmla="*/ 1955826 w 3236023"/>
              <a:gd name="connsiteY4" fmla="*/ 8176413 h 8176412"/>
              <a:gd name="connsiteX5" fmla="*/ 0 w 3236023"/>
              <a:gd name="connsiteY5" fmla="*/ 8176413 h 817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6023" h="8176412">
                <a:moveTo>
                  <a:pt x="0" y="8176413"/>
                </a:moveTo>
                <a:lnTo>
                  <a:pt x="0" y="0"/>
                </a:lnTo>
                <a:lnTo>
                  <a:pt x="3017825" y="894893"/>
                </a:lnTo>
                <a:cubicBezTo>
                  <a:pt x="3167177" y="939165"/>
                  <a:pt x="3259150" y="1088974"/>
                  <a:pt x="3230956" y="1242212"/>
                </a:cubicBezTo>
                <a:lnTo>
                  <a:pt x="1955826" y="8176413"/>
                </a:lnTo>
                <a:lnTo>
                  <a:pt x="0" y="8176413"/>
                </a:lnTo>
                <a:close/>
              </a:path>
            </a:pathLst>
          </a:custGeom>
          <a:solidFill>
            <a:srgbClr val="008542"/>
          </a:solidFill>
          <a:ln w="76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ECDEC72-1534-F232-9AC6-6B82168F8D6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6195" y="1395364"/>
            <a:ext cx="2670443" cy="143270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655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SUMÁRIO</a:t>
            </a:r>
          </a:p>
          <a:p>
            <a:pPr marL="0" marR="0" lvl="0" indent="0" algn="l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655" b="1" i="0" u="none" strike="noStrike" kern="1200" cap="none" spc="0" normalizeH="0" baseline="0" noProof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—</a:t>
            </a:r>
          </a:p>
        </p:txBody>
      </p:sp>
      <p:sp>
        <p:nvSpPr>
          <p:cNvPr id="18" name="Retângulo 17">
            <a:hlinkClick r:id="rId2" action="ppaction://hlinksldjump"/>
            <a:extLst>
              <a:ext uri="{FF2B5EF4-FFF2-40B4-BE49-F238E27FC236}">
                <a16:creationId xmlns:a16="http://schemas.microsoft.com/office/drawing/2014/main" id="{F00A6038-81B7-B0B7-80CD-65B64810665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632835" y="1080382"/>
            <a:ext cx="1146528" cy="675046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430" b="0" i="0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 XBold"/>
              <a:ea typeface="+mn-ea"/>
              <a:cs typeface="+mn-cs"/>
            </a:endParaRPr>
          </a:p>
        </p:txBody>
      </p:sp>
      <p:sp>
        <p:nvSpPr>
          <p:cNvPr id="19" name="Retângulo 18">
            <a:hlinkClick r:id="rId3" action="ppaction://hlinksldjump"/>
            <a:extLst>
              <a:ext uri="{FF2B5EF4-FFF2-40B4-BE49-F238E27FC236}">
                <a16:creationId xmlns:a16="http://schemas.microsoft.com/office/drawing/2014/main" id="{A5866BFD-1412-809F-0DB7-0CB3227631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9901127" y="1080382"/>
            <a:ext cx="1146528" cy="675046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20" name="Retângulo 19">
            <a:hlinkClick r:id="" action="ppaction://noaction"/>
            <a:extLst>
              <a:ext uri="{FF2B5EF4-FFF2-40B4-BE49-F238E27FC236}">
                <a16:creationId xmlns:a16="http://schemas.microsoft.com/office/drawing/2014/main" id="{5F29E74A-DAE9-694E-DFB6-0B3328D68CA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1151842" y="1080382"/>
            <a:ext cx="1146528" cy="675046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C0B305C-8A59-025F-F6C8-E4900861C46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-4295682" y="738934"/>
            <a:ext cx="3663509" cy="90649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735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mo alterar a cor do fundo:</a:t>
            </a:r>
            <a:endParaRPr kumimoji="0" lang="pt-BR" sz="122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112783" marR="0" lvl="1" indent="-112783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Recomendamos manter o fundo branco.</a:t>
            </a:r>
          </a:p>
          <a:p>
            <a:pPr marL="0" marR="0" lvl="1" indent="0" algn="ctr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980" b="0" i="0" u="none" strike="noStrike" kern="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_______________________________________________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lemento Gráfico Petrobras (EGP):</a:t>
            </a:r>
            <a:endParaRPr kumimoji="0" lang="pt-BR" sz="122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eenchido: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Utilize o </a:t>
            </a:r>
            <a:r>
              <a:rPr kumimoji="0" lang="pt-BR" sz="1225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eenchimento da Forma</a:t>
            </a:r>
            <a:b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ara alterar as cores.</a:t>
            </a: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</a:t>
            </a:r>
          </a:p>
          <a:p>
            <a:pPr marL="0" marR="0" lvl="1" indent="0" algn="ctr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980" b="0" i="0" u="none" strike="noStrike" kern="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______________________________________________</a:t>
            </a: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ara alterar ilustrações já aplicadas com facilidade, </a:t>
            </a:r>
            <a:b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eservando sua posição no slide:</a:t>
            </a:r>
            <a:endParaRPr kumimoji="0" lang="pt-BR" sz="122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scolha e copie uma das ilustrações disponibilizadas;</a:t>
            </a: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Vá ao slide em que deseja aplicar a ilustração;</a:t>
            </a: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lique com o botão direito do mouse</a:t>
            </a:r>
            <a:b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na ilustração que deseja alterar e selecione:</a:t>
            </a:r>
            <a:b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1225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lterar Gráfico &gt; Da Área de Transferência;</a:t>
            </a: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juste a posição e o tamanho da ilustração,</a:t>
            </a:r>
            <a:b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</a:b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sem alterar as proporções “achatando” ou “esticando” a imagem.</a:t>
            </a:r>
            <a:endParaRPr kumimoji="0" lang="pt-BR" sz="1225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nsultar regras de uso no slide de </a:t>
            </a: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Recursos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.</a:t>
            </a:r>
          </a:p>
          <a:p>
            <a:pPr marL="0" marR="0" lvl="1" indent="0" algn="ctr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980" b="0" i="0" u="none" strike="noStrike" kern="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_______________________________________________</a:t>
            </a:r>
            <a:endParaRPr kumimoji="0" lang="pt-BR" sz="98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1" indent="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ipografia:</a:t>
            </a:r>
            <a:endParaRPr kumimoji="0" lang="pt-BR" sz="122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Use sempre a família Petrobras </a:t>
            </a:r>
            <a:r>
              <a:rPr kumimoji="0" lang="pt-BR" sz="1225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Sans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;</a:t>
            </a:r>
          </a:p>
          <a:p>
            <a:pPr marL="106950" marR="0" lvl="1" indent="-106950" algn="l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Sugestão de formatação: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ÍTULO DA PÁGINA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amanho e peso: 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38pt / Bold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49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ÓPICOS: CAPÍTULO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amanho e peso: 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24pt / Bold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spaçamento entre parágrafos: 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24pt / 9pt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490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ÓPICOS: PÁGINA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amanho e peso: 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18pt / Regular</a:t>
            </a:r>
          </a:p>
          <a:p>
            <a:pPr marL="213898" marR="0" lvl="2" indent="-106950" algn="l" defTabSz="871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35"/>
              </a:spcAft>
              <a:buClr>
                <a:srgbClr val="FDC8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25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Espaçamento entre parágrafos: </a:t>
            </a:r>
            <a:r>
              <a:rPr kumimoji="0" lang="pt-BR" sz="122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0pt / 9pt</a:t>
            </a:r>
          </a:p>
          <a:p>
            <a:pPr marL="0" marR="0" lvl="2" indent="0" algn="ctr" defTabSz="871149" rtl="0" eaLnBrk="1" fontAlgn="auto" latinLnBrk="0" hangingPunct="1">
              <a:lnSpc>
                <a:spcPct val="100000"/>
              </a:lnSpc>
              <a:spcBef>
                <a:spcPts val="735"/>
              </a:spcBef>
              <a:spcAft>
                <a:spcPts val="735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1225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O que não for especificado, usar a </a:t>
            </a:r>
            <a:r>
              <a:rPr kumimoji="0" lang="pt-BR" sz="1225" b="1" i="1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config</a:t>
            </a:r>
            <a:r>
              <a:rPr kumimoji="0" lang="pt-BR" sz="1225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. padrão.</a:t>
            </a:r>
            <a:endParaRPr kumimoji="0" lang="pt-BR" sz="122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1" indent="0" algn="ctr" defTabSz="11200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70"/>
              </a:spcAft>
              <a:buClr>
                <a:srgbClr val="FDC82F"/>
              </a:buClr>
              <a:buSzTx/>
              <a:buFontTx/>
              <a:buNone/>
              <a:tabLst/>
              <a:defRPr/>
            </a:pPr>
            <a:r>
              <a:rPr kumimoji="0" lang="pt-BR" sz="980" b="0" i="0" u="none" strike="noStrike" kern="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_______________________________________________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51AF77A-1BAE-E9D0-F725-1776C4C25BFE}"/>
              </a:ext>
            </a:extLst>
          </p:cNvPr>
          <p:cNvSpPr txBox="1"/>
          <p:nvPr/>
        </p:nvSpPr>
        <p:spPr>
          <a:xfrm>
            <a:off x="6568312" y="2704664"/>
            <a:ext cx="12064523" cy="3585597"/>
          </a:xfrm>
          <a:prstGeom prst="rect">
            <a:avLst/>
          </a:prstGeom>
          <a:noFill/>
        </p:spPr>
        <p:txBody>
          <a:bodyPr wrap="square" numCol="1" spcCol="684000">
            <a:spAutoFit/>
          </a:bodyPr>
          <a:lstStyle/>
          <a:p>
            <a:pPr lvl="0" defTabSz="1344077">
              <a:lnSpc>
                <a:spcPct val="200000"/>
              </a:lnSpc>
              <a:tabLst>
                <a:tab pos="52916" algn="l"/>
              </a:tabLst>
              <a:defRPr/>
            </a:pP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</a:t>
            </a:r>
            <a:r>
              <a:rPr lang="pt-BR" sz="2400" b="1" i="1">
                <a:solidFill>
                  <a:srgbClr val="008542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TODOLOGIA DE ELABORAÇÃO DO PAINT </a:t>
            </a: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		   3</a:t>
            </a:r>
          </a:p>
          <a:p>
            <a:pPr lvl="0" defTabSz="1344077">
              <a:lnSpc>
                <a:spcPct val="200000"/>
              </a:lnSpc>
              <a:tabLst>
                <a:tab pos="52916" algn="l"/>
              </a:tabLst>
              <a:defRPr/>
            </a:pP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</a:t>
            </a:r>
            <a:r>
              <a:rPr lang="pt-BR" sz="2400" b="1" i="1">
                <a:solidFill>
                  <a:srgbClr val="008542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LANO DE TRABALHO PARA 2026	</a:t>
            </a: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                                             6</a:t>
            </a:r>
            <a:endParaRPr kumimoji="0" lang="pt-BR" sz="2000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1344077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2916" algn="l"/>
              </a:tabLst>
              <a:defRPr/>
            </a:pP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. CONSIDERAÇÕES FINAIS					12</a:t>
            </a:r>
            <a:endParaRPr kumimoji="0" lang="pt-BR" sz="2000" b="1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 panose="020B0606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916" algn="l"/>
              </a:tabLst>
              <a:defRPr/>
            </a:pPr>
            <a:endParaRPr kumimoji="0" lang="pt-BR" sz="2000" b="1" i="1" u="none" strike="noStrike" kern="1200" cap="none" spc="0" normalizeH="0" baseline="0" noProof="0">
              <a:ln>
                <a:noFill/>
              </a:ln>
              <a:solidFill>
                <a:srgbClr val="A5A5A5">
                  <a:lumMod val="75000"/>
                </a:srgbClr>
              </a:solidFill>
              <a:effectLst/>
              <a:uLnTx/>
              <a:uFillTx/>
              <a:latin typeface="Petrobras Sans" panose="020B0606020204030204" pitchFamily="34" charset="77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916" algn="l"/>
              </a:tabLst>
              <a:defRPr/>
            </a:pPr>
            <a:r>
              <a:rPr kumimoji="0" lang="pt-BR" sz="2000" b="1" i="1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" panose="020B0606020204030204" pitchFamily="34" charset="77"/>
                <a:ea typeface="Times New Roman" panose="02020603050405020304" pitchFamily="18" charset="0"/>
                <a:cs typeface="Arial" panose="020B0604020202020204" pitchFamily="34" charset="0"/>
              </a:rPr>
              <a:t>APÊNDICE  -</a:t>
            </a:r>
            <a:r>
              <a:rPr kumimoji="0" lang="pt-BR" sz="2000" b="1" i="1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rPr>
              <a:t> Detalhamento dos Trabalhos Programados			14</a:t>
            </a:r>
            <a:endParaRPr kumimoji="0" lang="pt-BR" sz="1800" b="1" i="1" u="none" strike="noStrike" kern="1200" cap="none" spc="0" normalizeH="0" baseline="0" noProof="0">
              <a:ln>
                <a:noFill/>
              </a:ln>
              <a:solidFill>
                <a:srgbClr val="A5A5A5">
                  <a:lumMod val="75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916" algn="l"/>
              </a:tabLst>
              <a:defRPr/>
            </a:pPr>
            <a:endParaRPr kumimoji="0" lang="pt-BR" sz="1800" b="1" i="1" u="none" strike="noStrike" kern="1200" cap="none" spc="0" normalizeH="0" baseline="0" noProof="0">
              <a:ln>
                <a:noFill/>
              </a:ln>
              <a:solidFill>
                <a:srgbClr val="A5A5A5">
                  <a:lumMod val="75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6BF2654-E078-7527-44D9-22CDFE6CC8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874417" y="12064"/>
            <a:ext cx="2909962" cy="85816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653727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Uma imagem contendo ao ar livre, grama, edifício, verde&#10;&#10;Descrição gerada automaticamente">
            <a:extLst>
              <a:ext uri="{FF2B5EF4-FFF2-40B4-BE49-F238E27FC236}">
                <a16:creationId xmlns:a16="http://schemas.microsoft.com/office/drawing/2014/main" id="{C9EC2232-4BEB-5EB0-3694-3970927C87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360"/>
            <a:ext cx="18040005" cy="9659266"/>
          </a:xfrm>
          <a:prstGeom prst="rect">
            <a:avLst/>
          </a:prstGeom>
        </p:spPr>
      </p:pic>
      <p:pic>
        <p:nvPicPr>
          <p:cNvPr id="8" name="Imagem 7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2E4311C3-15F4-08A3-D3DF-BBFBE05018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820"/>
          <a:stretch/>
        </p:blipFill>
        <p:spPr>
          <a:xfrm>
            <a:off x="0" y="0"/>
            <a:ext cx="18040005" cy="5461672"/>
          </a:xfrm>
          <a:prstGeom prst="rect">
            <a:avLst/>
          </a:prstGeom>
        </p:spPr>
      </p:pic>
      <p:sp>
        <p:nvSpPr>
          <p:cNvPr id="5" name="Gráfico 7">
            <a:extLst>
              <a:ext uri="{FF2B5EF4-FFF2-40B4-BE49-F238E27FC236}">
                <a16:creationId xmlns:a16="http://schemas.microsoft.com/office/drawing/2014/main" id="{685E838C-FA28-403F-F61E-59190ECA52AF}"/>
              </a:ext>
            </a:extLst>
          </p:cNvPr>
          <p:cNvSpPr/>
          <p:nvPr/>
        </p:nvSpPr>
        <p:spPr>
          <a:xfrm>
            <a:off x="-4980532" y="-188148"/>
            <a:ext cx="26957316" cy="12647812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rgbClr val="008542">
                  <a:alpha val="40000"/>
                </a:srgbClr>
              </a:gs>
              <a:gs pos="0">
                <a:srgbClr val="006298"/>
              </a:gs>
              <a:gs pos="68000">
                <a:srgbClr val="00B2A9">
                  <a:alpha val="50000"/>
                </a:srgb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defTabSz="914400">
              <a:defRPr/>
            </a:pPr>
            <a:endParaRPr lang="pt-BR" kern="0">
              <a:solidFill>
                <a:srgbClr val="75787B"/>
              </a:solidFill>
              <a:latin typeface="Petrobras Sans"/>
            </a:endParaRPr>
          </a:p>
          <a:p>
            <a:pPr defTabSz="914400">
              <a:defRPr/>
            </a:pPr>
            <a:endParaRPr lang="pt-BR" kern="0">
              <a:solidFill>
                <a:srgbClr val="75787B"/>
              </a:solidFill>
              <a:latin typeface="Petrobras Sans"/>
            </a:endParaRPr>
          </a:p>
          <a:p>
            <a:pPr defTabSz="914400">
              <a:defRPr/>
            </a:pPr>
            <a:endParaRPr lang="pt-BR" kern="0">
              <a:solidFill>
                <a:srgbClr val="75787B"/>
              </a:solidFill>
              <a:latin typeface="Petrobras Sans"/>
            </a:endParaRPr>
          </a:p>
          <a:p>
            <a:pPr defTabSz="914400">
              <a:defRPr/>
            </a:pPr>
            <a:endParaRPr lang="pt-BR" kern="0">
              <a:solidFill>
                <a:srgbClr val="75787B"/>
              </a:solidFill>
              <a:latin typeface="Petrobras San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8E93006-C3F2-059B-DDB1-66C485D7BF2A}"/>
              </a:ext>
            </a:extLst>
          </p:cNvPr>
          <p:cNvSpPr txBox="1"/>
          <p:nvPr/>
        </p:nvSpPr>
        <p:spPr>
          <a:xfrm>
            <a:off x="699495" y="820893"/>
            <a:ext cx="11380534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791561">
              <a:defRPr/>
            </a:pPr>
            <a:r>
              <a:rPr lang="pt-BR" sz="3800" b="1">
                <a:solidFill>
                  <a:prstClr val="white"/>
                </a:solidFill>
                <a:latin typeface="Petrobras Sans XBold" panose="020B0806020204030204" pitchFamily="34" charset="0"/>
              </a:rPr>
              <a:t>METODOLOGIA DE ELABORAÇÃO</a:t>
            </a:r>
          </a:p>
          <a:p>
            <a:pPr defTabSz="1791561">
              <a:defRPr/>
            </a:pPr>
            <a:r>
              <a:rPr lang="pt-BR" sz="3800" b="1">
                <a:solidFill>
                  <a:prstClr val="white"/>
                </a:solidFill>
                <a:latin typeface="Petrobras Sans XBold" panose="020B0806020204030204" pitchFamily="34" charset="0"/>
              </a:rPr>
              <a:t>DO PAINT  </a:t>
            </a:r>
            <a:endParaRPr lang="pt-BR" sz="3800" b="1">
              <a:solidFill>
                <a:prstClr val="black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E3169BFF-FAF7-6924-4329-A857D6C415EC}"/>
              </a:ext>
            </a:extLst>
          </p:cNvPr>
          <p:cNvSpPr/>
          <p:nvPr/>
        </p:nvSpPr>
        <p:spPr>
          <a:xfrm>
            <a:off x="699495" y="2518255"/>
            <a:ext cx="617980" cy="61094"/>
          </a:xfrm>
          <a:prstGeom prst="rect">
            <a:avLst/>
          </a:prstGeom>
          <a:solidFill>
            <a:srgbClr val="FDC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4009">
              <a:defRPr/>
            </a:pPr>
            <a:endParaRPr lang="pt-BR" sz="2646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pic>
        <p:nvPicPr>
          <p:cNvPr id="9" name="Imagem 8" descr="Texto&#10;&#10;Descrição gerada automaticamente">
            <a:extLst>
              <a:ext uri="{FF2B5EF4-FFF2-40B4-BE49-F238E27FC236}">
                <a16:creationId xmlns:a16="http://schemas.microsoft.com/office/drawing/2014/main" id="{3FF69870-8D33-AB0A-3BA1-6EF929D6F0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4040" y="101754"/>
            <a:ext cx="3115110" cy="92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93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9F83E-A7C3-D8D6-630F-BFC57983B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21">
            <a:extLst>
              <a:ext uri="{FF2B5EF4-FFF2-40B4-BE49-F238E27FC236}">
                <a16:creationId xmlns:a16="http://schemas.microsoft.com/office/drawing/2014/main" id="{55AB263C-65FC-EE75-D2D1-2CA855369E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8000663" cy="10616991"/>
          </a:xfrm>
          <a:prstGeom prst="rect">
            <a:avLst/>
          </a:prstGeom>
        </p:spPr>
      </p:pic>
      <p:sp>
        <p:nvSpPr>
          <p:cNvPr id="6" name="Gráfico 7">
            <a:extLst>
              <a:ext uri="{FF2B5EF4-FFF2-40B4-BE49-F238E27FC236}">
                <a16:creationId xmlns:a16="http://schemas.microsoft.com/office/drawing/2014/main" id="{BD2EB025-A526-4AC4-2C45-3354C9C17E37}"/>
              </a:ext>
            </a:extLst>
          </p:cNvPr>
          <p:cNvSpPr/>
          <p:nvPr/>
        </p:nvSpPr>
        <p:spPr>
          <a:xfrm>
            <a:off x="-4606307" y="-1186791"/>
            <a:ext cx="29892215" cy="13221888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chemeClr val="accent1">
                  <a:alpha val="90000"/>
                </a:schemeClr>
              </a:gs>
              <a:gs pos="0">
                <a:schemeClr val="tx2"/>
              </a:gs>
              <a:gs pos="68000">
                <a:schemeClr val="accent4">
                  <a:alpha val="50000"/>
                </a:scheme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D767A1CD-3BD9-BDCF-9A91-EDE0FF916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6424" y="5903840"/>
            <a:ext cx="2423782" cy="7561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1132" tIns="55565" rIns="111132" bIns="55565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11283" rtl="0" eaLnBrk="0" fontAlgn="base" latinLnBrk="0" hangingPunct="0">
              <a:lnSpc>
                <a:spcPts val="294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-4923599" algn="l"/>
                <a:tab pos="-4157664" algn="l"/>
                <a:tab pos="555641" algn="l"/>
                <a:tab pos="1111283" algn="l"/>
                <a:tab pos="1666924" algn="l"/>
                <a:tab pos="2222565" algn="l"/>
                <a:tab pos="2778207" algn="l"/>
                <a:tab pos="3333848" algn="l"/>
              </a:tabLst>
              <a:defRPr/>
            </a:pPr>
            <a:r>
              <a:rPr kumimoji="0" lang="pt-BR" altLang="pt-BR" sz="11759" b="0" i="1" u="none" strike="noStrike" kern="1200" cap="none" spc="88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XBold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kumimoji="0" lang="en-US" altLang="pt-BR" sz="11759" b="0" i="1" u="none" strike="noStrike" kern="120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Petrobras Sans XBold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BD47904F-8795-4685-8D83-3963BAF252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3093" y="5877264"/>
            <a:ext cx="2423782" cy="7561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1132" tIns="55565" rIns="111132" bIns="55565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11283" rtl="0" eaLnBrk="0" fontAlgn="base" latinLnBrk="0" hangingPunct="0">
              <a:lnSpc>
                <a:spcPts val="294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-4923599" algn="l"/>
                <a:tab pos="-4157664" algn="l"/>
                <a:tab pos="555641" algn="l"/>
                <a:tab pos="1111283" algn="l"/>
                <a:tab pos="1666924" algn="l"/>
                <a:tab pos="2222565" algn="l"/>
                <a:tab pos="2778207" algn="l"/>
                <a:tab pos="3333848" algn="l"/>
              </a:tabLst>
              <a:defRPr/>
            </a:pPr>
            <a:r>
              <a:rPr kumimoji="0" lang="pt-BR" altLang="pt-BR" sz="11759" b="0" i="1" u="none" strike="noStrike" kern="1200" cap="none" spc="88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XBold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kumimoji="0" lang="en-US" altLang="pt-BR" sz="11759" b="0" i="1" u="none" strike="noStrike" kern="120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Petrobras Sans XBold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335821D3-5617-3453-1CC8-E34A8AFDE0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6424" y="2168408"/>
            <a:ext cx="2423782" cy="7561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1132" tIns="55565" rIns="111132" bIns="55565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11283" rtl="0" eaLnBrk="0" fontAlgn="base" latinLnBrk="0" hangingPunct="0">
              <a:lnSpc>
                <a:spcPts val="294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-4923599" algn="l"/>
                <a:tab pos="-4157664" algn="l"/>
                <a:tab pos="555641" algn="l"/>
                <a:tab pos="1111283" algn="l"/>
                <a:tab pos="1666924" algn="l"/>
                <a:tab pos="2222565" algn="l"/>
                <a:tab pos="2778207" algn="l"/>
                <a:tab pos="3333848" algn="l"/>
              </a:tabLst>
              <a:defRPr/>
            </a:pPr>
            <a:r>
              <a:rPr kumimoji="0" lang="pt-BR" altLang="pt-BR" sz="11759" b="0" i="1" u="none" strike="noStrike" kern="1200" cap="none" spc="88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XBold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kumimoji="0" lang="en-US" altLang="pt-BR" sz="11759" b="0" i="1" u="none" strike="noStrike" kern="120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Petrobras Sans XBold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08CEC410-F0AC-CA2E-CBD3-B0994E89E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7006" y="2168408"/>
            <a:ext cx="2423782" cy="7561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1132" tIns="55565" rIns="111132" bIns="55565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11283" rtl="0" eaLnBrk="0" fontAlgn="base" latinLnBrk="0" hangingPunct="0">
              <a:lnSpc>
                <a:spcPts val="294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-4923599" algn="l"/>
                <a:tab pos="-4157664" algn="l"/>
                <a:tab pos="555641" algn="l"/>
                <a:tab pos="1111283" algn="l"/>
                <a:tab pos="1666924" algn="l"/>
                <a:tab pos="2222565" algn="l"/>
                <a:tab pos="2778207" algn="l"/>
                <a:tab pos="3333848" algn="l"/>
              </a:tabLst>
              <a:defRPr/>
            </a:pPr>
            <a:r>
              <a:rPr kumimoji="0" lang="pt-BR" altLang="pt-BR" sz="11759" b="0" i="1" u="none" strike="noStrike" kern="1200" cap="none" spc="88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XBold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kumimoji="0" lang="en-US" altLang="pt-BR" sz="11759" b="0" i="1" u="none" strike="noStrike" kern="1200" cap="none" spc="0" normalizeH="0" baseline="0" noProof="0">
              <a:ln>
                <a:noFill/>
              </a:ln>
              <a:solidFill>
                <a:srgbClr val="EBFF00"/>
              </a:solidFill>
              <a:effectLst/>
              <a:uLnTx/>
              <a:uFillTx/>
              <a:latin typeface="Petrobras Sans XBold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3" name="Gráfico 42">
            <a:extLst>
              <a:ext uri="{FF2B5EF4-FFF2-40B4-BE49-F238E27FC236}">
                <a16:creationId xmlns:a16="http://schemas.microsoft.com/office/drawing/2014/main" id="{BBC82EFB-D0E6-4A03-901B-40E22678F4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648689" y="-1269933"/>
            <a:ext cx="24222075" cy="11410075"/>
          </a:xfrm>
          <a:prstGeom prst="rect">
            <a:avLst/>
          </a:prstGeom>
        </p:spPr>
      </p:pic>
      <p:pic>
        <p:nvPicPr>
          <p:cNvPr id="41" name="Gráfico 40">
            <a:extLst>
              <a:ext uri="{FF2B5EF4-FFF2-40B4-BE49-F238E27FC236}">
                <a16:creationId xmlns:a16="http://schemas.microsoft.com/office/drawing/2014/main" id="{21AD088C-9994-62FD-624D-141331248B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704">
            <a:off x="-3161535" y="-822097"/>
            <a:ext cx="23761984" cy="10514399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200E6BE6-5CE7-C242-3902-F67E2211A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82" y="1181416"/>
            <a:ext cx="5699618" cy="2625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1132" tIns="55565" rIns="111132" bIns="55565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-4051300" algn="l"/>
                <a:tab pos="-3421063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11283" rtl="0" eaLnBrk="0" fontAlgn="base" latinLnBrk="0" hangingPunct="0">
              <a:lnSpc>
                <a:spcPts val="48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-4923599" algn="l"/>
                <a:tab pos="-4157664" algn="l"/>
                <a:tab pos="555641" algn="l"/>
                <a:tab pos="1111283" algn="l"/>
                <a:tab pos="1666924" algn="l"/>
                <a:tab pos="2222565" algn="l"/>
                <a:tab pos="2778207" algn="l"/>
                <a:tab pos="3333848" algn="l"/>
              </a:tabLst>
              <a:defRPr/>
            </a:pPr>
            <a:r>
              <a:rPr kumimoji="0" lang="pt-BR" altLang="pt-BR" sz="4800" b="0" i="1" u="none" strike="noStrike" kern="1200" cap="none" spc="8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Times New Roman" panose="02020603050405020304" pitchFamily="18" charset="0"/>
                <a:cs typeface="Times New Roman" panose="02020603050405020304" pitchFamily="18" charset="0"/>
              </a:rPr>
              <a:t>Metodologia adotada na elaboração do Plan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2D7593E6-B851-D555-D1C3-7DA5EDE8EA52}"/>
              </a:ext>
            </a:extLst>
          </p:cNvPr>
          <p:cNvSpPr txBox="1"/>
          <p:nvPr/>
        </p:nvSpPr>
        <p:spPr>
          <a:xfrm>
            <a:off x="6554398" y="5057733"/>
            <a:ext cx="4233333" cy="212814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1764"/>
              </a:spcAft>
              <a:buClrTx/>
              <a:buSzPct val="300000"/>
              <a:buFontTx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Definição de trabalhos por temas</a:t>
            </a: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, visando ampliar a cobertura e visão integrada da gestão de riscos na Companhia.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B7493B83-0CF4-DBF2-992A-9F71BE7098B8}"/>
              </a:ext>
            </a:extLst>
          </p:cNvPr>
          <p:cNvSpPr txBox="1"/>
          <p:nvPr/>
        </p:nvSpPr>
        <p:spPr>
          <a:xfrm>
            <a:off x="11814596" y="5057733"/>
            <a:ext cx="5036490" cy="2535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344077">
              <a:spcBef>
                <a:spcPts val="882"/>
              </a:spcBef>
              <a:spcAft>
                <a:spcPts val="1764"/>
              </a:spcAft>
              <a:buSzPct val="300000"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Interação constante com as  partes interessadas</a:t>
            </a: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, </a:t>
            </a:r>
            <a:r>
              <a:rPr lang="pt-BR" sz="2646" b="1" i="1">
                <a:solidFill>
                  <a:srgbClr val="FFFFFF"/>
                </a:solidFill>
                <a:latin typeface="Petrobras Sans "/>
              </a:rPr>
              <a:t>seja na coleta de insumos para definição dos trabalhos, seja percepção de riscos e priorizações.</a:t>
            </a:r>
            <a:endParaRPr kumimoji="0" lang="pt-BR" sz="2646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"/>
              <a:ea typeface="+mn-ea"/>
              <a:cs typeface="+mn-cs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3BB06A53-F29F-A715-D622-C5FF35EB88E6}"/>
              </a:ext>
            </a:extLst>
          </p:cNvPr>
          <p:cNvSpPr txBox="1"/>
          <p:nvPr/>
        </p:nvSpPr>
        <p:spPr>
          <a:xfrm>
            <a:off x="6554397" y="1350304"/>
            <a:ext cx="4774109" cy="2578697"/>
          </a:xfrm>
          <a:prstGeom prst="rect">
            <a:avLst/>
          </a:prstGeom>
          <a:noFill/>
        </p:spPr>
        <p:txBody>
          <a:bodyPr wrap="square" lIns="134408" tIns="67204" rIns="134408" bIns="67204" anchor="t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1764"/>
              </a:spcAft>
              <a:buClrTx/>
              <a:buSzPct val="300000"/>
              <a:buFontTx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Definição do universo auditável</a:t>
            </a: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, contemplando: processos; riscos; programas e projetos; empresas controladas; parcerias; e entidades externas.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4164E25-EA22-8C54-80FE-956390E6B321}"/>
              </a:ext>
            </a:extLst>
          </p:cNvPr>
          <p:cNvSpPr txBox="1"/>
          <p:nvPr/>
        </p:nvSpPr>
        <p:spPr>
          <a:xfrm>
            <a:off x="12076977" y="1350303"/>
            <a:ext cx="4774109" cy="2695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ts val="2940"/>
              </a:lnSpc>
              <a:spcBef>
                <a:spcPts val="882"/>
              </a:spcBef>
              <a:spcAft>
                <a:spcPts val="1764"/>
              </a:spcAft>
              <a:buClrTx/>
              <a:buSzPct val="300000"/>
              <a:buFontTx/>
              <a:buNone/>
              <a:tabLst/>
              <a:defRPr/>
            </a:pP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EBFF00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Definição dos critérios de priorização</a:t>
            </a:r>
            <a:r>
              <a:rPr kumimoji="0" lang="pt-BR" sz="2646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, que levam em consideração os objetivos e riscos da Companhia, seu plano de negócios e a percepção de risco das partes interessadas e da Auditoria. </a:t>
            </a:r>
          </a:p>
        </p:txBody>
      </p:sp>
      <p:sp>
        <p:nvSpPr>
          <p:cNvPr id="3" name="Espaço Reservado para Número de Slide 6">
            <a:extLst>
              <a:ext uri="{FF2B5EF4-FFF2-40B4-BE49-F238E27FC236}">
                <a16:creationId xmlns:a16="http://schemas.microsoft.com/office/drawing/2014/main" id="{DD452ABA-654E-D9D0-573F-FA71D044CEB9}"/>
              </a:ext>
            </a:extLst>
          </p:cNvPr>
          <p:cNvSpPr txBox="1">
            <a:spLocks/>
          </p:cNvSpPr>
          <p:nvPr/>
        </p:nvSpPr>
        <p:spPr>
          <a:xfrm>
            <a:off x="13573347" y="9513666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89521A9-C57E-301C-B208-0A4960467696}"/>
              </a:ext>
            </a:extLst>
          </p:cNvPr>
          <p:cNvSpPr txBox="1"/>
          <p:nvPr/>
        </p:nvSpPr>
        <p:spPr>
          <a:xfrm>
            <a:off x="1175658" y="8289881"/>
            <a:ext cx="15087600" cy="355842"/>
          </a:xfrm>
          <a:prstGeom prst="roundRect">
            <a:avLst/>
          </a:prstGeom>
          <a:noFill/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 defTabSz="914400">
              <a:defRPr/>
            </a:pPr>
            <a:r>
              <a:rPr kumimoji="0" lang="pt-BR" sz="14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Light" panose="020B0406020204030204" pitchFamily="34" charset="0"/>
                <a:cs typeface="Arial" panose="020B0604020202020204" pitchFamily="34" charset="0"/>
              </a:rPr>
              <a:t>O</a:t>
            </a:r>
            <a:r>
              <a:rPr lang="pt-BR" sz="1400" b="1" i="1" kern="0">
                <a:solidFill>
                  <a:srgbClr val="FFFFFF"/>
                </a:solidFill>
                <a:latin typeface="Petrobras Sans Light" panose="020B0406020204030204" pitchFamily="34" charset="0"/>
              </a:rPr>
              <a:t> Plano de Auditoria Interna deve ser dinâmico e atualizado de forma oportuna, em resposta a mudanças nos negócios, riscos, operações, programas, sistemas, controles e cultura organizacional.</a:t>
            </a:r>
            <a:endParaRPr kumimoji="0" lang="pt-BR" sz="1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Light" panose="020B0406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m 14" descr="Texto&#10;&#10;Descrição gerada automaticamente">
            <a:extLst>
              <a:ext uri="{FF2B5EF4-FFF2-40B4-BE49-F238E27FC236}">
                <a16:creationId xmlns:a16="http://schemas.microsoft.com/office/drawing/2014/main" id="{741D81F6-E0B9-260C-54BC-9B6B6D9E6A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8615" y="-129853"/>
            <a:ext cx="3115110" cy="92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51103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Agrupar 74">
            <a:extLst>
              <a:ext uri="{FF2B5EF4-FFF2-40B4-BE49-F238E27FC236}">
                <a16:creationId xmlns:a16="http://schemas.microsoft.com/office/drawing/2014/main" id="{0AEDA938-ECC8-FAFB-67DC-F9E1C008E5CE}"/>
              </a:ext>
            </a:extLst>
          </p:cNvPr>
          <p:cNvGrpSpPr/>
          <p:nvPr/>
        </p:nvGrpSpPr>
        <p:grpSpPr>
          <a:xfrm>
            <a:off x="8302" y="894807"/>
            <a:ext cx="7436469" cy="8498039"/>
            <a:chOff x="1137450" y="609600"/>
            <a:chExt cx="5309381" cy="5807007"/>
          </a:xfrm>
        </p:grpSpPr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FB63462E-A5AF-1596-FC4C-7D07B8F947A3}"/>
                </a:ext>
              </a:extLst>
            </p:cNvPr>
            <p:cNvSpPr/>
            <p:nvPr/>
          </p:nvSpPr>
          <p:spPr>
            <a:xfrm>
              <a:off x="1264730" y="1021223"/>
              <a:ext cx="5182101" cy="5182101"/>
            </a:xfrm>
            <a:custGeom>
              <a:avLst/>
              <a:gdLst>
                <a:gd name="connsiteX0" fmla="*/ 0 w 5238339"/>
                <a:gd name="connsiteY0" fmla="*/ 2619170 h 5238339"/>
                <a:gd name="connsiteX1" fmla="*/ 767142 w 5238339"/>
                <a:gd name="connsiteY1" fmla="*/ 4471198 h 5238339"/>
                <a:gd name="connsiteX2" fmla="*/ 2619170 w 5238339"/>
                <a:gd name="connsiteY2" fmla="*/ 5238340 h 5238339"/>
                <a:gd name="connsiteX3" fmla="*/ 4312428 w 5238339"/>
                <a:gd name="connsiteY3" fmla="*/ 4617633 h 5238339"/>
                <a:gd name="connsiteX4" fmla="*/ 4471198 w 5238339"/>
                <a:gd name="connsiteY4" fmla="*/ 4471198 h 5238339"/>
                <a:gd name="connsiteX5" fmla="*/ 5238340 w 5238339"/>
                <a:gd name="connsiteY5" fmla="*/ 2619170 h 5238339"/>
                <a:gd name="connsiteX6" fmla="*/ 4471198 w 5238339"/>
                <a:gd name="connsiteY6" fmla="*/ 767142 h 5238339"/>
                <a:gd name="connsiteX7" fmla="*/ 4312428 w 5238339"/>
                <a:gd name="connsiteY7" fmla="*/ 620707 h 5238339"/>
                <a:gd name="connsiteX8" fmla="*/ 2619170 w 5238339"/>
                <a:gd name="connsiteY8" fmla="*/ 0 h 5238339"/>
                <a:gd name="connsiteX9" fmla="*/ 767142 w 5238339"/>
                <a:gd name="connsiteY9" fmla="*/ 767142 h 5238339"/>
                <a:gd name="connsiteX10" fmla="*/ 0 w 5238339"/>
                <a:gd name="connsiteY10" fmla="*/ 2619170 h 523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339" h="5238339">
                  <a:moveTo>
                    <a:pt x="0" y="2619170"/>
                  </a:moveTo>
                  <a:cubicBezTo>
                    <a:pt x="0" y="3318778"/>
                    <a:pt x="272483" y="3976488"/>
                    <a:pt x="767142" y="4471198"/>
                  </a:cubicBezTo>
                  <a:cubicBezTo>
                    <a:pt x="1261852" y="4965857"/>
                    <a:pt x="1919613" y="5238340"/>
                    <a:pt x="2619170" y="5238340"/>
                  </a:cubicBezTo>
                  <a:cubicBezTo>
                    <a:pt x="3246298" y="5238340"/>
                    <a:pt x="3839787" y="5019375"/>
                    <a:pt x="4312428" y="4617633"/>
                  </a:cubicBezTo>
                  <a:cubicBezTo>
                    <a:pt x="4367016" y="4571302"/>
                    <a:pt x="4419973" y="4522422"/>
                    <a:pt x="4471198" y="4471198"/>
                  </a:cubicBezTo>
                  <a:cubicBezTo>
                    <a:pt x="4965857" y="3976488"/>
                    <a:pt x="5238340" y="3318727"/>
                    <a:pt x="5238340" y="2619170"/>
                  </a:cubicBezTo>
                  <a:cubicBezTo>
                    <a:pt x="5238340" y="1919563"/>
                    <a:pt x="4965857" y="1261852"/>
                    <a:pt x="4471198" y="767142"/>
                  </a:cubicBezTo>
                  <a:cubicBezTo>
                    <a:pt x="4419973" y="715918"/>
                    <a:pt x="4367016" y="667089"/>
                    <a:pt x="4312428" y="620707"/>
                  </a:cubicBezTo>
                  <a:cubicBezTo>
                    <a:pt x="3839787" y="218965"/>
                    <a:pt x="3246298" y="0"/>
                    <a:pt x="2619170" y="0"/>
                  </a:cubicBezTo>
                  <a:cubicBezTo>
                    <a:pt x="1919562" y="0"/>
                    <a:pt x="1261852" y="272483"/>
                    <a:pt x="767142" y="767142"/>
                  </a:cubicBezTo>
                  <a:cubicBezTo>
                    <a:pt x="272483" y="1261852"/>
                    <a:pt x="0" y="1919563"/>
                    <a:pt x="0" y="2619170"/>
                  </a:cubicBezTo>
                  <a:close/>
                </a:path>
              </a:pathLst>
            </a:custGeom>
            <a:gradFill flip="none" rotWithShape="1">
              <a:gsLst>
                <a:gs pos="20000">
                  <a:srgbClr val="C4D600"/>
                </a:gs>
                <a:gs pos="0">
                  <a:srgbClr val="FDC82F"/>
                </a:gs>
                <a:gs pos="78610">
                  <a:srgbClr val="00B2A9"/>
                </a:gs>
                <a:gs pos="59000">
                  <a:srgbClr val="3DDAFF"/>
                </a:gs>
                <a:gs pos="41000">
                  <a:srgbClr val="008542"/>
                </a:gs>
                <a:gs pos="98000">
                  <a:srgbClr val="006298"/>
                </a:gs>
              </a:gsLst>
              <a:lin ang="5400000" scaled="1"/>
              <a:tileRect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80" name="Retângulo 79">
              <a:extLst>
                <a:ext uri="{FF2B5EF4-FFF2-40B4-BE49-F238E27FC236}">
                  <a16:creationId xmlns:a16="http://schemas.microsoft.com/office/drawing/2014/main" id="{2EFE0543-EAAE-3C33-B85D-577B54CF7342}"/>
                </a:ext>
              </a:extLst>
            </p:cNvPr>
            <p:cNvSpPr/>
            <p:nvPr/>
          </p:nvSpPr>
          <p:spPr>
            <a:xfrm>
              <a:off x="1137450" y="609600"/>
              <a:ext cx="2896069" cy="5807007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4DF8C5B5-2694-928A-B9BF-8154145149CA}"/>
                </a:ext>
              </a:extLst>
            </p:cNvPr>
            <p:cNvSpPr/>
            <p:nvPr/>
          </p:nvSpPr>
          <p:spPr>
            <a:xfrm>
              <a:off x="1822880" y="1579373"/>
              <a:ext cx="4065800" cy="4065800"/>
            </a:xfrm>
            <a:custGeom>
              <a:avLst/>
              <a:gdLst>
                <a:gd name="connsiteX0" fmla="*/ 0 w 5238339"/>
                <a:gd name="connsiteY0" fmla="*/ 2619170 h 5238339"/>
                <a:gd name="connsiteX1" fmla="*/ 767142 w 5238339"/>
                <a:gd name="connsiteY1" fmla="*/ 4471198 h 5238339"/>
                <a:gd name="connsiteX2" fmla="*/ 2619170 w 5238339"/>
                <a:gd name="connsiteY2" fmla="*/ 5238340 h 5238339"/>
                <a:gd name="connsiteX3" fmla="*/ 4312428 w 5238339"/>
                <a:gd name="connsiteY3" fmla="*/ 4617633 h 5238339"/>
                <a:gd name="connsiteX4" fmla="*/ 4471198 w 5238339"/>
                <a:gd name="connsiteY4" fmla="*/ 4471198 h 5238339"/>
                <a:gd name="connsiteX5" fmla="*/ 5238340 w 5238339"/>
                <a:gd name="connsiteY5" fmla="*/ 2619170 h 5238339"/>
                <a:gd name="connsiteX6" fmla="*/ 4471198 w 5238339"/>
                <a:gd name="connsiteY6" fmla="*/ 767142 h 5238339"/>
                <a:gd name="connsiteX7" fmla="*/ 4312428 w 5238339"/>
                <a:gd name="connsiteY7" fmla="*/ 620707 h 5238339"/>
                <a:gd name="connsiteX8" fmla="*/ 2619170 w 5238339"/>
                <a:gd name="connsiteY8" fmla="*/ 0 h 5238339"/>
                <a:gd name="connsiteX9" fmla="*/ 767142 w 5238339"/>
                <a:gd name="connsiteY9" fmla="*/ 767142 h 5238339"/>
                <a:gd name="connsiteX10" fmla="*/ 0 w 5238339"/>
                <a:gd name="connsiteY10" fmla="*/ 2619170 h 523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339" h="5238339">
                  <a:moveTo>
                    <a:pt x="0" y="2619170"/>
                  </a:moveTo>
                  <a:cubicBezTo>
                    <a:pt x="0" y="3318778"/>
                    <a:pt x="272483" y="3976488"/>
                    <a:pt x="767142" y="4471198"/>
                  </a:cubicBezTo>
                  <a:cubicBezTo>
                    <a:pt x="1261852" y="4965857"/>
                    <a:pt x="1919613" y="5238340"/>
                    <a:pt x="2619170" y="5238340"/>
                  </a:cubicBezTo>
                  <a:cubicBezTo>
                    <a:pt x="3246298" y="5238340"/>
                    <a:pt x="3839787" y="5019375"/>
                    <a:pt x="4312428" y="4617633"/>
                  </a:cubicBezTo>
                  <a:cubicBezTo>
                    <a:pt x="4367016" y="4571302"/>
                    <a:pt x="4419973" y="4522422"/>
                    <a:pt x="4471198" y="4471198"/>
                  </a:cubicBezTo>
                  <a:cubicBezTo>
                    <a:pt x="4965857" y="3976488"/>
                    <a:pt x="5238340" y="3318727"/>
                    <a:pt x="5238340" y="2619170"/>
                  </a:cubicBezTo>
                  <a:cubicBezTo>
                    <a:pt x="5238340" y="1919563"/>
                    <a:pt x="4965857" y="1261852"/>
                    <a:pt x="4471198" y="767142"/>
                  </a:cubicBezTo>
                  <a:cubicBezTo>
                    <a:pt x="4419973" y="715918"/>
                    <a:pt x="4367016" y="667089"/>
                    <a:pt x="4312428" y="620707"/>
                  </a:cubicBezTo>
                  <a:cubicBezTo>
                    <a:pt x="3839787" y="218965"/>
                    <a:pt x="3246298" y="0"/>
                    <a:pt x="2619170" y="0"/>
                  </a:cubicBezTo>
                  <a:cubicBezTo>
                    <a:pt x="1919562" y="0"/>
                    <a:pt x="1261852" y="272483"/>
                    <a:pt x="767142" y="767142"/>
                  </a:cubicBezTo>
                  <a:cubicBezTo>
                    <a:pt x="272483" y="1261852"/>
                    <a:pt x="0" y="1919563"/>
                    <a:pt x="0" y="26191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82" name="Elipse 81">
              <a:extLst>
                <a:ext uri="{FF2B5EF4-FFF2-40B4-BE49-F238E27FC236}">
                  <a16:creationId xmlns:a16="http://schemas.microsoft.com/office/drawing/2014/main" id="{FC50DA76-D350-296D-8063-8D560240EDFD}"/>
                </a:ext>
              </a:extLst>
            </p:cNvPr>
            <p:cNvSpPr/>
            <p:nvPr/>
          </p:nvSpPr>
          <p:spPr>
            <a:xfrm>
              <a:off x="2203377" y="1916832"/>
              <a:ext cx="3304807" cy="3304807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105366" rIns="0" bIns="0" rtlCol="0" anchor="ctr"/>
            <a:lstStyle/>
            <a:p>
              <a:pPr marL="0" marR="0" lvl="0" indent="0" algn="ctr" defTabSz="1338113" rtl="0" eaLnBrk="1" fontAlgn="auto" latinLnBrk="0" hangingPunct="1">
                <a:lnSpc>
                  <a:spcPct val="100000"/>
                </a:lnSpc>
                <a:spcBef>
                  <a:spcPts val="29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390" b="0" i="1" u="none" strike="noStrike" kern="0" cap="none" spc="0" normalizeH="0" baseline="0" noProof="0">
                  <a:ln>
                    <a:noFill/>
                  </a:ln>
                  <a:solidFill>
                    <a:srgbClr val="75787B"/>
                  </a:solidFill>
                  <a:effectLst/>
                  <a:uLnTx/>
                  <a:uFillTx/>
                  <a:latin typeface="Petrobras Sans" panose="020B0606020204030204" pitchFamily="34" charset="0"/>
                  <a:ea typeface="+mn-ea"/>
                  <a:cs typeface="+mn-cs"/>
                </a:rPr>
                <a:t>Adoção de critérios qualitativos e quantitativos com o objetivo de  priorizar os itens de maior exposição e impacto ao alcance dos objetivos</a:t>
              </a:r>
            </a:p>
          </p:txBody>
        </p:sp>
      </p:grpSp>
      <p:sp>
        <p:nvSpPr>
          <p:cNvPr id="3" name="Gráfico 22">
            <a:extLst>
              <a:ext uri="{FF2B5EF4-FFF2-40B4-BE49-F238E27FC236}">
                <a16:creationId xmlns:a16="http://schemas.microsoft.com/office/drawing/2014/main" id="{A582DA0E-8191-87F7-DA11-A4554F59E8FE}"/>
              </a:ext>
            </a:extLst>
          </p:cNvPr>
          <p:cNvSpPr/>
          <p:nvPr/>
        </p:nvSpPr>
        <p:spPr>
          <a:xfrm>
            <a:off x="-3392617" y="-226359"/>
            <a:ext cx="23761984" cy="10619543"/>
          </a:xfrm>
          <a:custGeom>
            <a:avLst/>
            <a:gdLst>
              <a:gd name="connsiteX0" fmla="*/ 15928746 w 15943379"/>
              <a:gd name="connsiteY0" fmla="*/ 101423 h 7442786"/>
              <a:gd name="connsiteX1" fmla="*/ 15896265 w 15943379"/>
              <a:gd name="connsiteY1" fmla="*/ 91955 h 7442786"/>
              <a:gd name="connsiteX2" fmla="*/ 13607349 w 15943379"/>
              <a:gd name="connsiteY2" fmla="*/ 6304818 h 7442786"/>
              <a:gd name="connsiteX3" fmla="*/ 13278399 w 15943379"/>
              <a:gd name="connsiteY3" fmla="*/ 6543285 h 7442786"/>
              <a:gd name="connsiteX4" fmla="*/ 3007024 w 15943379"/>
              <a:gd name="connsiteY4" fmla="*/ 6920392 h 7442786"/>
              <a:gd name="connsiteX5" fmla="*/ 2671867 w 15943379"/>
              <a:gd name="connsiteY5" fmla="*/ 6702304 h 7442786"/>
              <a:gd name="connsiteX6" fmla="*/ 44156 w 15943379"/>
              <a:gd name="connsiteY6" fmla="*/ 127195 h 7442786"/>
              <a:gd name="connsiteX7" fmla="*/ 24278 w 15943379"/>
              <a:gd name="connsiteY7" fmla="*/ 134218 h 7442786"/>
              <a:gd name="connsiteX8" fmla="*/ 2165086 w 15943379"/>
              <a:gd name="connsiteY8" fmla="*/ 7209461 h 7442786"/>
              <a:gd name="connsiteX9" fmla="*/ 2480429 w 15943379"/>
              <a:gd name="connsiteY9" fmla="*/ 7442786 h 7442786"/>
              <a:gd name="connsiteX10" fmla="*/ 14093374 w 15943379"/>
              <a:gd name="connsiteY10" fmla="*/ 7406668 h 7442786"/>
              <a:gd name="connsiteX11" fmla="*/ 14389969 w 15943379"/>
              <a:gd name="connsiteY11" fmla="*/ 7166947 h 7442786"/>
              <a:gd name="connsiteX12" fmla="*/ 15928746 w 15943379"/>
              <a:gd name="connsiteY12" fmla="*/ 101423 h 7442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943379" h="7442786">
                <a:moveTo>
                  <a:pt x="15928746" y="101423"/>
                </a:moveTo>
                <a:cubicBezTo>
                  <a:pt x="15957340" y="-30006"/>
                  <a:pt x="15942729" y="-34270"/>
                  <a:pt x="15896265" y="91955"/>
                </a:cubicBezTo>
                <a:lnTo>
                  <a:pt x="13607349" y="6304818"/>
                </a:lnTo>
                <a:cubicBezTo>
                  <a:pt x="13560821" y="6431043"/>
                  <a:pt x="13412838" y="6538331"/>
                  <a:pt x="13278399" y="6543285"/>
                </a:cubicBezTo>
                <a:lnTo>
                  <a:pt x="3007024" y="6920392"/>
                </a:lnTo>
                <a:cubicBezTo>
                  <a:pt x="2872585" y="6925346"/>
                  <a:pt x="2721780" y="6827150"/>
                  <a:pt x="2671867" y="6702304"/>
                </a:cubicBezTo>
                <a:lnTo>
                  <a:pt x="44156" y="127195"/>
                </a:lnTo>
                <a:cubicBezTo>
                  <a:pt x="-5758" y="2287"/>
                  <a:pt x="-14724" y="5485"/>
                  <a:pt x="24278" y="134218"/>
                </a:cubicBezTo>
                <a:lnTo>
                  <a:pt x="2165086" y="7209461"/>
                </a:lnTo>
                <a:cubicBezTo>
                  <a:pt x="2204025" y="7338195"/>
                  <a:pt x="2345927" y="7443162"/>
                  <a:pt x="2480429" y="7442786"/>
                </a:cubicBezTo>
                <a:lnTo>
                  <a:pt x="14093374" y="7406668"/>
                </a:lnTo>
                <a:cubicBezTo>
                  <a:pt x="14227876" y="7406229"/>
                  <a:pt x="14361312" y="7298377"/>
                  <a:pt x="14389969" y="7166947"/>
                </a:cubicBezTo>
                <a:lnTo>
                  <a:pt x="15928746" y="101423"/>
                </a:lnTo>
                <a:close/>
              </a:path>
            </a:pathLst>
          </a:custGeom>
          <a:gradFill>
            <a:gsLst>
              <a:gs pos="36000">
                <a:schemeClr val="accent1">
                  <a:alpha val="90000"/>
                </a:schemeClr>
              </a:gs>
              <a:gs pos="0">
                <a:schemeClr val="tx2">
                  <a:alpha val="90000"/>
                </a:schemeClr>
              </a:gs>
            </a:gsLst>
            <a:lin ang="0" scaled="1"/>
          </a:gradFill>
          <a:ln w="62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2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D5AC6ADA-4CA4-E3BD-70DF-80B41E791686}"/>
              </a:ext>
            </a:extLst>
          </p:cNvPr>
          <p:cNvGrpSpPr/>
          <p:nvPr/>
        </p:nvGrpSpPr>
        <p:grpSpPr>
          <a:xfrm>
            <a:off x="6156394" y="1355486"/>
            <a:ext cx="1128824" cy="1106636"/>
            <a:chOff x="6428024" y="3724907"/>
            <a:chExt cx="1080000" cy="1080000"/>
          </a:xfrm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ABF5310C-EFE2-D862-DA64-342624B4D4F5}"/>
                </a:ext>
              </a:extLst>
            </p:cNvPr>
            <p:cNvSpPr/>
            <p:nvPr/>
          </p:nvSpPr>
          <p:spPr>
            <a:xfrm rot="18900000">
              <a:off x="6428024" y="3724907"/>
              <a:ext cx="1080000" cy="1080000"/>
            </a:xfrm>
            <a:custGeom>
              <a:avLst/>
              <a:gdLst>
                <a:gd name="connsiteX0" fmla="*/ 1367003 w 1367002"/>
                <a:gd name="connsiteY0" fmla="*/ 683501 h 1367002"/>
                <a:gd name="connsiteX1" fmla="*/ 683501 w 1367002"/>
                <a:gd name="connsiteY1" fmla="*/ 1367003 h 1367002"/>
                <a:gd name="connsiteX2" fmla="*/ 0 w 1367002"/>
                <a:gd name="connsiteY2" fmla="*/ 683501 h 1367002"/>
                <a:gd name="connsiteX3" fmla="*/ 683501 w 1367002"/>
                <a:gd name="connsiteY3" fmla="*/ 0 h 1367002"/>
                <a:gd name="connsiteX4" fmla="*/ 1367003 w 1367002"/>
                <a:gd name="connsiteY4" fmla="*/ 683501 h 136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002" h="1367002">
                  <a:moveTo>
                    <a:pt x="1367003" y="683501"/>
                  </a:moveTo>
                  <a:cubicBezTo>
                    <a:pt x="1367003" y="1060989"/>
                    <a:pt x="1060989" y="1367003"/>
                    <a:pt x="683501" y="1367003"/>
                  </a:cubicBezTo>
                  <a:cubicBezTo>
                    <a:pt x="306014" y="1367003"/>
                    <a:pt x="0" y="1060989"/>
                    <a:pt x="0" y="683501"/>
                  </a:cubicBezTo>
                  <a:cubicBezTo>
                    <a:pt x="0" y="306014"/>
                    <a:pt x="306014" y="0"/>
                    <a:pt x="683501" y="0"/>
                  </a:cubicBezTo>
                  <a:cubicBezTo>
                    <a:pt x="1060989" y="0"/>
                    <a:pt x="1367003" y="306014"/>
                    <a:pt x="1367003" y="68350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5E544D6E-462C-CF3E-07BC-51F413ACB284}"/>
                </a:ext>
              </a:extLst>
            </p:cNvPr>
            <p:cNvSpPr/>
            <p:nvPr/>
          </p:nvSpPr>
          <p:spPr>
            <a:xfrm rot="18900000">
              <a:off x="6518024" y="3814907"/>
              <a:ext cx="900000" cy="900000"/>
            </a:xfrm>
            <a:custGeom>
              <a:avLst/>
              <a:gdLst>
                <a:gd name="connsiteX0" fmla="*/ 1043550 w 1043549"/>
                <a:gd name="connsiteY0" fmla="*/ 521775 h 1043549"/>
                <a:gd name="connsiteX1" fmla="*/ 521775 w 1043549"/>
                <a:gd name="connsiteY1" fmla="*/ 1043550 h 1043549"/>
                <a:gd name="connsiteX2" fmla="*/ 0 w 1043549"/>
                <a:gd name="connsiteY2" fmla="*/ 521775 h 1043549"/>
                <a:gd name="connsiteX3" fmla="*/ 521775 w 1043549"/>
                <a:gd name="connsiteY3" fmla="*/ 0 h 1043549"/>
                <a:gd name="connsiteX4" fmla="*/ 1043550 w 1043549"/>
                <a:gd name="connsiteY4" fmla="*/ 521775 h 10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549" h="1043549">
                  <a:moveTo>
                    <a:pt x="1043550" y="521775"/>
                  </a:moveTo>
                  <a:cubicBezTo>
                    <a:pt x="1043550" y="809943"/>
                    <a:pt x="809943" y="1043550"/>
                    <a:pt x="521775" y="1043550"/>
                  </a:cubicBezTo>
                  <a:cubicBezTo>
                    <a:pt x="233607" y="1043550"/>
                    <a:pt x="0" y="809943"/>
                    <a:pt x="0" y="521775"/>
                  </a:cubicBezTo>
                  <a:cubicBezTo>
                    <a:pt x="0" y="233607"/>
                    <a:pt x="233607" y="0"/>
                    <a:pt x="521775" y="0"/>
                  </a:cubicBezTo>
                  <a:cubicBezTo>
                    <a:pt x="809943" y="0"/>
                    <a:pt x="1043550" y="233607"/>
                    <a:pt x="1043550" y="521775"/>
                  </a:cubicBezTo>
                  <a:close/>
                </a:path>
              </a:pathLst>
            </a:custGeom>
            <a:solidFill>
              <a:srgbClr val="00B2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</p:grp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6664F9C0-B026-DCF5-5A8E-236CBA275F5E}"/>
              </a:ext>
            </a:extLst>
          </p:cNvPr>
          <p:cNvSpPr txBox="1"/>
          <p:nvPr/>
        </p:nvSpPr>
        <p:spPr>
          <a:xfrm>
            <a:off x="7286820" y="1428960"/>
            <a:ext cx="3771574" cy="398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38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00B2A9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RISCOS EMPRESARIAIS</a:t>
            </a:r>
          </a:p>
        </p:txBody>
      </p:sp>
      <p:sp>
        <p:nvSpPr>
          <p:cNvPr id="97" name="CaixaDeTexto 96">
            <a:extLst>
              <a:ext uri="{FF2B5EF4-FFF2-40B4-BE49-F238E27FC236}">
                <a16:creationId xmlns:a16="http://schemas.microsoft.com/office/drawing/2014/main" id="{BFCCCF45-1D2E-83B7-04B0-EC0106EBCFE9}"/>
              </a:ext>
            </a:extLst>
          </p:cNvPr>
          <p:cNvSpPr txBox="1"/>
          <p:nvPr/>
        </p:nvSpPr>
        <p:spPr>
          <a:xfrm>
            <a:off x="8643132" y="6138087"/>
            <a:ext cx="7583546" cy="441680"/>
          </a:xfrm>
          <a:prstGeom prst="rect">
            <a:avLst/>
          </a:prstGeom>
          <a:noFill/>
        </p:spPr>
        <p:txBody>
          <a:bodyPr wrap="square" lIns="133814" tIns="66907" rIns="133814" bIns="66907" rtlCol="0" anchor="t">
            <a:spAutoFit/>
          </a:bodyPr>
          <a:lstStyle/>
          <a:p>
            <a:pPr marL="0" marR="0" lvl="0" indent="0" algn="l" defTabSz="1338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OBRIGAÇÕES LEGAIS E REGULATÓRIAS</a:t>
            </a: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A0685DCB-2703-2364-82E1-EE4B22C45CC3}"/>
              </a:ext>
            </a:extLst>
          </p:cNvPr>
          <p:cNvGrpSpPr/>
          <p:nvPr/>
        </p:nvGrpSpPr>
        <p:grpSpPr>
          <a:xfrm>
            <a:off x="7307813" y="3046395"/>
            <a:ext cx="1166595" cy="1167314"/>
            <a:chOff x="6466330" y="2324093"/>
            <a:chExt cx="1080000" cy="1080000"/>
          </a:xfrm>
        </p:grpSpPr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E8911951-D966-B476-726A-C445B5D7D27D}"/>
                </a:ext>
              </a:extLst>
            </p:cNvPr>
            <p:cNvSpPr/>
            <p:nvPr/>
          </p:nvSpPr>
          <p:spPr>
            <a:xfrm rot="18900000">
              <a:off x="6466330" y="2324093"/>
              <a:ext cx="1080000" cy="1080000"/>
            </a:xfrm>
            <a:custGeom>
              <a:avLst/>
              <a:gdLst>
                <a:gd name="connsiteX0" fmla="*/ 1367003 w 1367002"/>
                <a:gd name="connsiteY0" fmla="*/ 683501 h 1367002"/>
                <a:gd name="connsiteX1" fmla="*/ 683501 w 1367002"/>
                <a:gd name="connsiteY1" fmla="*/ 1367002 h 1367002"/>
                <a:gd name="connsiteX2" fmla="*/ 0 w 1367002"/>
                <a:gd name="connsiteY2" fmla="*/ 683501 h 1367002"/>
                <a:gd name="connsiteX3" fmla="*/ 683501 w 1367002"/>
                <a:gd name="connsiteY3" fmla="*/ 0 h 1367002"/>
                <a:gd name="connsiteX4" fmla="*/ 1367003 w 1367002"/>
                <a:gd name="connsiteY4" fmla="*/ 683501 h 136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002" h="1367002">
                  <a:moveTo>
                    <a:pt x="1367003" y="683501"/>
                  </a:moveTo>
                  <a:cubicBezTo>
                    <a:pt x="1367003" y="1060989"/>
                    <a:pt x="1060989" y="1367002"/>
                    <a:pt x="683501" y="1367002"/>
                  </a:cubicBezTo>
                  <a:cubicBezTo>
                    <a:pt x="306014" y="1367002"/>
                    <a:pt x="0" y="1060988"/>
                    <a:pt x="0" y="683501"/>
                  </a:cubicBezTo>
                  <a:cubicBezTo>
                    <a:pt x="0" y="306014"/>
                    <a:pt x="306014" y="0"/>
                    <a:pt x="683501" y="0"/>
                  </a:cubicBezTo>
                  <a:cubicBezTo>
                    <a:pt x="1060989" y="0"/>
                    <a:pt x="1367003" y="306014"/>
                    <a:pt x="1367003" y="68350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447BBF44-50B1-24EE-A42E-7318135B7FF3}"/>
                </a:ext>
              </a:extLst>
            </p:cNvPr>
            <p:cNvSpPr/>
            <p:nvPr/>
          </p:nvSpPr>
          <p:spPr>
            <a:xfrm rot="18900000">
              <a:off x="6556330" y="2414093"/>
              <a:ext cx="900000" cy="900000"/>
            </a:xfrm>
            <a:custGeom>
              <a:avLst/>
              <a:gdLst>
                <a:gd name="connsiteX0" fmla="*/ 1043550 w 1043549"/>
                <a:gd name="connsiteY0" fmla="*/ 521775 h 1043549"/>
                <a:gd name="connsiteX1" fmla="*/ 521775 w 1043549"/>
                <a:gd name="connsiteY1" fmla="*/ 1043550 h 1043549"/>
                <a:gd name="connsiteX2" fmla="*/ 0 w 1043549"/>
                <a:gd name="connsiteY2" fmla="*/ 521775 h 1043549"/>
                <a:gd name="connsiteX3" fmla="*/ 521775 w 1043549"/>
                <a:gd name="connsiteY3" fmla="*/ 0 h 1043549"/>
                <a:gd name="connsiteX4" fmla="*/ 1043550 w 1043549"/>
                <a:gd name="connsiteY4" fmla="*/ 521775 h 10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549" h="1043549">
                  <a:moveTo>
                    <a:pt x="1043550" y="521775"/>
                  </a:moveTo>
                  <a:cubicBezTo>
                    <a:pt x="1043550" y="809943"/>
                    <a:pt x="809943" y="1043550"/>
                    <a:pt x="521775" y="1043550"/>
                  </a:cubicBezTo>
                  <a:cubicBezTo>
                    <a:pt x="233607" y="1043550"/>
                    <a:pt x="0" y="809943"/>
                    <a:pt x="0" y="521775"/>
                  </a:cubicBezTo>
                  <a:cubicBezTo>
                    <a:pt x="0" y="233606"/>
                    <a:pt x="233607" y="0"/>
                    <a:pt x="521775" y="0"/>
                  </a:cubicBezTo>
                  <a:cubicBezTo>
                    <a:pt x="809943" y="0"/>
                    <a:pt x="1043550" y="233606"/>
                    <a:pt x="1043550" y="521775"/>
                  </a:cubicBezTo>
                  <a:close/>
                </a:path>
              </a:pathLst>
            </a:custGeom>
            <a:solidFill>
              <a:srgbClr val="0085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</p:grp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85818FCD-0A27-3B97-3985-AC4D97133E70}"/>
              </a:ext>
            </a:extLst>
          </p:cNvPr>
          <p:cNvSpPr txBox="1"/>
          <p:nvPr/>
        </p:nvSpPr>
        <p:spPr>
          <a:xfrm>
            <a:off x="8488375" y="3080345"/>
            <a:ext cx="5965863" cy="398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338113">
              <a:defRPr/>
            </a:pP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LANO ESTRATÉGICO E PLANO DE NEGÓCIOS</a:t>
            </a:r>
            <a:r>
              <a:rPr lang="pt-BR" b="1" i="1">
                <a:solidFill>
                  <a:srgbClr val="008542"/>
                </a:solidFill>
                <a:latin typeface="Petrobras Sans "/>
              </a:rPr>
              <a:t>¹</a:t>
            </a: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014BDB9-7DD8-F2D8-483A-DFCBD6C6F87E}"/>
              </a:ext>
            </a:extLst>
          </p:cNvPr>
          <p:cNvSpPr txBox="1"/>
          <p:nvPr/>
        </p:nvSpPr>
        <p:spPr>
          <a:xfrm>
            <a:off x="361018" y="698951"/>
            <a:ext cx="7510386" cy="7054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i="1">
                <a:solidFill>
                  <a:srgbClr val="75787B"/>
                </a:solidFill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 processo de avaliação dos objetos auditáveis utiliza as seguintes informações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EEF3E5E-7F54-4EC5-516D-EF9E38C9CD98}"/>
              </a:ext>
            </a:extLst>
          </p:cNvPr>
          <p:cNvSpPr txBox="1"/>
          <p:nvPr/>
        </p:nvSpPr>
        <p:spPr>
          <a:xfrm>
            <a:off x="7720293" y="7719847"/>
            <a:ext cx="4555490" cy="398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38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3DDAFF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ERCEPÇÃO DA AUDITORIA</a:t>
            </a:r>
            <a:endParaRPr kumimoji="0" lang="pt-BR" sz="1992" b="1" i="0" u="none" strike="noStrike" kern="0" cap="none" spc="0" normalizeH="0" baseline="30000" noProof="0">
              <a:ln>
                <a:noFill/>
              </a:ln>
              <a:solidFill>
                <a:srgbClr val="3DDA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031E9303-F1F9-D98B-EA01-C58552AC20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9704">
            <a:off x="-3304363" y="-694508"/>
            <a:ext cx="24041269" cy="10637979"/>
          </a:xfrm>
          <a:prstGeom prst="rect">
            <a:avLst/>
          </a:prstGeom>
        </p:spPr>
      </p:pic>
      <p:grpSp>
        <p:nvGrpSpPr>
          <p:cNvPr id="26" name="Agrupar 25">
            <a:extLst>
              <a:ext uri="{FF2B5EF4-FFF2-40B4-BE49-F238E27FC236}">
                <a16:creationId xmlns:a16="http://schemas.microsoft.com/office/drawing/2014/main" id="{04DEB483-BB0B-0163-45A2-60CAA23C5E88}"/>
              </a:ext>
            </a:extLst>
          </p:cNvPr>
          <p:cNvGrpSpPr/>
          <p:nvPr/>
        </p:nvGrpSpPr>
        <p:grpSpPr>
          <a:xfrm>
            <a:off x="7433363" y="5996724"/>
            <a:ext cx="1212703" cy="1275497"/>
            <a:chOff x="6321935" y="1192323"/>
            <a:chExt cx="1218086" cy="1281159"/>
          </a:xfrm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6DD1B4A3-1FBF-1DC9-ECDD-4B8A6C4A883F}"/>
                </a:ext>
              </a:extLst>
            </p:cNvPr>
            <p:cNvSpPr/>
            <p:nvPr/>
          </p:nvSpPr>
          <p:spPr>
            <a:xfrm rot="18900000">
              <a:off x="6321935" y="1192323"/>
              <a:ext cx="1218086" cy="1281159"/>
            </a:xfrm>
            <a:custGeom>
              <a:avLst/>
              <a:gdLst>
                <a:gd name="connsiteX0" fmla="*/ 1367003 w 1367002"/>
                <a:gd name="connsiteY0" fmla="*/ 683501 h 1367002"/>
                <a:gd name="connsiteX1" fmla="*/ 683501 w 1367002"/>
                <a:gd name="connsiteY1" fmla="*/ 1367002 h 1367002"/>
                <a:gd name="connsiteX2" fmla="*/ 0 w 1367002"/>
                <a:gd name="connsiteY2" fmla="*/ 683501 h 1367002"/>
                <a:gd name="connsiteX3" fmla="*/ 683501 w 1367002"/>
                <a:gd name="connsiteY3" fmla="*/ 0 h 1367002"/>
                <a:gd name="connsiteX4" fmla="*/ 1367003 w 1367002"/>
                <a:gd name="connsiteY4" fmla="*/ 683501 h 136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002" h="1367002">
                  <a:moveTo>
                    <a:pt x="1367003" y="683501"/>
                  </a:moveTo>
                  <a:cubicBezTo>
                    <a:pt x="1367003" y="1060989"/>
                    <a:pt x="1060989" y="1367002"/>
                    <a:pt x="683501" y="1367002"/>
                  </a:cubicBezTo>
                  <a:cubicBezTo>
                    <a:pt x="306014" y="1367002"/>
                    <a:pt x="0" y="1060988"/>
                    <a:pt x="0" y="683501"/>
                  </a:cubicBezTo>
                  <a:cubicBezTo>
                    <a:pt x="0" y="306014"/>
                    <a:pt x="306014" y="0"/>
                    <a:pt x="683501" y="0"/>
                  </a:cubicBezTo>
                  <a:cubicBezTo>
                    <a:pt x="1060989" y="0"/>
                    <a:pt x="1367003" y="306014"/>
                    <a:pt x="1367003" y="68350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CC26F9B1-CB9B-D549-C555-50F11D327AA2}"/>
                </a:ext>
              </a:extLst>
            </p:cNvPr>
            <p:cNvSpPr/>
            <p:nvPr/>
          </p:nvSpPr>
          <p:spPr>
            <a:xfrm rot="18900000">
              <a:off x="6423442" y="1299086"/>
              <a:ext cx="1015072" cy="1067633"/>
            </a:xfrm>
            <a:custGeom>
              <a:avLst/>
              <a:gdLst>
                <a:gd name="connsiteX0" fmla="*/ 1043550 w 1043549"/>
                <a:gd name="connsiteY0" fmla="*/ 521775 h 1043549"/>
                <a:gd name="connsiteX1" fmla="*/ 521775 w 1043549"/>
                <a:gd name="connsiteY1" fmla="*/ 1043550 h 1043549"/>
                <a:gd name="connsiteX2" fmla="*/ 0 w 1043549"/>
                <a:gd name="connsiteY2" fmla="*/ 521775 h 1043549"/>
                <a:gd name="connsiteX3" fmla="*/ 521775 w 1043549"/>
                <a:gd name="connsiteY3" fmla="*/ 0 h 1043549"/>
                <a:gd name="connsiteX4" fmla="*/ 1043550 w 1043549"/>
                <a:gd name="connsiteY4" fmla="*/ 521775 h 10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549" h="1043549">
                  <a:moveTo>
                    <a:pt x="1043550" y="521775"/>
                  </a:moveTo>
                  <a:cubicBezTo>
                    <a:pt x="1043550" y="809943"/>
                    <a:pt x="809943" y="1043550"/>
                    <a:pt x="521775" y="1043550"/>
                  </a:cubicBezTo>
                  <a:cubicBezTo>
                    <a:pt x="233607" y="1043550"/>
                    <a:pt x="0" y="809943"/>
                    <a:pt x="0" y="521775"/>
                  </a:cubicBezTo>
                  <a:cubicBezTo>
                    <a:pt x="0" y="233606"/>
                    <a:pt x="233607" y="0"/>
                    <a:pt x="521775" y="0"/>
                  </a:cubicBezTo>
                  <a:cubicBezTo>
                    <a:pt x="809943" y="0"/>
                    <a:pt x="1043550" y="233606"/>
                    <a:pt x="1043550" y="521775"/>
                  </a:cubicBezTo>
                  <a:close/>
                </a:path>
              </a:pathLst>
            </a:custGeom>
            <a:solidFill>
              <a:srgbClr val="C4D6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</p:grp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3E9D73C-9F47-40BA-468D-E5DA10CCD419}"/>
              </a:ext>
            </a:extLst>
          </p:cNvPr>
          <p:cNvSpPr txBox="1"/>
          <p:nvPr/>
        </p:nvSpPr>
        <p:spPr>
          <a:xfrm>
            <a:off x="8907063" y="4499896"/>
            <a:ext cx="10312196" cy="441680"/>
          </a:xfrm>
          <a:prstGeom prst="rect">
            <a:avLst/>
          </a:prstGeom>
          <a:noFill/>
        </p:spPr>
        <p:txBody>
          <a:bodyPr wrap="square" lIns="133814" tIns="66907" rIns="133814" bIns="66907" rtlCol="0" anchor="t">
            <a:spAutoFit/>
          </a:bodyPr>
          <a:lstStyle/>
          <a:p>
            <a:pPr marL="0" marR="0" lvl="0" indent="0" algn="l" defTabSz="1338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92" b="1" i="0" u="none" strike="noStrike" kern="0" cap="none" spc="0" normalizeH="0" baseline="0" noProof="0">
                <a:ln>
                  <a:noFill/>
                </a:ln>
                <a:solidFill>
                  <a:srgbClr val="FDC82F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ESQUISA COM ALTA ADMINISTRAÇÃO E OUTRAS PARTES INTERESSADAS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ADDC583B-D017-9410-760F-FA11BD61A0A2}"/>
              </a:ext>
            </a:extLst>
          </p:cNvPr>
          <p:cNvSpPr txBox="1"/>
          <p:nvPr/>
        </p:nvSpPr>
        <p:spPr>
          <a:xfrm>
            <a:off x="8953032" y="4868757"/>
            <a:ext cx="9221227" cy="64389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Captura das preocupações com a alta liderança da Companhia através de pesquisa e </a:t>
            </a:r>
          </a:p>
          <a:p>
            <a:pPr marL="0" marR="0" lvl="0" indent="0" algn="just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de entrevistas com Executivos e Diretores, bem como com  a Auditoria Externa e a CGU. 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F480C6E4-701A-C54A-8F0B-DDC839AB5D2B}"/>
              </a:ext>
            </a:extLst>
          </p:cNvPr>
          <p:cNvGrpSpPr/>
          <p:nvPr/>
        </p:nvGrpSpPr>
        <p:grpSpPr>
          <a:xfrm>
            <a:off x="7646219" y="4516100"/>
            <a:ext cx="1214874" cy="1193186"/>
            <a:chOff x="6321935" y="1192323"/>
            <a:chExt cx="1218086" cy="1281159"/>
          </a:xfrm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D708C8EE-10E7-3CE3-3E89-4CBED2516331}"/>
                </a:ext>
              </a:extLst>
            </p:cNvPr>
            <p:cNvSpPr/>
            <p:nvPr/>
          </p:nvSpPr>
          <p:spPr>
            <a:xfrm rot="18900000">
              <a:off x="6321935" y="1192323"/>
              <a:ext cx="1218086" cy="1281159"/>
            </a:xfrm>
            <a:custGeom>
              <a:avLst/>
              <a:gdLst>
                <a:gd name="connsiteX0" fmla="*/ 1367003 w 1367002"/>
                <a:gd name="connsiteY0" fmla="*/ 683501 h 1367002"/>
                <a:gd name="connsiteX1" fmla="*/ 683501 w 1367002"/>
                <a:gd name="connsiteY1" fmla="*/ 1367002 h 1367002"/>
                <a:gd name="connsiteX2" fmla="*/ 0 w 1367002"/>
                <a:gd name="connsiteY2" fmla="*/ 683501 h 1367002"/>
                <a:gd name="connsiteX3" fmla="*/ 683501 w 1367002"/>
                <a:gd name="connsiteY3" fmla="*/ 0 h 1367002"/>
                <a:gd name="connsiteX4" fmla="*/ 1367003 w 1367002"/>
                <a:gd name="connsiteY4" fmla="*/ 683501 h 136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002" h="1367002">
                  <a:moveTo>
                    <a:pt x="1367003" y="683501"/>
                  </a:moveTo>
                  <a:cubicBezTo>
                    <a:pt x="1367003" y="1060989"/>
                    <a:pt x="1060989" y="1367002"/>
                    <a:pt x="683501" y="1367002"/>
                  </a:cubicBezTo>
                  <a:cubicBezTo>
                    <a:pt x="306014" y="1367002"/>
                    <a:pt x="0" y="1060988"/>
                    <a:pt x="0" y="683501"/>
                  </a:cubicBezTo>
                  <a:cubicBezTo>
                    <a:pt x="0" y="306014"/>
                    <a:pt x="306014" y="0"/>
                    <a:pt x="683501" y="0"/>
                  </a:cubicBezTo>
                  <a:cubicBezTo>
                    <a:pt x="1060989" y="0"/>
                    <a:pt x="1367003" y="306014"/>
                    <a:pt x="1367003" y="68350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grpSp>
          <p:nvGrpSpPr>
            <p:cNvPr id="31" name="Agrupar 30">
              <a:extLst>
                <a:ext uri="{FF2B5EF4-FFF2-40B4-BE49-F238E27FC236}">
                  <a16:creationId xmlns:a16="http://schemas.microsoft.com/office/drawing/2014/main" id="{DDE20080-3D68-5C84-6F30-04D6E3CFB7A2}"/>
                </a:ext>
              </a:extLst>
            </p:cNvPr>
            <p:cNvGrpSpPr/>
            <p:nvPr/>
          </p:nvGrpSpPr>
          <p:grpSpPr>
            <a:xfrm>
              <a:off x="6423442" y="1299086"/>
              <a:ext cx="1015072" cy="1067633"/>
              <a:chOff x="6423442" y="1299086"/>
              <a:chExt cx="1015072" cy="1067633"/>
            </a:xfrm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90EE89DA-2A78-9116-753E-9EAD4928E76D}"/>
                  </a:ext>
                </a:extLst>
              </p:cNvPr>
              <p:cNvSpPr/>
              <p:nvPr/>
            </p:nvSpPr>
            <p:spPr>
              <a:xfrm rot="18900000">
                <a:off x="6423442" y="1299086"/>
                <a:ext cx="1015072" cy="1067633"/>
              </a:xfrm>
              <a:custGeom>
                <a:avLst/>
                <a:gdLst>
                  <a:gd name="connsiteX0" fmla="*/ 1043550 w 1043549"/>
                  <a:gd name="connsiteY0" fmla="*/ 521775 h 1043549"/>
                  <a:gd name="connsiteX1" fmla="*/ 521775 w 1043549"/>
                  <a:gd name="connsiteY1" fmla="*/ 1043550 h 1043549"/>
                  <a:gd name="connsiteX2" fmla="*/ 0 w 1043549"/>
                  <a:gd name="connsiteY2" fmla="*/ 521775 h 1043549"/>
                  <a:gd name="connsiteX3" fmla="*/ 521775 w 1043549"/>
                  <a:gd name="connsiteY3" fmla="*/ 0 h 1043549"/>
                  <a:gd name="connsiteX4" fmla="*/ 1043550 w 1043549"/>
                  <a:gd name="connsiteY4" fmla="*/ 521775 h 1043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3549" h="1043549">
                    <a:moveTo>
                      <a:pt x="1043550" y="521775"/>
                    </a:moveTo>
                    <a:cubicBezTo>
                      <a:pt x="1043550" y="809943"/>
                      <a:pt x="809943" y="1043550"/>
                      <a:pt x="521775" y="1043550"/>
                    </a:cubicBezTo>
                    <a:cubicBezTo>
                      <a:pt x="233607" y="1043550"/>
                      <a:pt x="0" y="809943"/>
                      <a:pt x="0" y="521775"/>
                    </a:cubicBezTo>
                    <a:cubicBezTo>
                      <a:pt x="0" y="233606"/>
                      <a:pt x="233607" y="0"/>
                      <a:pt x="521775" y="0"/>
                    </a:cubicBezTo>
                    <a:cubicBezTo>
                      <a:pt x="809943" y="0"/>
                      <a:pt x="1043550" y="233606"/>
                      <a:pt x="1043550" y="521775"/>
                    </a:cubicBezTo>
                    <a:close/>
                  </a:path>
                </a:pathLst>
              </a:custGeom>
              <a:solidFill>
                <a:srgbClr val="FDC82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3381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634" b="0" i="0" u="none" strike="noStrike" kern="0" cap="none" spc="0" normalizeH="0" baseline="0" noProof="0">
                  <a:ln>
                    <a:noFill/>
                  </a:ln>
                  <a:solidFill>
                    <a:srgbClr val="75787B"/>
                  </a:solidFill>
                  <a:effectLst/>
                  <a:uLnTx/>
                  <a:uFillTx/>
                  <a:latin typeface="Petrobras Sans Light"/>
                  <a:ea typeface="+mn-ea"/>
                  <a:cs typeface="+mn-cs"/>
                </a:endParaRPr>
              </a:p>
            </p:txBody>
          </p:sp>
          <p:pic>
            <p:nvPicPr>
              <p:cNvPr id="33" name="Picture 28">
                <a:extLst>
                  <a:ext uri="{FF2B5EF4-FFF2-40B4-BE49-F238E27FC236}">
                    <a16:creationId xmlns:a16="http://schemas.microsoft.com/office/drawing/2014/main" id="{6FC60266-6ADA-A219-DF0C-BB6D7175E1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>
                <a:fillRect/>
              </a:stretch>
            </p:blipFill>
            <p:spPr>
              <a:xfrm flipH="1">
                <a:off x="6655257" y="1498101"/>
                <a:ext cx="577207" cy="606727"/>
              </a:xfrm>
              <a:prstGeom prst="rect">
                <a:avLst/>
              </a:prstGeom>
            </p:spPr>
          </p:pic>
        </p:grpSp>
      </p:grp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A0DC1509-6D0A-A894-3397-AD59350533A6}"/>
              </a:ext>
            </a:extLst>
          </p:cNvPr>
          <p:cNvSpPr txBox="1"/>
          <p:nvPr/>
        </p:nvSpPr>
        <p:spPr>
          <a:xfrm>
            <a:off x="8716875" y="6465287"/>
            <a:ext cx="8935970" cy="64389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00000"/>
              </a:lnSpc>
              <a:defRPr>
                <a:solidFill>
                  <a:schemeClr val="accent3">
                    <a:lumMod val="75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Instruções normativas e leis aplicáveis à Companhia e à atividade de auditoria interna da Petrobras são avaliadas e consideradas no Plano.</a:t>
            </a:r>
          </a:p>
        </p:txBody>
      </p:sp>
      <p:pic>
        <p:nvPicPr>
          <p:cNvPr id="35" name="Gráfico 34" descr="Balança da justiça estrutura de tópicos">
            <a:extLst>
              <a:ext uri="{FF2B5EF4-FFF2-40B4-BE49-F238E27FC236}">
                <a16:creationId xmlns:a16="http://schemas.microsoft.com/office/drawing/2014/main" id="{CC440AA0-4CA0-9D31-6BBA-B8F9418072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2457" y="6248809"/>
            <a:ext cx="713131" cy="694880"/>
          </a:xfrm>
          <a:prstGeom prst="rect">
            <a:avLst/>
          </a:prstGeom>
        </p:spPr>
      </p:pic>
      <p:grpSp>
        <p:nvGrpSpPr>
          <p:cNvPr id="36" name="Agrupar 35">
            <a:extLst>
              <a:ext uri="{FF2B5EF4-FFF2-40B4-BE49-F238E27FC236}">
                <a16:creationId xmlns:a16="http://schemas.microsoft.com/office/drawing/2014/main" id="{D21D7401-1D0C-4483-E923-D2CA77656DF9}"/>
              </a:ext>
            </a:extLst>
          </p:cNvPr>
          <p:cNvGrpSpPr/>
          <p:nvPr/>
        </p:nvGrpSpPr>
        <p:grpSpPr>
          <a:xfrm>
            <a:off x="6562488" y="7626828"/>
            <a:ext cx="1128824" cy="1106636"/>
            <a:chOff x="6428024" y="3724907"/>
            <a:chExt cx="1080000" cy="1080000"/>
          </a:xfrm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D818BEAF-5D08-A9AA-9E35-287DCF866297}"/>
                </a:ext>
              </a:extLst>
            </p:cNvPr>
            <p:cNvSpPr/>
            <p:nvPr/>
          </p:nvSpPr>
          <p:spPr>
            <a:xfrm rot="18900000">
              <a:off x="6428024" y="3724907"/>
              <a:ext cx="1080000" cy="1080000"/>
            </a:xfrm>
            <a:custGeom>
              <a:avLst/>
              <a:gdLst>
                <a:gd name="connsiteX0" fmla="*/ 1367003 w 1367002"/>
                <a:gd name="connsiteY0" fmla="*/ 683501 h 1367002"/>
                <a:gd name="connsiteX1" fmla="*/ 683501 w 1367002"/>
                <a:gd name="connsiteY1" fmla="*/ 1367003 h 1367002"/>
                <a:gd name="connsiteX2" fmla="*/ 0 w 1367002"/>
                <a:gd name="connsiteY2" fmla="*/ 683501 h 1367002"/>
                <a:gd name="connsiteX3" fmla="*/ 683501 w 1367002"/>
                <a:gd name="connsiteY3" fmla="*/ 0 h 1367002"/>
                <a:gd name="connsiteX4" fmla="*/ 1367003 w 1367002"/>
                <a:gd name="connsiteY4" fmla="*/ 683501 h 136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002" h="1367002">
                  <a:moveTo>
                    <a:pt x="1367003" y="683501"/>
                  </a:moveTo>
                  <a:cubicBezTo>
                    <a:pt x="1367003" y="1060989"/>
                    <a:pt x="1060989" y="1367003"/>
                    <a:pt x="683501" y="1367003"/>
                  </a:cubicBezTo>
                  <a:cubicBezTo>
                    <a:pt x="306014" y="1367003"/>
                    <a:pt x="0" y="1060989"/>
                    <a:pt x="0" y="683501"/>
                  </a:cubicBezTo>
                  <a:cubicBezTo>
                    <a:pt x="0" y="306014"/>
                    <a:pt x="306014" y="0"/>
                    <a:pt x="683501" y="0"/>
                  </a:cubicBezTo>
                  <a:cubicBezTo>
                    <a:pt x="1060989" y="0"/>
                    <a:pt x="1367003" y="306014"/>
                    <a:pt x="1367003" y="68350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4AA0FE82-9CC4-85DB-66D0-301C493D87D4}"/>
                </a:ext>
              </a:extLst>
            </p:cNvPr>
            <p:cNvSpPr/>
            <p:nvPr/>
          </p:nvSpPr>
          <p:spPr>
            <a:xfrm rot="18900000">
              <a:off x="6518024" y="3814906"/>
              <a:ext cx="900000" cy="900000"/>
            </a:xfrm>
            <a:custGeom>
              <a:avLst/>
              <a:gdLst>
                <a:gd name="connsiteX0" fmla="*/ 1043550 w 1043549"/>
                <a:gd name="connsiteY0" fmla="*/ 521775 h 1043549"/>
                <a:gd name="connsiteX1" fmla="*/ 521775 w 1043549"/>
                <a:gd name="connsiteY1" fmla="*/ 1043550 h 1043549"/>
                <a:gd name="connsiteX2" fmla="*/ 0 w 1043549"/>
                <a:gd name="connsiteY2" fmla="*/ 521775 h 1043549"/>
                <a:gd name="connsiteX3" fmla="*/ 521775 w 1043549"/>
                <a:gd name="connsiteY3" fmla="*/ 0 h 1043549"/>
                <a:gd name="connsiteX4" fmla="*/ 1043550 w 1043549"/>
                <a:gd name="connsiteY4" fmla="*/ 521775 h 10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549" h="1043549">
                  <a:moveTo>
                    <a:pt x="1043550" y="521775"/>
                  </a:moveTo>
                  <a:cubicBezTo>
                    <a:pt x="1043550" y="809943"/>
                    <a:pt x="809943" y="1043550"/>
                    <a:pt x="521775" y="1043550"/>
                  </a:cubicBezTo>
                  <a:cubicBezTo>
                    <a:pt x="233607" y="1043550"/>
                    <a:pt x="0" y="809943"/>
                    <a:pt x="0" y="521775"/>
                  </a:cubicBezTo>
                  <a:cubicBezTo>
                    <a:pt x="0" y="233607"/>
                    <a:pt x="233607" y="0"/>
                    <a:pt x="521775" y="0"/>
                  </a:cubicBezTo>
                  <a:cubicBezTo>
                    <a:pt x="809943" y="0"/>
                    <a:pt x="1043550" y="233607"/>
                    <a:pt x="1043550" y="521775"/>
                  </a:cubicBezTo>
                  <a:close/>
                </a:path>
              </a:pathLst>
            </a:custGeom>
            <a:solidFill>
              <a:srgbClr val="3DDA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3381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634" b="0" i="0" u="none" strike="noStrike" kern="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/>
                <a:ea typeface="+mn-ea"/>
                <a:cs typeface="+mn-cs"/>
              </a:endParaRPr>
            </a:p>
          </p:txBody>
        </p:sp>
      </p:grp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8B403513-AF40-E7BA-D516-93DB9E28BA3D}"/>
              </a:ext>
            </a:extLst>
          </p:cNvPr>
          <p:cNvSpPr txBox="1"/>
          <p:nvPr/>
        </p:nvSpPr>
        <p:spPr>
          <a:xfrm>
            <a:off x="8488376" y="3447874"/>
            <a:ext cx="8887894" cy="64389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00000"/>
              </a:lnSpc>
              <a:defRPr>
                <a:solidFill>
                  <a:schemeClr val="accent3">
                    <a:lumMod val="75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910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O PE 2050 e o PN 2026-2030 definem o plano de investimentos, os direcionadores e os componentes estratégicos, servindo como referência para a atuação da Auditoria.</a:t>
            </a:r>
          </a:p>
        </p:txBody>
      </p:sp>
      <p:pic>
        <p:nvPicPr>
          <p:cNvPr id="43" name="Picture 26">
            <a:extLst>
              <a:ext uri="{FF2B5EF4-FFF2-40B4-BE49-F238E27FC236}">
                <a16:creationId xmlns:a16="http://schemas.microsoft.com/office/drawing/2014/main" id="{E69BA9F1-159D-4D7B-A561-BDAEE0B03B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 flipH="1">
            <a:off x="7637023" y="3353320"/>
            <a:ext cx="491459" cy="495932"/>
          </a:xfrm>
          <a:prstGeom prst="rect">
            <a:avLst/>
          </a:prstGeom>
        </p:spPr>
      </p:pic>
      <p:pic>
        <p:nvPicPr>
          <p:cNvPr id="44" name="Gráfico 43" descr="Aviso estrutura de tópicos">
            <a:extLst>
              <a:ext uri="{FF2B5EF4-FFF2-40B4-BE49-F238E27FC236}">
                <a16:creationId xmlns:a16="http://schemas.microsoft.com/office/drawing/2014/main" id="{BE838F32-36DC-3B35-C641-2E4DBE05D7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64789" y="1623885"/>
            <a:ext cx="486135" cy="473694"/>
          </a:xfrm>
          <a:prstGeom prst="rect">
            <a:avLst/>
          </a:prstGeom>
        </p:spPr>
      </p:pic>
      <p:sp>
        <p:nvSpPr>
          <p:cNvPr id="47" name="CaixaDeTexto 46">
            <a:extLst>
              <a:ext uri="{FF2B5EF4-FFF2-40B4-BE49-F238E27FC236}">
                <a16:creationId xmlns:a16="http://schemas.microsoft.com/office/drawing/2014/main" id="{A430D0B4-391F-77F1-6D87-F3A32CC330C5}"/>
              </a:ext>
            </a:extLst>
          </p:cNvPr>
          <p:cNvSpPr txBox="1"/>
          <p:nvPr/>
        </p:nvSpPr>
        <p:spPr>
          <a:xfrm>
            <a:off x="7748961" y="8052754"/>
            <a:ext cx="8887895" cy="64389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just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O nível de exposição das atividades e processos aos riscos empresariais é revisado pela Auditoria e considerado para fins de priorização.</a:t>
            </a:r>
          </a:p>
        </p:txBody>
      </p:sp>
      <p:pic>
        <p:nvPicPr>
          <p:cNvPr id="48" name="Gráfico 47" descr="Ideia estrutura de tópicos">
            <a:extLst>
              <a:ext uri="{FF2B5EF4-FFF2-40B4-BE49-F238E27FC236}">
                <a16:creationId xmlns:a16="http://schemas.microsoft.com/office/drawing/2014/main" id="{09876684-5E39-9FDD-72AE-50AFAB4CF7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33216" y="7831661"/>
            <a:ext cx="660378" cy="643474"/>
          </a:xfrm>
          <a:prstGeom prst="rect">
            <a:avLst/>
          </a:prstGeom>
        </p:spPr>
      </p:pic>
      <p:sp>
        <p:nvSpPr>
          <p:cNvPr id="69" name="CaixaDeTexto 68">
            <a:extLst>
              <a:ext uri="{FF2B5EF4-FFF2-40B4-BE49-F238E27FC236}">
                <a16:creationId xmlns:a16="http://schemas.microsoft.com/office/drawing/2014/main" id="{136E55AD-D3EC-869C-A9AD-E94D66C696AC}"/>
              </a:ext>
            </a:extLst>
          </p:cNvPr>
          <p:cNvSpPr txBox="1"/>
          <p:nvPr/>
        </p:nvSpPr>
        <p:spPr>
          <a:xfrm>
            <a:off x="299901" y="61889"/>
            <a:ext cx="12329773" cy="54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1344077">
              <a:defRPr sz="3200" b="1" i="1" spc="-44">
                <a:solidFill>
                  <a:srgbClr val="75787B"/>
                </a:solidFill>
                <a:latin typeface="Petrobras Sans XBold" panose="020B0806020204030204" pitchFamily="34" charset="0"/>
                <a:ea typeface="+mn-lt"/>
                <a:cs typeface="+mn-lt"/>
              </a:defRPr>
            </a:lvl1pPr>
          </a:lstStyle>
          <a:p>
            <a:pPr marL="0" marR="0" lvl="0" indent="0" algn="l" defTabSz="197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940" b="1" i="1" u="none" strike="noStrike" kern="1200" cap="none" spc="-6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" panose="020B0606020204030204" pitchFamily="34" charset="0"/>
              </a:rPr>
              <a:t>Definição dos Critérios de Priorizaçã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D9532A6-C89F-84D5-BDC2-167857586049}"/>
              </a:ext>
            </a:extLst>
          </p:cNvPr>
          <p:cNvSpPr txBox="1"/>
          <p:nvPr/>
        </p:nvSpPr>
        <p:spPr>
          <a:xfrm>
            <a:off x="7366889" y="1799520"/>
            <a:ext cx="9535407" cy="9196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just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92" b="0" i="0" u="none" strike="noStrike" kern="0" cap="none" spc="0" normalizeH="0" baseline="0" noProof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Petrobras Sans Light" panose="020B0406020204030204" pitchFamily="34" charset="77"/>
                <a:cs typeface="Arial" panose="020B0604020202020204" pitchFamily="34" charset="0"/>
              </a:rPr>
              <a:t>Os riscos empresariais mais severos são considerados como um dos mais importantes fatores para a priorização de trabalhos. A exposição dos processos a riscos de conformidade também é utilizada como um dos fatores de risco na definição dos trabalho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1752F68E-70B2-EDE2-1CD1-7BD112A38513}"/>
              </a:ext>
            </a:extLst>
          </p:cNvPr>
          <p:cNvSpPr txBox="1"/>
          <p:nvPr/>
        </p:nvSpPr>
        <p:spPr>
          <a:xfrm>
            <a:off x="651133" y="9617529"/>
            <a:ext cx="123324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P-2AUD-00003  – GERIR PLANO ANUAL DE ATIVIDADES DE AUDITOR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115E555-53C4-0983-295B-62D75A1887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874417" y="12064"/>
            <a:ext cx="2909962" cy="85816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CA3C483-BD0B-AD11-90ED-C23022BDB311}"/>
              </a:ext>
            </a:extLst>
          </p:cNvPr>
          <p:cNvSpPr txBox="1">
            <a:spLocks/>
          </p:cNvSpPr>
          <p:nvPr/>
        </p:nvSpPr>
        <p:spPr>
          <a:xfrm>
            <a:off x="13573347" y="9513666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E036503-690B-7742-15AB-3E3542CBBD51}"/>
              </a:ext>
            </a:extLst>
          </p:cNvPr>
          <p:cNvSpPr txBox="1"/>
          <p:nvPr/>
        </p:nvSpPr>
        <p:spPr>
          <a:xfrm>
            <a:off x="651133" y="9809405"/>
            <a:ext cx="14195656" cy="316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96021">
              <a:lnSpc>
                <a:spcPct val="150000"/>
              </a:lnSpc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Light" panose="020B0406020204030204" pitchFamily="34" charset="0"/>
              </a:rPr>
              <a:t>¹ </a:t>
            </a:r>
            <a:r>
              <a:rPr lang="pt-BR" sz="1100">
                <a:solidFill>
                  <a:prstClr val="white"/>
                </a:solidFill>
                <a:latin typeface="Petrobras Sans Light" panose="020B0406020204030204" pitchFamily="34" charset="0"/>
              </a:rPr>
              <a:t>PE 2050/PN 26-30 da Companhia em processo de aprovação.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 Light" panose="020B0406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27039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6BE26-2506-9C62-416F-7C8431CBF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>
            <a:extLst>
              <a:ext uri="{FF2B5EF4-FFF2-40B4-BE49-F238E27FC236}">
                <a16:creationId xmlns:a16="http://schemas.microsoft.com/office/drawing/2014/main" id="{35917ECC-FC6E-D349-A4E7-BB3ECD7F4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4406"/>
            <a:ext cx="18040005" cy="9292041"/>
          </a:xfrm>
          <a:prstGeom prst="rect">
            <a:avLst/>
          </a:prstGeom>
        </p:spPr>
      </p:pic>
      <p:pic>
        <p:nvPicPr>
          <p:cNvPr id="8" name="Imagem 7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D483D2C5-3885-5EC0-B6A7-24AE67E83CC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820"/>
          <a:stretch/>
        </p:blipFill>
        <p:spPr>
          <a:xfrm>
            <a:off x="0" y="0"/>
            <a:ext cx="18040005" cy="5461672"/>
          </a:xfrm>
          <a:prstGeom prst="rect">
            <a:avLst/>
          </a:prstGeom>
        </p:spPr>
      </p:pic>
      <p:sp>
        <p:nvSpPr>
          <p:cNvPr id="5" name="Gráfico 7">
            <a:extLst>
              <a:ext uri="{FF2B5EF4-FFF2-40B4-BE49-F238E27FC236}">
                <a16:creationId xmlns:a16="http://schemas.microsoft.com/office/drawing/2014/main" id="{F95DD06E-DE93-1B91-AEE9-5E7867DFDAE5}"/>
              </a:ext>
            </a:extLst>
          </p:cNvPr>
          <p:cNvSpPr/>
          <p:nvPr/>
        </p:nvSpPr>
        <p:spPr>
          <a:xfrm>
            <a:off x="-4180240" y="-755684"/>
            <a:ext cx="26957316" cy="12647812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rgbClr val="008542">
                  <a:alpha val="40000"/>
                </a:srgbClr>
              </a:gs>
              <a:gs pos="0">
                <a:srgbClr val="006298"/>
              </a:gs>
              <a:gs pos="68000">
                <a:srgbClr val="00B2A9">
                  <a:alpha val="50000"/>
                </a:srgb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4A641AE9-27CD-5A05-B910-1A307C489975}"/>
              </a:ext>
            </a:extLst>
          </p:cNvPr>
          <p:cNvSpPr txBox="1"/>
          <p:nvPr/>
        </p:nvSpPr>
        <p:spPr>
          <a:xfrm>
            <a:off x="465798" y="367225"/>
            <a:ext cx="11525741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791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400" b="1">
                <a:solidFill>
                  <a:prstClr val="white"/>
                </a:solidFill>
                <a:latin typeface="Petrobras Sans XBold" panose="020B0806020204030204" pitchFamily="34" charset="0"/>
              </a:rPr>
              <a:t>PLANO DE TRABALHO </a:t>
            </a:r>
          </a:p>
          <a:p>
            <a:pPr marL="0" marR="0" lvl="0" indent="0" algn="l" defTabSz="1791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XBold" panose="020B0806020204030204" pitchFamily="34" charset="0"/>
              </a:rPr>
              <a:t>PARA 2026</a:t>
            </a:r>
            <a:endParaRPr kumimoji="0" lang="pt-BR" sz="4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 XBold" panose="020B0806020204030204" pitchFamily="34" charset="0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D201A80D-ACFD-BB62-DE26-30DC799778DB}"/>
              </a:ext>
            </a:extLst>
          </p:cNvPr>
          <p:cNvSpPr/>
          <p:nvPr/>
        </p:nvSpPr>
        <p:spPr>
          <a:xfrm>
            <a:off x="599148" y="2029964"/>
            <a:ext cx="777934" cy="45719"/>
          </a:xfrm>
          <a:prstGeom prst="rect">
            <a:avLst/>
          </a:prstGeom>
          <a:solidFill>
            <a:srgbClr val="FDC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440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pic>
        <p:nvPicPr>
          <p:cNvPr id="4" name="Imagem 3" descr="Texto&#10;&#10;Descrição gerada automaticamente">
            <a:extLst>
              <a:ext uri="{FF2B5EF4-FFF2-40B4-BE49-F238E27FC236}">
                <a16:creationId xmlns:a16="http://schemas.microsoft.com/office/drawing/2014/main" id="{3545E15A-E273-65D2-EAB9-6C2E29E499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1853" y="180176"/>
            <a:ext cx="3115110" cy="92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92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2A29F7-E187-E229-8DD1-1A5E0116C8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Imagem 91">
            <a:extLst>
              <a:ext uri="{FF2B5EF4-FFF2-40B4-BE49-F238E27FC236}">
                <a16:creationId xmlns:a16="http://schemas.microsoft.com/office/drawing/2014/main" id="{E0D687FF-EE9D-D179-BBB2-2A72DC43F7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43" r="14243"/>
          <a:stretch/>
        </p:blipFill>
        <p:spPr>
          <a:xfrm>
            <a:off x="4100341" y="0"/>
            <a:ext cx="13900322" cy="9868591"/>
          </a:xfrm>
          <a:prstGeom prst="rect">
            <a:avLst/>
          </a:prstGeom>
        </p:spPr>
      </p:pic>
      <p:sp>
        <p:nvSpPr>
          <p:cNvPr id="4" name="Google Shape;571;p21">
            <a:extLst>
              <a:ext uri="{FF2B5EF4-FFF2-40B4-BE49-F238E27FC236}">
                <a16:creationId xmlns:a16="http://schemas.microsoft.com/office/drawing/2014/main" id="{7FE6AED2-454E-E415-C6A5-D5CB62C8D742}"/>
              </a:ext>
            </a:extLst>
          </p:cNvPr>
          <p:cNvSpPr>
            <a:spLocks/>
          </p:cNvSpPr>
          <p:nvPr/>
        </p:nvSpPr>
        <p:spPr bwMode="auto">
          <a:xfrm>
            <a:off x="6619017" y="4071067"/>
            <a:ext cx="256683" cy="2429150"/>
          </a:xfrm>
          <a:custGeom>
            <a:avLst/>
            <a:gdLst>
              <a:gd name="T0" fmla="*/ 43 w 43"/>
              <a:gd name="T1" fmla="*/ 406 h 406"/>
              <a:gd name="T2" fmla="*/ 0 w 43"/>
              <a:gd name="T3" fmla="*/ 200 h 406"/>
              <a:gd name="T4" fmla="*/ 41 w 43"/>
              <a:gd name="T5" fmla="*/ 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" h="406" extrusionOk="0">
                <a:moveTo>
                  <a:pt x="43" y="406"/>
                </a:moveTo>
                <a:cubicBezTo>
                  <a:pt x="15" y="343"/>
                  <a:pt x="0" y="273"/>
                  <a:pt x="0" y="200"/>
                </a:cubicBezTo>
                <a:cubicBezTo>
                  <a:pt x="0" y="129"/>
                  <a:pt x="14" y="62"/>
                  <a:pt x="41" y="0"/>
                </a:cubicBezTo>
              </a:path>
            </a:pathLst>
          </a:custGeom>
          <a:noFill/>
          <a:ln w="28575" cap="rnd" cmpd="sng">
            <a:solidFill>
              <a:schemeClr val="bg1"/>
            </a:solidFill>
            <a:prstDash val="solid"/>
            <a:miter lim="524287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34386" tIns="67175" rIns="134386" bIns="67175"/>
          <a:lstStyle/>
          <a:p>
            <a:pPr defTabSz="1344077">
              <a:defRPr/>
            </a:pPr>
            <a:endParaRPr lang="en-US" sz="2646" u="sng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78" name="object 61">
            <a:extLst>
              <a:ext uri="{FF2B5EF4-FFF2-40B4-BE49-F238E27FC236}">
                <a16:creationId xmlns:a16="http://schemas.microsoft.com/office/drawing/2014/main" id="{BDE6C811-0079-43A5-0CE3-80550C930D46}"/>
              </a:ext>
            </a:extLst>
          </p:cNvPr>
          <p:cNvSpPr/>
          <p:nvPr/>
        </p:nvSpPr>
        <p:spPr>
          <a:xfrm>
            <a:off x="1556705" y="7430753"/>
            <a:ext cx="39580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17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1343705">
              <a:defRPr/>
            </a:pPr>
            <a:endParaRPr sz="2027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13" name="Gráfico 7">
            <a:extLst>
              <a:ext uri="{FF2B5EF4-FFF2-40B4-BE49-F238E27FC236}">
                <a16:creationId xmlns:a16="http://schemas.microsoft.com/office/drawing/2014/main" id="{04A4209D-3430-2E52-6130-074A568B585F}"/>
              </a:ext>
            </a:extLst>
          </p:cNvPr>
          <p:cNvSpPr/>
          <p:nvPr/>
        </p:nvSpPr>
        <p:spPr>
          <a:xfrm>
            <a:off x="-5201369" y="-815635"/>
            <a:ext cx="26957316" cy="12647812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rgbClr val="008542">
                  <a:alpha val="38000"/>
                </a:srgbClr>
              </a:gs>
              <a:gs pos="0">
                <a:srgbClr val="006298"/>
              </a:gs>
              <a:gs pos="68000">
                <a:srgbClr val="00B2A9">
                  <a:alpha val="50000"/>
                </a:srgb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86" name="Imagem 85">
            <a:extLst>
              <a:ext uri="{FF2B5EF4-FFF2-40B4-BE49-F238E27FC236}">
                <a16:creationId xmlns:a16="http://schemas.microsoft.com/office/drawing/2014/main" id="{B8E227B7-76F6-1EB2-25F2-392E120A19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79135"/>
            <a:ext cx="15135966" cy="10117501"/>
          </a:xfrm>
          <a:prstGeom prst="rect">
            <a:avLst/>
          </a:prstGeom>
        </p:spPr>
      </p:pic>
      <p:pic>
        <p:nvPicPr>
          <p:cNvPr id="87" name="Imagem 86">
            <a:extLst>
              <a:ext uri="{FF2B5EF4-FFF2-40B4-BE49-F238E27FC236}">
                <a16:creationId xmlns:a16="http://schemas.microsoft.com/office/drawing/2014/main" id="{CF3524A2-0059-2D4B-4F0D-3A6B45C0C3D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8804890" y="-521810"/>
            <a:ext cx="5273593" cy="11614904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3C262293-7132-EC1A-8759-91790B40434A}"/>
              </a:ext>
            </a:extLst>
          </p:cNvPr>
          <p:cNvSpPr txBox="1"/>
          <p:nvPr/>
        </p:nvSpPr>
        <p:spPr>
          <a:xfrm>
            <a:off x="1097749" y="2758959"/>
            <a:ext cx="609637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1176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TRABALHOS DE ASSEGURAÇÃ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AE0530E-22F3-80D0-6EE8-A5289800FCE7}"/>
              </a:ext>
            </a:extLst>
          </p:cNvPr>
          <p:cNvSpPr txBox="1"/>
          <p:nvPr/>
        </p:nvSpPr>
        <p:spPr>
          <a:xfrm>
            <a:off x="490929" y="1334555"/>
            <a:ext cx="10721126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8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XBold" panose="020B0806020204030204" pitchFamily="34" charset="0"/>
                <a:ea typeface="+mn-ea"/>
                <a:cs typeface="+mn-cs"/>
              </a:rPr>
              <a:t>O PLANO DE TRABALHO</a:t>
            </a: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é dividido principalmente em três categorias: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AE31F753-F236-D520-0D92-7E1A423A9FA8}"/>
              </a:ext>
            </a:extLst>
          </p:cNvPr>
          <p:cNvSpPr txBox="1"/>
          <p:nvPr/>
        </p:nvSpPr>
        <p:spPr>
          <a:xfrm>
            <a:off x="1221606" y="3469278"/>
            <a:ext cx="6500493" cy="8309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ct val="100000"/>
              </a:lnSpc>
              <a:defRPr sz="2400">
                <a:solidFill>
                  <a:schemeClr val="bg1"/>
                </a:solidFill>
                <a:latin typeface="Petrobras Sans" panose="020B0606020204030204" pitchFamily="34" charset="0"/>
              </a:defRPr>
            </a:lvl1pPr>
          </a:lstStyle>
          <a:p>
            <a:pPr marL="0" marR="0" lvl="0" indent="0" algn="l" defTabSz="8960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 panose="020B0406020204030204" pitchFamily="34" charset="0"/>
                <a:ea typeface="+mn-ea"/>
                <a:cs typeface="+mn-cs"/>
              </a:rPr>
              <a:t>Exame objetivo de evidências, com o propósito de fornecer avaliação independente dos processos de governança, gerenciamento de riscos e controles.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7C28E82E-8D76-756F-3122-09E9E0F58B54}"/>
              </a:ext>
            </a:extLst>
          </p:cNvPr>
          <p:cNvSpPr txBox="1"/>
          <p:nvPr/>
        </p:nvSpPr>
        <p:spPr>
          <a:xfrm>
            <a:off x="1097750" y="4543188"/>
            <a:ext cx="609637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1176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AUDITORIA DIGITAL</a:t>
            </a:r>
          </a:p>
        </p:txBody>
      </p:sp>
      <p:sp>
        <p:nvSpPr>
          <p:cNvPr id="17" name="TextBox 18">
            <a:extLst>
              <a:ext uri="{FF2B5EF4-FFF2-40B4-BE49-F238E27FC236}">
                <a16:creationId xmlns:a16="http://schemas.microsoft.com/office/drawing/2014/main" id="{E99438E2-F9E5-F7AE-834B-6D60D1013857}"/>
              </a:ext>
            </a:extLst>
          </p:cNvPr>
          <p:cNvSpPr txBox="1"/>
          <p:nvPr/>
        </p:nvSpPr>
        <p:spPr>
          <a:xfrm>
            <a:off x="1150411" y="5319113"/>
            <a:ext cx="6292424" cy="11079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ct val="100000"/>
              </a:lnSpc>
              <a:defRPr sz="1764">
                <a:solidFill>
                  <a:srgbClr val="1B1A1A"/>
                </a:solidFill>
                <a:latin typeface="Petrobras Sans" panose="020B0606020204030204" pitchFamily="34" charset="0"/>
              </a:defRPr>
            </a:lvl1pPr>
          </a:lstStyle>
          <a:p>
            <a:pPr marL="0" marR="0" lvl="0" indent="0" algn="l" defTabSz="8960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Light" panose="020B0406020204030204" pitchFamily="34" charset="0"/>
                <a:ea typeface="+mn-ea"/>
                <a:cs typeface="+mn-cs"/>
              </a:rPr>
              <a:t>Eficiência, ganho de escala e maior abrangência dos testes de auditoria e da cobertura do universo auditável, por meio da integração de ferramentas de análise de dados, tecnologia, IA e automação.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52B63236-B295-6AF7-3BB6-F8B8FC6417DB}"/>
              </a:ext>
            </a:extLst>
          </p:cNvPr>
          <p:cNvSpPr txBox="1"/>
          <p:nvPr/>
        </p:nvSpPr>
        <p:spPr>
          <a:xfrm>
            <a:off x="1048038" y="6779298"/>
            <a:ext cx="609637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1176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1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t>PROJETOS DE GESTÃ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912E58-4149-867C-32A8-61639D73347E}"/>
              </a:ext>
            </a:extLst>
          </p:cNvPr>
          <p:cNvSpPr txBox="1"/>
          <p:nvPr/>
        </p:nvSpPr>
        <p:spPr>
          <a:xfrm>
            <a:off x="1150411" y="7430753"/>
            <a:ext cx="7126878" cy="8309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896021">
              <a:lnSpc>
                <a:spcPct val="100000"/>
              </a:lnSpc>
              <a:defRPr sz="1764">
                <a:solidFill>
                  <a:srgbClr val="1B1A1A"/>
                </a:solidFill>
                <a:latin typeface="Petrobras Sans" panose="020B0606020204030204" pitchFamily="34" charset="0"/>
              </a:defRPr>
            </a:lvl1pPr>
          </a:lstStyle>
          <a:p>
            <a:pPr lvl="0">
              <a:defRPr/>
            </a:pPr>
            <a:r>
              <a:rPr lang="pt-BR" sz="1800">
                <a:solidFill>
                  <a:srgbClr val="75787B"/>
                </a:solidFill>
                <a:latin typeface="Petrobras Sans Light" panose="020B0406020204030204" pitchFamily="34" charset="0"/>
              </a:rPr>
              <a:t>Potencializar a gestão de auditorias com uso de IA; aperfeiçoar a integração entre linhas; promover engajamento das partes interessadas; desenvolver mentoria interna e externa.</a:t>
            </a: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B0C79EBE-07D3-0145-0FE8-99ECCDFD21A2}"/>
              </a:ext>
            </a:extLst>
          </p:cNvPr>
          <p:cNvPicPr/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113" y="2872775"/>
            <a:ext cx="530362" cy="426509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F4F04399-108A-F0E9-5D1F-4FCA28F14325}"/>
              </a:ext>
            </a:extLst>
          </p:cNvPr>
          <p:cNvPicPr/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6622" y="4496598"/>
            <a:ext cx="530362" cy="600588"/>
          </a:xfrm>
          <a:prstGeom prst="rect">
            <a:avLst/>
          </a:prstGeom>
        </p:spPr>
      </p:pic>
      <p:pic>
        <p:nvPicPr>
          <p:cNvPr id="24" name="Gráfico 23">
            <a:extLst>
              <a:ext uri="{FF2B5EF4-FFF2-40B4-BE49-F238E27FC236}">
                <a16:creationId xmlns:a16="http://schemas.microsoft.com/office/drawing/2014/main" id="{70855C29-D592-51EF-AF3F-B4AF2EB471C8}"/>
              </a:ext>
            </a:extLst>
          </p:cNvPr>
          <p:cNvPicPr/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9494" y="6822934"/>
            <a:ext cx="466725" cy="466725"/>
          </a:xfrm>
          <a:prstGeom prst="rect">
            <a:avLst/>
          </a:prstGeom>
        </p:spPr>
      </p:pic>
      <p:sp>
        <p:nvSpPr>
          <p:cNvPr id="30" name="Gráfico 5">
            <a:extLst>
              <a:ext uri="{FF2B5EF4-FFF2-40B4-BE49-F238E27FC236}">
                <a16:creationId xmlns:a16="http://schemas.microsoft.com/office/drawing/2014/main" id="{4B917575-CFBB-E0FE-F58C-3260F803D292}"/>
              </a:ext>
            </a:extLst>
          </p:cNvPr>
          <p:cNvSpPr/>
          <p:nvPr/>
        </p:nvSpPr>
        <p:spPr>
          <a:xfrm>
            <a:off x="-3189508" y="-50999"/>
            <a:ext cx="23537849" cy="10537102"/>
          </a:xfrm>
          <a:custGeom>
            <a:avLst/>
            <a:gdLst>
              <a:gd name="connsiteX0" fmla="*/ 15928746 w 15943379"/>
              <a:gd name="connsiteY0" fmla="*/ 101423 h 7442786"/>
              <a:gd name="connsiteX1" fmla="*/ 15896265 w 15943379"/>
              <a:gd name="connsiteY1" fmla="*/ 91955 h 7442786"/>
              <a:gd name="connsiteX2" fmla="*/ 13607349 w 15943379"/>
              <a:gd name="connsiteY2" fmla="*/ 6304818 h 7442786"/>
              <a:gd name="connsiteX3" fmla="*/ 13278399 w 15943379"/>
              <a:gd name="connsiteY3" fmla="*/ 6543285 h 7442786"/>
              <a:gd name="connsiteX4" fmla="*/ 3007024 w 15943379"/>
              <a:gd name="connsiteY4" fmla="*/ 6920392 h 7442786"/>
              <a:gd name="connsiteX5" fmla="*/ 2671867 w 15943379"/>
              <a:gd name="connsiteY5" fmla="*/ 6702304 h 7442786"/>
              <a:gd name="connsiteX6" fmla="*/ 44156 w 15943379"/>
              <a:gd name="connsiteY6" fmla="*/ 127195 h 7442786"/>
              <a:gd name="connsiteX7" fmla="*/ 24278 w 15943379"/>
              <a:gd name="connsiteY7" fmla="*/ 134218 h 7442786"/>
              <a:gd name="connsiteX8" fmla="*/ 2165086 w 15943379"/>
              <a:gd name="connsiteY8" fmla="*/ 7209461 h 7442786"/>
              <a:gd name="connsiteX9" fmla="*/ 2480429 w 15943379"/>
              <a:gd name="connsiteY9" fmla="*/ 7442786 h 7442786"/>
              <a:gd name="connsiteX10" fmla="*/ 14093374 w 15943379"/>
              <a:gd name="connsiteY10" fmla="*/ 7406668 h 7442786"/>
              <a:gd name="connsiteX11" fmla="*/ 14389969 w 15943379"/>
              <a:gd name="connsiteY11" fmla="*/ 7166947 h 7442786"/>
              <a:gd name="connsiteX12" fmla="*/ 15928746 w 15943379"/>
              <a:gd name="connsiteY12" fmla="*/ 101423 h 7442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943379" h="7442786">
                <a:moveTo>
                  <a:pt x="15928746" y="101423"/>
                </a:moveTo>
                <a:cubicBezTo>
                  <a:pt x="15957340" y="-30006"/>
                  <a:pt x="15942729" y="-34270"/>
                  <a:pt x="15896265" y="91955"/>
                </a:cubicBezTo>
                <a:lnTo>
                  <a:pt x="13607349" y="6304818"/>
                </a:lnTo>
                <a:cubicBezTo>
                  <a:pt x="13560821" y="6431043"/>
                  <a:pt x="13412838" y="6538331"/>
                  <a:pt x="13278399" y="6543285"/>
                </a:cubicBezTo>
                <a:lnTo>
                  <a:pt x="3007024" y="6920392"/>
                </a:lnTo>
                <a:cubicBezTo>
                  <a:pt x="2872585" y="6925346"/>
                  <a:pt x="2721780" y="6827150"/>
                  <a:pt x="2671867" y="6702304"/>
                </a:cubicBezTo>
                <a:lnTo>
                  <a:pt x="44156" y="127195"/>
                </a:lnTo>
                <a:cubicBezTo>
                  <a:pt x="-5758" y="2287"/>
                  <a:pt x="-14724" y="5485"/>
                  <a:pt x="24278" y="134218"/>
                </a:cubicBezTo>
                <a:lnTo>
                  <a:pt x="2165086" y="7209461"/>
                </a:lnTo>
                <a:cubicBezTo>
                  <a:pt x="2204025" y="7338195"/>
                  <a:pt x="2345927" y="7443162"/>
                  <a:pt x="2480429" y="7442786"/>
                </a:cubicBezTo>
                <a:lnTo>
                  <a:pt x="14093374" y="7406668"/>
                </a:lnTo>
                <a:cubicBezTo>
                  <a:pt x="14227876" y="7406229"/>
                  <a:pt x="14361312" y="7298377"/>
                  <a:pt x="14389969" y="7166947"/>
                </a:cubicBezTo>
                <a:lnTo>
                  <a:pt x="15928746" y="101423"/>
                </a:lnTo>
                <a:close/>
              </a:path>
            </a:pathLst>
          </a:custGeom>
          <a:gradFill>
            <a:gsLst>
              <a:gs pos="57000">
                <a:srgbClr val="008542"/>
              </a:gs>
              <a:gs pos="0">
                <a:srgbClr val="006298"/>
              </a:gs>
            </a:gsLst>
            <a:lin ang="0" scaled="1"/>
          </a:gradFill>
          <a:ln w="62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344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</a:endParaRPr>
          </a:p>
        </p:txBody>
      </p:sp>
      <p:pic>
        <p:nvPicPr>
          <p:cNvPr id="32" name="Imagem 31" descr="Texto&#10;&#10;Descrição gerada automaticamente">
            <a:extLst>
              <a:ext uri="{FF2B5EF4-FFF2-40B4-BE49-F238E27FC236}">
                <a16:creationId xmlns:a16="http://schemas.microsoft.com/office/drawing/2014/main" id="{9CD8EF67-66C6-8C6D-1991-D03E055A32D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202" y="14123"/>
            <a:ext cx="3115110" cy="924054"/>
          </a:xfrm>
          <a:prstGeom prst="rect">
            <a:avLst/>
          </a:prstGeom>
        </p:spPr>
      </p:pic>
      <p:sp>
        <p:nvSpPr>
          <p:cNvPr id="3" name="Espaço Reservado para Número de Slide 6">
            <a:extLst>
              <a:ext uri="{FF2B5EF4-FFF2-40B4-BE49-F238E27FC236}">
                <a16:creationId xmlns:a16="http://schemas.microsoft.com/office/drawing/2014/main" id="{B36139CC-C33C-1993-8121-B75C9950BA8E}"/>
              </a:ext>
            </a:extLst>
          </p:cNvPr>
          <p:cNvSpPr txBox="1">
            <a:spLocks/>
          </p:cNvSpPr>
          <p:nvPr/>
        </p:nvSpPr>
        <p:spPr>
          <a:xfrm>
            <a:off x="13573347" y="9513666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pic>
        <p:nvPicPr>
          <p:cNvPr id="2" name="Gráfico 9">
            <a:extLst>
              <a:ext uri="{FF2B5EF4-FFF2-40B4-BE49-F238E27FC236}">
                <a16:creationId xmlns:a16="http://schemas.microsoft.com/office/drawing/2014/main" id="{B195AE40-9B4C-9939-142E-03C43BC08B9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09704">
            <a:off x="-2935086" y="-798554"/>
            <a:ext cx="23870834" cy="10954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2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CaixaDeTexto 87">
            <a:extLst>
              <a:ext uri="{FF2B5EF4-FFF2-40B4-BE49-F238E27FC236}">
                <a16:creationId xmlns:a16="http://schemas.microsoft.com/office/drawing/2014/main" id="{5411188D-0CF1-4833-27E8-F8D490CDE8A6}"/>
              </a:ext>
            </a:extLst>
          </p:cNvPr>
          <p:cNvSpPr txBox="1"/>
          <p:nvPr/>
        </p:nvSpPr>
        <p:spPr>
          <a:xfrm>
            <a:off x="14366415" y="2064555"/>
            <a:ext cx="3277751" cy="1631215"/>
          </a:xfrm>
          <a:prstGeom prst="roundRect">
            <a:avLst>
              <a:gd name="adj" fmla="val 4721"/>
            </a:avLst>
          </a:prstGeom>
          <a:noFill/>
          <a:ln>
            <a:solidFill>
              <a:schemeClr val="accent1"/>
            </a:solidFill>
          </a:ln>
        </p:spPr>
        <p:txBody>
          <a:bodyPr wrap="square" lIns="25200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 XBold" panose="020B0806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 XBold" panose="020B0806020204030204" pitchFamily="34" charset="0"/>
              <a:ea typeface="+mn-ea"/>
              <a:cs typeface="+mn-cs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6F8A802-A460-D67E-7560-15FC67F41C3B}"/>
              </a:ext>
            </a:extLst>
          </p:cNvPr>
          <p:cNvSpPr txBox="1"/>
          <p:nvPr/>
        </p:nvSpPr>
        <p:spPr>
          <a:xfrm>
            <a:off x="268532" y="166339"/>
            <a:ext cx="1733706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XBold" panose="020B0806020204030204" pitchFamily="34" charset="0"/>
                <a:ea typeface="+mn-ea"/>
                <a:cs typeface="+mn-cs"/>
              </a:rPr>
              <a:t>ABRANGÊNCIA DO PAINT 26 </a:t>
            </a:r>
          </a:p>
          <a:p>
            <a:pPr lvl="0" defTabSz="1344077">
              <a:defRPr/>
            </a:pP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O Plano de Auditoria 2026 abrange a Transpetro e suas subsidiárias (</a:t>
            </a:r>
            <a:r>
              <a:rPr kumimoji="0" lang="pt-BR" sz="2000" b="0" i="1" u="none" strike="noStrike" kern="1200" cap="none" spc="0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Transbel</a:t>
            </a: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,</a:t>
            </a:r>
            <a:r>
              <a:rPr lang="pt-BR" sz="2000" i="1">
                <a:solidFill>
                  <a:srgbClr val="75787B"/>
                </a:solidFill>
                <a:latin typeface="Petrobras Sans "/>
              </a:rPr>
              <a:t> TI BV e </a:t>
            </a: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PB-LOG), além de entidades externas como APS¹ e PETROS². </a:t>
            </a: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Para 2026, foram programados </a:t>
            </a:r>
            <a:r>
              <a:rPr lang="pt-BR" sz="2000" i="1">
                <a:solidFill>
                  <a:srgbClr val="75787B"/>
                </a:solidFill>
                <a:latin typeface="Petrobras Sans "/>
              </a:rPr>
              <a:t>29</a:t>
            </a: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 "/>
                <a:ea typeface="+mn-ea"/>
                <a:cs typeface="+mn-cs"/>
              </a:rPr>
              <a:t> trabalhos.</a:t>
            </a: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 "/>
              <a:ea typeface="+mn-ea"/>
              <a:cs typeface="+mn-cs"/>
            </a:endParaRPr>
          </a:p>
        </p:txBody>
      </p:sp>
      <p:sp>
        <p:nvSpPr>
          <p:cNvPr id="9" name="Gráfico 5">
            <a:extLst>
              <a:ext uri="{FF2B5EF4-FFF2-40B4-BE49-F238E27FC236}">
                <a16:creationId xmlns:a16="http://schemas.microsoft.com/office/drawing/2014/main" id="{90401BB0-FC0C-5936-361B-C9AE77BCB5A5}"/>
              </a:ext>
            </a:extLst>
          </p:cNvPr>
          <p:cNvSpPr/>
          <p:nvPr/>
        </p:nvSpPr>
        <p:spPr>
          <a:xfrm>
            <a:off x="-3233982" y="-460594"/>
            <a:ext cx="23542511" cy="10940206"/>
          </a:xfrm>
          <a:custGeom>
            <a:avLst/>
            <a:gdLst>
              <a:gd name="connsiteX0" fmla="*/ 15928746 w 15943379"/>
              <a:gd name="connsiteY0" fmla="*/ 101423 h 7442786"/>
              <a:gd name="connsiteX1" fmla="*/ 15896265 w 15943379"/>
              <a:gd name="connsiteY1" fmla="*/ 91955 h 7442786"/>
              <a:gd name="connsiteX2" fmla="*/ 13607349 w 15943379"/>
              <a:gd name="connsiteY2" fmla="*/ 6304818 h 7442786"/>
              <a:gd name="connsiteX3" fmla="*/ 13278399 w 15943379"/>
              <a:gd name="connsiteY3" fmla="*/ 6543285 h 7442786"/>
              <a:gd name="connsiteX4" fmla="*/ 3007024 w 15943379"/>
              <a:gd name="connsiteY4" fmla="*/ 6920392 h 7442786"/>
              <a:gd name="connsiteX5" fmla="*/ 2671867 w 15943379"/>
              <a:gd name="connsiteY5" fmla="*/ 6702304 h 7442786"/>
              <a:gd name="connsiteX6" fmla="*/ 44156 w 15943379"/>
              <a:gd name="connsiteY6" fmla="*/ 127195 h 7442786"/>
              <a:gd name="connsiteX7" fmla="*/ 24278 w 15943379"/>
              <a:gd name="connsiteY7" fmla="*/ 134218 h 7442786"/>
              <a:gd name="connsiteX8" fmla="*/ 2165086 w 15943379"/>
              <a:gd name="connsiteY8" fmla="*/ 7209461 h 7442786"/>
              <a:gd name="connsiteX9" fmla="*/ 2480429 w 15943379"/>
              <a:gd name="connsiteY9" fmla="*/ 7442786 h 7442786"/>
              <a:gd name="connsiteX10" fmla="*/ 14093374 w 15943379"/>
              <a:gd name="connsiteY10" fmla="*/ 7406668 h 7442786"/>
              <a:gd name="connsiteX11" fmla="*/ 14389969 w 15943379"/>
              <a:gd name="connsiteY11" fmla="*/ 7166947 h 7442786"/>
              <a:gd name="connsiteX12" fmla="*/ 15928746 w 15943379"/>
              <a:gd name="connsiteY12" fmla="*/ 101423 h 7442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943379" h="7442786">
                <a:moveTo>
                  <a:pt x="15928746" y="101423"/>
                </a:moveTo>
                <a:cubicBezTo>
                  <a:pt x="15957340" y="-30006"/>
                  <a:pt x="15942729" y="-34270"/>
                  <a:pt x="15896265" y="91955"/>
                </a:cubicBezTo>
                <a:lnTo>
                  <a:pt x="13607349" y="6304818"/>
                </a:lnTo>
                <a:cubicBezTo>
                  <a:pt x="13560821" y="6431043"/>
                  <a:pt x="13412838" y="6538331"/>
                  <a:pt x="13278399" y="6543285"/>
                </a:cubicBezTo>
                <a:lnTo>
                  <a:pt x="3007024" y="6920392"/>
                </a:lnTo>
                <a:cubicBezTo>
                  <a:pt x="2872585" y="6925346"/>
                  <a:pt x="2721780" y="6827150"/>
                  <a:pt x="2671867" y="6702304"/>
                </a:cubicBezTo>
                <a:lnTo>
                  <a:pt x="44156" y="127195"/>
                </a:lnTo>
                <a:cubicBezTo>
                  <a:pt x="-5758" y="2287"/>
                  <a:pt x="-14724" y="5485"/>
                  <a:pt x="24278" y="134218"/>
                </a:cubicBezTo>
                <a:lnTo>
                  <a:pt x="2165086" y="7209461"/>
                </a:lnTo>
                <a:cubicBezTo>
                  <a:pt x="2204025" y="7338195"/>
                  <a:pt x="2345927" y="7443162"/>
                  <a:pt x="2480429" y="7442786"/>
                </a:cubicBezTo>
                <a:lnTo>
                  <a:pt x="14093374" y="7406668"/>
                </a:lnTo>
                <a:cubicBezTo>
                  <a:pt x="14227876" y="7406229"/>
                  <a:pt x="14361312" y="7298377"/>
                  <a:pt x="14389969" y="7166947"/>
                </a:cubicBezTo>
                <a:lnTo>
                  <a:pt x="15928746" y="101423"/>
                </a:lnTo>
                <a:close/>
              </a:path>
            </a:pathLst>
          </a:custGeom>
          <a:gradFill>
            <a:gsLst>
              <a:gs pos="57000">
                <a:schemeClr val="accent1"/>
              </a:gs>
              <a:gs pos="0">
                <a:schemeClr val="tx2"/>
              </a:gs>
            </a:gsLst>
            <a:lin ang="0" scaled="1"/>
          </a:gradFill>
          <a:ln w="62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B195AE40-9B4C-9939-142E-03C43BC08B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9704">
            <a:off x="-3264592" y="-616039"/>
            <a:ext cx="23761984" cy="10514399"/>
          </a:xfrm>
          <a:prstGeom prst="rect">
            <a:avLst/>
          </a:prstGeom>
        </p:spPr>
      </p:pic>
      <p:sp>
        <p:nvSpPr>
          <p:cNvPr id="11" name="Espaço Reservado para Número de Slide 6">
            <a:extLst>
              <a:ext uri="{FF2B5EF4-FFF2-40B4-BE49-F238E27FC236}">
                <a16:creationId xmlns:a16="http://schemas.microsoft.com/office/drawing/2014/main" id="{2AE8AE0E-2A8C-0483-B34D-5BCC8D196438}"/>
              </a:ext>
            </a:extLst>
          </p:cNvPr>
          <p:cNvSpPr txBox="1">
            <a:spLocks/>
          </p:cNvSpPr>
          <p:nvPr/>
        </p:nvSpPr>
        <p:spPr>
          <a:xfrm>
            <a:off x="13573347" y="9513666"/>
            <a:ext cx="4032250" cy="53670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048992A-EBB1-6D60-2CD0-49D32F77BB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74262" y="12578"/>
            <a:ext cx="2891478" cy="858166"/>
          </a:xfrm>
          <a:prstGeom prst="rect">
            <a:avLst/>
          </a:prstGeom>
          <a:noFill/>
        </p:spPr>
      </p:pic>
      <p:graphicFrame>
        <p:nvGraphicFramePr>
          <p:cNvPr id="46" name="Gráfico 45">
            <a:extLst>
              <a:ext uri="{FF2B5EF4-FFF2-40B4-BE49-F238E27FC236}">
                <a16:creationId xmlns:a16="http://schemas.microsoft.com/office/drawing/2014/main" id="{53E4C93C-8129-9E9D-60D5-2648927C17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3661635"/>
              </p:ext>
            </p:extLst>
          </p:nvPr>
        </p:nvGraphicFramePr>
        <p:xfrm>
          <a:off x="0" y="1403267"/>
          <a:ext cx="9723431" cy="4940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6C36D920-938A-84DA-98FC-EA720106B920}"/>
              </a:ext>
            </a:extLst>
          </p:cNvPr>
          <p:cNvCxnSpPr>
            <a:cxnSpLocks/>
          </p:cNvCxnSpPr>
          <p:nvPr/>
        </p:nvCxnSpPr>
        <p:spPr>
          <a:xfrm flipV="1">
            <a:off x="6265333" y="2267802"/>
            <a:ext cx="1693916" cy="771324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ysDot"/>
          </a:ln>
          <a:effectLst/>
        </p:spPr>
      </p:cxn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6AF02E6C-2D6A-DEC4-821F-8AF8B02EAD0B}"/>
              </a:ext>
            </a:extLst>
          </p:cNvPr>
          <p:cNvCxnSpPr>
            <a:cxnSpLocks/>
          </p:cNvCxnSpPr>
          <p:nvPr/>
        </p:nvCxnSpPr>
        <p:spPr>
          <a:xfrm>
            <a:off x="6265333" y="3863826"/>
            <a:ext cx="1433942" cy="72375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ysDot"/>
          </a:ln>
          <a:effectLst/>
        </p:spPr>
      </p:cxnSp>
      <p:graphicFrame>
        <p:nvGraphicFramePr>
          <p:cNvPr id="50" name="Gráfico 49">
            <a:extLst>
              <a:ext uri="{FF2B5EF4-FFF2-40B4-BE49-F238E27FC236}">
                <a16:creationId xmlns:a16="http://schemas.microsoft.com/office/drawing/2014/main" id="{3B1C2C71-9916-9E16-61C3-9CF33A80FA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2998370"/>
              </p:ext>
            </p:extLst>
          </p:nvPr>
        </p:nvGraphicFramePr>
        <p:xfrm>
          <a:off x="7844957" y="1885518"/>
          <a:ext cx="5743411" cy="3150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1" name="CaixaDeTexto 50">
            <a:extLst>
              <a:ext uri="{FF2B5EF4-FFF2-40B4-BE49-F238E27FC236}">
                <a16:creationId xmlns:a16="http://schemas.microsoft.com/office/drawing/2014/main" id="{B1F04863-3F4F-D9B7-6EA6-D14DE14C6B45}"/>
              </a:ext>
            </a:extLst>
          </p:cNvPr>
          <p:cNvSpPr txBox="1"/>
          <p:nvPr/>
        </p:nvSpPr>
        <p:spPr>
          <a:xfrm>
            <a:off x="5434459" y="3039126"/>
            <a:ext cx="2382857" cy="747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pt-BR" sz="4000" b="1">
                <a:solidFill>
                  <a:srgbClr val="75787B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3,1</a:t>
            </a:r>
            <a:r>
              <a:rPr kumimoji="0" lang="pt-BR" sz="40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pt-BR" sz="20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l horas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 panose="020B0606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2" name="Gráfico 51">
            <a:extLst>
              <a:ext uri="{FF2B5EF4-FFF2-40B4-BE49-F238E27FC236}">
                <a16:creationId xmlns:a16="http://schemas.microsoft.com/office/drawing/2014/main" id="{95022FAD-34DC-2DB0-B8D2-E1B2CAC322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5374082"/>
              </p:ext>
            </p:extLst>
          </p:nvPr>
        </p:nvGraphicFramePr>
        <p:xfrm>
          <a:off x="8301942" y="5207214"/>
          <a:ext cx="3857629" cy="757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3" name="CaixaDeTexto 52">
            <a:extLst>
              <a:ext uri="{FF2B5EF4-FFF2-40B4-BE49-F238E27FC236}">
                <a16:creationId xmlns:a16="http://schemas.microsoft.com/office/drawing/2014/main" id="{C2E67B2F-EFED-85D0-441A-EE701CEB8B5A}"/>
              </a:ext>
            </a:extLst>
          </p:cNvPr>
          <p:cNvSpPr txBox="1"/>
          <p:nvPr/>
        </p:nvSpPr>
        <p:spPr>
          <a:xfrm>
            <a:off x="5068916" y="5094817"/>
            <a:ext cx="30165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>
                <a:solidFill>
                  <a:srgbClr val="75787B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,2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pt-BR" sz="20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l horas </a:t>
            </a: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 2 entidades externas:</a:t>
            </a:r>
            <a:endParaRPr kumimoji="0" lang="pt-BR" sz="20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B8BA7165-DD9E-330B-9FD8-531DA7E96D39}"/>
              </a:ext>
            </a:extLst>
          </p:cNvPr>
          <p:cNvSpPr txBox="1"/>
          <p:nvPr/>
        </p:nvSpPr>
        <p:spPr>
          <a:xfrm>
            <a:off x="15064669" y="3084734"/>
            <a:ext cx="25793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ansbel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TI BV e PB-LOG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B8310A15-6254-A98B-6A9C-374F359C74F3}"/>
              </a:ext>
            </a:extLst>
          </p:cNvPr>
          <p:cNvSpPr txBox="1"/>
          <p:nvPr/>
        </p:nvSpPr>
        <p:spPr>
          <a:xfrm>
            <a:off x="993232" y="2745738"/>
            <a:ext cx="184647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29 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t>trabalhos</a:t>
            </a:r>
          </a:p>
        </p:txBody>
      </p:sp>
      <p:graphicFrame>
        <p:nvGraphicFramePr>
          <p:cNvPr id="59" name="Gráfico 58">
            <a:extLst>
              <a:ext uri="{FF2B5EF4-FFF2-40B4-BE49-F238E27FC236}">
                <a16:creationId xmlns:a16="http://schemas.microsoft.com/office/drawing/2014/main" id="{4138D515-03F8-D314-DF73-78593CB6AC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1694508"/>
              </p:ext>
            </p:extLst>
          </p:nvPr>
        </p:nvGraphicFramePr>
        <p:xfrm>
          <a:off x="4804038" y="5100659"/>
          <a:ext cx="1053961" cy="790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7" name="CaixaDeTexto 76">
            <a:extLst>
              <a:ext uri="{FF2B5EF4-FFF2-40B4-BE49-F238E27FC236}">
                <a16:creationId xmlns:a16="http://schemas.microsoft.com/office/drawing/2014/main" id="{A9ABCFCB-22CC-1C4E-2CFE-0A027E03E59D}"/>
              </a:ext>
            </a:extLst>
          </p:cNvPr>
          <p:cNvSpPr txBox="1"/>
          <p:nvPr/>
        </p:nvSpPr>
        <p:spPr>
          <a:xfrm>
            <a:off x="14269678" y="2305447"/>
            <a:ext cx="3277750" cy="747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Times New Roman" panose="02020603050405020304" pitchFamily="18" charset="0"/>
                <a:cs typeface="Arial" panose="020B0604020202020204" pitchFamily="34" charset="0"/>
              </a:rPr>
              <a:t>empresas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409B5ED9-1112-69D4-E4EC-728942E1402A}"/>
              </a:ext>
            </a:extLst>
          </p:cNvPr>
          <p:cNvSpPr txBox="1"/>
          <p:nvPr/>
        </p:nvSpPr>
        <p:spPr>
          <a:xfrm>
            <a:off x="14366415" y="2119967"/>
            <a:ext cx="88877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200" b="1" i="0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Times New Roman" panose="02020603050405020304" pitchFamily="18" charset="0"/>
                <a:cs typeface="Arial" panose="020B0604020202020204" pitchFamily="34" charset="0"/>
              </a:rPr>
              <a:t> 3</a:t>
            </a:r>
            <a:endParaRPr kumimoji="0" lang="pt-BR" sz="7200" b="0" i="0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id="{EAA99EA3-D4DE-0D4A-1356-C95B6C7C89E1}"/>
              </a:ext>
            </a:extLst>
          </p:cNvPr>
          <p:cNvSpPr txBox="1"/>
          <p:nvPr/>
        </p:nvSpPr>
        <p:spPr>
          <a:xfrm>
            <a:off x="14850868" y="4347790"/>
            <a:ext cx="293898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>
                <a:ln>
                  <a:noFill/>
                </a:ln>
                <a:solidFill>
                  <a:srgbClr val="00B1A9"/>
                </a:solidFill>
                <a:effectLst/>
                <a:uLnTx/>
                <a:uFillTx/>
                <a:latin typeface="Petrobras Sans"/>
                <a:ea typeface="Times New Roman" panose="02020603050405020304" pitchFamily="18" charset="0"/>
                <a:cs typeface="Arial" panose="020B0604020202020204" pitchFamily="34" charset="0"/>
              </a:rPr>
              <a:t>entidades externas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00B1A9"/>
              </a:solidFill>
              <a:effectLst/>
              <a:uLnTx/>
              <a:uFillTx/>
              <a:latin typeface="Petrobras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6686FF89-848D-864D-7E80-6E3A0ACAC409}"/>
              </a:ext>
            </a:extLst>
          </p:cNvPr>
          <p:cNvSpPr txBox="1"/>
          <p:nvPr/>
        </p:nvSpPr>
        <p:spPr>
          <a:xfrm>
            <a:off x="14494675" y="4090819"/>
            <a:ext cx="117444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200" b="1" i="0" u="none" strike="noStrike" kern="1200" cap="none" spc="0" normalizeH="0" baseline="0" noProof="0">
                <a:ln>
                  <a:noFill/>
                </a:ln>
                <a:solidFill>
                  <a:srgbClr val="00B1A9"/>
                </a:solidFill>
                <a:effectLst/>
                <a:uLnTx/>
                <a:uFillTx/>
                <a:latin typeface="Petrobras Sans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endParaRPr kumimoji="0" lang="pt-BR" sz="7200" b="0" i="0" u="none" strike="noStrike" kern="1200" cap="none" spc="0" normalizeH="0" baseline="0" noProof="0">
              <a:ln>
                <a:noFill/>
              </a:ln>
              <a:solidFill>
                <a:srgbClr val="00B1A9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E931DBB9-C241-021B-3157-2DD88D70064A}"/>
              </a:ext>
            </a:extLst>
          </p:cNvPr>
          <p:cNvSpPr txBox="1"/>
          <p:nvPr/>
        </p:nvSpPr>
        <p:spPr>
          <a:xfrm>
            <a:off x="619264" y="6145505"/>
            <a:ext cx="13233214" cy="485389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spcAft>
                <a:spcPts val="800"/>
              </a:spcAft>
              <a:defRPr sz="2400" b="1" spc="-150">
                <a:solidFill>
                  <a:srgbClr val="006298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-150" normalizeH="0" baseline="0" noProof="0">
                <a:ln>
                  <a:noFill/>
                </a:ln>
                <a:solidFill>
                  <a:srgbClr val="0085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VISÃO INTEGRADA NA AVALIAÇÃO DOS RISCOS, PROCESSOS E PERCEPÇÕES DA ALTA ADMINISTRAÇÃO </a:t>
            </a:r>
          </a:p>
        </p:txBody>
      </p:sp>
      <p:sp>
        <p:nvSpPr>
          <p:cNvPr id="83" name="Retângulo 82">
            <a:extLst>
              <a:ext uri="{FF2B5EF4-FFF2-40B4-BE49-F238E27FC236}">
                <a16:creationId xmlns:a16="http://schemas.microsoft.com/office/drawing/2014/main" id="{D9984EAE-C91A-A5FC-F1BD-D2596F3E7017}"/>
              </a:ext>
            </a:extLst>
          </p:cNvPr>
          <p:cNvSpPr/>
          <p:nvPr/>
        </p:nvSpPr>
        <p:spPr>
          <a:xfrm flipV="1">
            <a:off x="759413" y="6695997"/>
            <a:ext cx="561607" cy="45719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A49D83D1-FC0C-CC16-1199-C0016A112566}"/>
              </a:ext>
            </a:extLst>
          </p:cNvPr>
          <p:cNvSpPr txBox="1"/>
          <p:nvPr/>
        </p:nvSpPr>
        <p:spPr>
          <a:xfrm>
            <a:off x="14418006" y="5669936"/>
            <a:ext cx="33517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 Light" panose="020B0406020204030204" pitchFamily="34" charset="0"/>
                <a:ea typeface="Times New Roman" panose="02020603050405020304" pitchFamily="18" charset="0"/>
                <a:cs typeface="+mn-cs"/>
              </a:rPr>
              <a:t>1</a:t>
            </a:r>
            <a:r>
              <a:rPr kumimoji="0" lang="pt-P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 Light" panose="020B0406020204030204" pitchFamily="34" charset="0"/>
                <a:ea typeface="Times New Roman" panose="02020603050405020304" pitchFamily="18" charset="0"/>
                <a:cs typeface="+mn-cs"/>
              </a:rPr>
              <a:t> APS – Associação Petrobras de Saúde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 Light" panose="020B0406020204030204" pitchFamily="34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 Light" panose="020B0406020204030204" pitchFamily="34" charset="0"/>
                <a:ea typeface="Times New Roman" panose="02020603050405020304" pitchFamily="18" charset="0"/>
                <a:cs typeface="+mn-cs"/>
              </a:rPr>
              <a:t>2</a:t>
            </a:r>
            <a:r>
              <a:rPr kumimoji="0" lang="pt-PT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 Light" panose="020B0406020204030204" pitchFamily="34" charset="0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trobras Sans Light" panose="020B0406020204030204" pitchFamily="34" charset="0"/>
                <a:ea typeface="Times New Roman" panose="02020603050405020304" pitchFamily="18" charset="0"/>
                <a:cs typeface="+mn-cs"/>
              </a:rPr>
              <a:t>PETROS - Fundação Petrobras de Seguridade Social</a:t>
            </a:r>
            <a:endParaRPr kumimoji="0" lang="pt-PT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trobras Sans Light" panose="020B040602020403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413D2333-2A8C-E8E0-EAFC-8E9896919492}"/>
              </a:ext>
            </a:extLst>
          </p:cNvPr>
          <p:cNvSpPr txBox="1"/>
          <p:nvPr/>
        </p:nvSpPr>
        <p:spPr>
          <a:xfrm>
            <a:off x="8301942" y="1450846"/>
            <a:ext cx="3882892" cy="4853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spcAft>
                <a:spcPts val="800"/>
              </a:spcAft>
              <a:defRPr sz="2400" b="1" spc="-150">
                <a:solidFill>
                  <a:srgbClr val="006298"/>
                </a:solidFill>
                <a:latin typeface="Petrobras Sans" panose="020B060602020403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-150" normalizeH="0" baseline="0" noProof="0">
                <a:ln>
                  <a:noFill/>
                </a:ln>
                <a:solidFill>
                  <a:srgbClr val="0085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COBERTURA HH (</a:t>
            </a:r>
            <a:r>
              <a:rPr kumimoji="0" lang="en-US" sz="2400" b="1" i="0" u="none" strike="noStrike" kern="0" cap="none" spc="-150" normalizeH="0" baseline="0" noProof="0" err="1">
                <a:ln>
                  <a:noFill/>
                </a:ln>
                <a:solidFill>
                  <a:srgbClr val="0085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em</a:t>
            </a:r>
            <a:r>
              <a:rPr kumimoji="0" lang="en-US" sz="2400" b="1" i="0" u="none" strike="noStrike" kern="0" cap="none" spc="-150" normalizeH="0" baseline="0" noProof="0">
                <a:ln>
                  <a:noFill/>
                </a:ln>
                <a:solidFill>
                  <a:srgbClr val="0085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 mil horas)</a:t>
            </a: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EA8EB725-5534-06CA-EC9F-87DE45676924}"/>
              </a:ext>
            </a:extLst>
          </p:cNvPr>
          <p:cNvSpPr txBox="1"/>
          <p:nvPr/>
        </p:nvSpPr>
        <p:spPr>
          <a:xfrm>
            <a:off x="13750718" y="4322840"/>
            <a:ext cx="656661" cy="1173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00" b="1" i="0" u="none" strike="noStrike" kern="1200" cap="none" spc="0" normalizeH="0" baseline="0" noProof="0">
                <a:ln>
                  <a:noFill/>
                </a:ln>
                <a:solidFill>
                  <a:srgbClr val="00B1A9"/>
                </a:solidFill>
                <a:effectLst/>
                <a:uLnTx/>
                <a:uFillTx/>
                <a:latin typeface="Petrobras Sans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srgbClr val="00B1A9"/>
              </a:solidFill>
              <a:effectLst/>
              <a:uLnTx/>
              <a:uFillTx/>
              <a:latin typeface="Petrobras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70FEC201-2E5E-0114-B635-1479B6363C94}"/>
              </a:ext>
            </a:extLst>
          </p:cNvPr>
          <p:cNvSpPr txBox="1"/>
          <p:nvPr/>
        </p:nvSpPr>
        <p:spPr>
          <a:xfrm>
            <a:off x="14418006" y="4218267"/>
            <a:ext cx="3226161" cy="1382289"/>
          </a:xfrm>
          <a:prstGeom prst="roundRect">
            <a:avLst>
              <a:gd name="adj" fmla="val 4721"/>
            </a:avLst>
          </a:prstGeom>
          <a:noFill/>
          <a:ln>
            <a:solidFill>
              <a:srgbClr val="00B2A9"/>
            </a:solidFill>
          </a:ln>
        </p:spPr>
        <p:txBody>
          <a:bodyPr wrap="square" lIns="25200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 XBold" panose="020B0806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1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 XBold" panose="020B0806020204030204" pitchFamily="34" charset="0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4FFBEB0A-C4A4-F3FE-8AEC-4720668B5FAB}"/>
              </a:ext>
            </a:extLst>
          </p:cNvPr>
          <p:cNvSpPr txBox="1"/>
          <p:nvPr/>
        </p:nvSpPr>
        <p:spPr>
          <a:xfrm>
            <a:off x="13750718" y="2282049"/>
            <a:ext cx="656661" cy="1173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00" b="1" i="0" u="none" strike="noStrike" kern="1200" cap="none" spc="0" normalizeH="0" baseline="0" noProof="0">
                <a:ln>
                  <a:noFill/>
                </a:ln>
                <a:solidFill>
                  <a:srgbClr val="008542"/>
                </a:solidFill>
                <a:effectLst/>
                <a:uLnTx/>
                <a:uFillTx/>
                <a:latin typeface="Petrobras Sans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srgbClr val="008542"/>
              </a:solidFill>
              <a:effectLst/>
              <a:uLnTx/>
              <a:uFillTx/>
              <a:latin typeface="Petrobras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5D44AFE-5A6F-D668-1A2F-F110BE0C7A2A}"/>
              </a:ext>
            </a:extLst>
          </p:cNvPr>
          <p:cNvSpPr txBox="1"/>
          <p:nvPr/>
        </p:nvSpPr>
        <p:spPr>
          <a:xfrm>
            <a:off x="619264" y="6850585"/>
            <a:ext cx="1578943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Abordagem por </a:t>
            </a: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Temas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,  para visão de </a:t>
            </a: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auditoria baseada em riscos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Avaliação holística dos riscos, de modo a avaliar a </a:t>
            </a: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exposição da Companhia às ameaças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 identificadas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Definição dos </a:t>
            </a: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objetos de auditoria com base em dados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 e informações coletadas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i="1">
              <a:solidFill>
                <a:srgbClr val="75787B"/>
              </a:solidFill>
              <a:latin typeface="Petrobras Sans 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Mais de 5 mil horas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 destinadas para </a:t>
            </a:r>
            <a:r>
              <a:rPr lang="pt-BR" b="1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reserva técnica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, para atendimento a:</a:t>
            </a:r>
            <a:r>
              <a:rPr lang="pt-BR" i="1">
                <a:solidFill>
                  <a:srgbClr val="75787B"/>
                </a:solidFill>
                <a:latin typeface="Petrobras Sans "/>
              </a:rPr>
              <a:t> (i) 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solicitações do Comitê de Auditoria, Diretoria Executiva </a:t>
            </a:r>
            <a:r>
              <a:rPr lang="pt-BR" i="1">
                <a:solidFill>
                  <a:srgbClr val="75787B"/>
                </a:solidFill>
                <a:latin typeface="Petrobras Sans "/>
              </a:rPr>
              <a:t>e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 Gerências Executivas; (</a:t>
            </a:r>
            <a:r>
              <a:rPr lang="pt-BR" i="1" err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ii</a:t>
            </a:r>
            <a:r>
              <a:rPr lang="pt-BR" i="1">
                <a:solidFill>
                  <a:srgbClr val="75787B"/>
                </a:solidFill>
                <a:latin typeface="Petrobras Sans "/>
              </a:rPr>
              <a:t>) m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udanças no cenário do ambiente de negócios ou em marcos regulatórios; (</a:t>
            </a:r>
            <a:r>
              <a:rPr lang="pt-BR" i="1" err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iii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) atualizações no mapeamento de riscos; ou (</a:t>
            </a:r>
            <a:r>
              <a:rPr lang="pt-BR" i="1" err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iv</a:t>
            </a:r>
            <a:r>
              <a:rPr lang="pt-BR" i="1">
                <a:solidFill>
                  <a:srgbClr val="75787B"/>
                </a:solidFill>
                <a:latin typeface="Petrobras Sans "/>
                <a:ea typeface="+mn-ea"/>
                <a:cs typeface="+mn-cs"/>
              </a:rPr>
              <a:t>) novos fatos relevantes divulgados.</a:t>
            </a:r>
          </a:p>
          <a:p>
            <a:pPr marL="342900" lvl="0" indent="-342900" algn="just" defTabSz="914400">
              <a:buFont typeface="Arial" panose="020B0604020202020204" pitchFamily="34" charset="0"/>
              <a:buChar char="•"/>
              <a:defRPr/>
            </a:pPr>
            <a:r>
              <a:rPr lang="pt-BR" b="1" i="1">
                <a:solidFill>
                  <a:srgbClr val="75787B"/>
                </a:solidFill>
                <a:latin typeface="Petrobras Sans "/>
              </a:rPr>
              <a:t>Mais de 4 mil horas </a:t>
            </a:r>
            <a:r>
              <a:rPr lang="pt-BR"/>
              <a:t>destinadas ao apoio e à execução de testes de controles gerais de TI (CGTI), testes contínuos de segurança cibernética (CTCS) e testes automatizados de sistemas (CTAS).</a:t>
            </a:r>
            <a:endParaRPr lang="pt-BR" i="1">
              <a:solidFill>
                <a:srgbClr val="75787B"/>
              </a:solidFill>
              <a:latin typeface="Petrobras Sans 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i="1">
              <a:solidFill>
                <a:srgbClr val="75787B"/>
              </a:solidFill>
              <a:latin typeface="Petrobras Sans 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52364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32D6A0AF-2C4A-4789-671B-7B3119461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3039"/>
            <a:ext cx="17983636" cy="10115795"/>
          </a:xfrm>
          <a:prstGeom prst="rect">
            <a:avLst/>
          </a:prstGeom>
        </p:spPr>
      </p:pic>
      <p:sp>
        <p:nvSpPr>
          <p:cNvPr id="3" name="Gráfico 7">
            <a:extLst>
              <a:ext uri="{FF2B5EF4-FFF2-40B4-BE49-F238E27FC236}">
                <a16:creationId xmlns:a16="http://schemas.microsoft.com/office/drawing/2014/main" id="{CF71EFB8-1E76-DFD5-2E42-93C5428E280C}"/>
              </a:ext>
            </a:extLst>
          </p:cNvPr>
          <p:cNvSpPr/>
          <p:nvPr/>
        </p:nvSpPr>
        <p:spPr>
          <a:xfrm>
            <a:off x="-5011282" y="-976282"/>
            <a:ext cx="29892215" cy="13221888"/>
          </a:xfrm>
          <a:custGeom>
            <a:avLst/>
            <a:gdLst>
              <a:gd name="connsiteX0" fmla="*/ 17319700 w 20336121"/>
              <a:gd name="connsiteY0" fmla="*/ 8213954 h 8995048"/>
              <a:gd name="connsiteX1" fmla="*/ 16899442 w 20336121"/>
              <a:gd name="connsiteY1" fmla="*/ 8515868 h 8995048"/>
              <a:gd name="connsiteX2" fmla="*/ 3854072 w 20336121"/>
              <a:gd name="connsiteY2" fmla="*/ 8994820 h 8995048"/>
              <a:gd name="connsiteX3" fmla="*/ 3426487 w 20336121"/>
              <a:gd name="connsiteY3" fmla="*/ 8718550 h 8995048"/>
              <a:gd name="connsiteX4" fmla="*/ 21256 w 20336121"/>
              <a:gd name="connsiteY4" fmla="*/ 358221 h 8995048"/>
              <a:gd name="connsiteX5" fmla="*/ 214700 w 20336121"/>
              <a:gd name="connsiteY5" fmla="*/ 69527 h 8995048"/>
              <a:gd name="connsiteX6" fmla="*/ 20116644 w 20336121"/>
              <a:gd name="connsiteY6" fmla="*/ 2 h 8995048"/>
              <a:gd name="connsiteX7" fmla="*/ 20317334 w 20336121"/>
              <a:gd name="connsiteY7" fmla="*/ 289412 h 8995048"/>
              <a:gd name="connsiteX8" fmla="*/ 17319700 w 20336121"/>
              <a:gd name="connsiteY8" fmla="*/ 8213954 h 8995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36121" h="8995048">
                <a:moveTo>
                  <a:pt x="17319700" y="8213954"/>
                </a:moveTo>
                <a:cubicBezTo>
                  <a:pt x="17259252" y="8373710"/>
                  <a:pt x="17070108" y="8509576"/>
                  <a:pt x="16899442" y="8515868"/>
                </a:cubicBezTo>
                <a:lnTo>
                  <a:pt x="3854072" y="8994820"/>
                </a:lnTo>
                <a:cubicBezTo>
                  <a:pt x="3683325" y="9001111"/>
                  <a:pt x="3490995" y="8876794"/>
                  <a:pt x="3426487" y="8718550"/>
                </a:cubicBezTo>
                <a:lnTo>
                  <a:pt x="21256" y="358221"/>
                </a:lnTo>
                <a:cubicBezTo>
                  <a:pt x="-43173" y="200057"/>
                  <a:pt x="43873" y="70085"/>
                  <a:pt x="214700" y="69527"/>
                </a:cubicBezTo>
                <a:lnTo>
                  <a:pt x="20116644" y="2"/>
                </a:lnTo>
                <a:cubicBezTo>
                  <a:pt x="20287470" y="-556"/>
                  <a:pt x="20377782" y="129655"/>
                  <a:pt x="20317334" y="289412"/>
                </a:cubicBezTo>
                <a:lnTo>
                  <a:pt x="17319700" y="8213954"/>
                </a:lnTo>
                <a:close/>
              </a:path>
            </a:pathLst>
          </a:custGeom>
          <a:gradFill flip="none" rotWithShape="1">
            <a:gsLst>
              <a:gs pos="51000">
                <a:schemeClr val="accent1">
                  <a:alpha val="90000"/>
                </a:schemeClr>
              </a:gs>
              <a:gs pos="0">
                <a:schemeClr val="tx2"/>
              </a:gs>
              <a:gs pos="68000">
                <a:schemeClr val="accent4">
                  <a:alpha val="50000"/>
                </a:schemeClr>
              </a:gs>
            </a:gsLst>
            <a:lin ang="0" scaled="1"/>
            <a:tileRect/>
          </a:gradFill>
          <a:ln w="15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46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FBF5D0E6-6200-9DDA-70E4-83D3B2C25D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67160" y="-572915"/>
            <a:ext cx="23438927" cy="10940624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E6C33415-6534-7D6D-72F3-BE828BC9AA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704">
            <a:off x="-3254719" y="-672123"/>
            <a:ext cx="23761984" cy="10514399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E60C1FF-1C1A-97DB-E30E-89208241BC27}"/>
              </a:ext>
            </a:extLst>
          </p:cNvPr>
          <p:cNvSpPr txBox="1"/>
          <p:nvPr/>
        </p:nvSpPr>
        <p:spPr>
          <a:xfrm>
            <a:off x="671782" y="319504"/>
            <a:ext cx="12327507" cy="2290157"/>
          </a:xfrm>
          <a:prstGeom prst="rect">
            <a:avLst/>
          </a:prstGeom>
          <a:noFill/>
        </p:spPr>
        <p:txBody>
          <a:bodyPr wrap="square" lIns="134408" tIns="67204" rIns="134408" bIns="67204" rtlCol="0" anchor="t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sz="2700" b="1">
                <a:solidFill>
                  <a:srgbClr val="575A5C"/>
                </a:solidFill>
                <a:latin typeface="Trebuchet MS" panose="020B0603020202020204"/>
                <a:ea typeface="+mj-ea"/>
                <a:cs typeface="+mj-cs"/>
              </a:defRPr>
            </a:lvl1pPr>
          </a:lstStyle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+mj-ea"/>
                <a:cs typeface="+mj-cs"/>
              </a:rPr>
              <a:t>Grandes Temas para 2026 - Transpetro</a:t>
            </a:r>
          </a:p>
          <a:p>
            <a:pPr lvl="0" defTabSz="1344077">
              <a:lnSpc>
                <a:spcPct val="100000"/>
              </a:lnSpc>
              <a:spcAft>
                <a:spcPts val="1200"/>
              </a:spcAft>
              <a:defRPr/>
            </a:pPr>
            <a:r>
              <a:rPr lang="pt-BR" sz="2000" b="0" i="1">
                <a:solidFill>
                  <a:srgbClr val="FFFFFF"/>
                </a:solidFill>
                <a:latin typeface="Petrobras Sans "/>
              </a:rPr>
              <a:t>As atividades programadas </a:t>
            </a: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j-ea"/>
                <a:cs typeface="+mj-cs"/>
              </a:rPr>
              <a:t>no PAINT 26 </a:t>
            </a: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etrobras Sans "/>
                <a:ea typeface="+mj-ea"/>
                <a:cs typeface="+mj-cs"/>
              </a:rPr>
              <a:t>cobrem os riscos estratégicos propostos</a:t>
            </a: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etrobras Sans Light" panose="020B0406020204030204" pitchFamily="34" charset="0"/>
              </a:rPr>
              <a:t>¹ </a:t>
            </a:r>
            <a:r>
              <a:rPr lang="pt-BR" sz="2000" b="0" i="1">
                <a:solidFill>
                  <a:srgbClr val="FFFFFF"/>
                </a:solidFill>
                <a:latin typeface="Petrobras Sans "/>
              </a:rPr>
              <a:t>e 100% dos componentes estratégicos¹</a:t>
            </a:r>
            <a:r>
              <a:rPr kumimoji="0" lang="pt-BR" sz="200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etrobras Sans "/>
                <a:ea typeface="+mj-ea"/>
                <a:cs typeface="+mj-cs"/>
              </a:rPr>
              <a:t>, </a:t>
            </a:r>
            <a:r>
              <a:rPr lang="pt-BR" sz="2000" b="0" i="1">
                <a:solidFill>
                  <a:schemeClr val="bg1"/>
                </a:solidFill>
                <a:latin typeface="Petrobras Sans "/>
              </a:rPr>
              <a:t>e envolvem 79</a:t>
            </a:r>
            <a:r>
              <a:rPr lang="pt-BR" sz="2000" b="0" i="1">
                <a:solidFill>
                  <a:srgbClr val="FFFFFF"/>
                </a:solidFill>
                <a:latin typeface="Petrobras Sans "/>
              </a:rPr>
              <a:t>% dos macroprocessos </a:t>
            </a:r>
            <a:r>
              <a:rPr lang="pt-BR" sz="2000" b="0" i="1">
                <a:solidFill>
                  <a:schemeClr val="bg1"/>
                </a:solidFill>
                <a:latin typeface="Petrobras Sans "/>
              </a:rPr>
              <a:t>(15/19</a:t>
            </a:r>
            <a:r>
              <a:rPr lang="pt-BR" sz="2000" b="0" i="1">
                <a:solidFill>
                  <a:srgbClr val="FFFFFF"/>
                </a:solidFill>
                <a:latin typeface="Petrobras Sans "/>
              </a:rPr>
              <a:t>) da Companhia.</a:t>
            </a:r>
          </a:p>
          <a:p>
            <a:pPr marL="0" marR="0" lvl="0" indent="0" algn="l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+mj-ea"/>
                <a:cs typeface="+mj-cs"/>
              </a:rPr>
              <a:t>Os grandes temas para 2026 endereçam grande parte das preocupações coletadas na elaboração do Plano e estão alinhados com os desafios e direcionadores do Plano de Negócio.</a:t>
            </a:r>
          </a:p>
        </p:txBody>
      </p:sp>
      <p:sp>
        <p:nvSpPr>
          <p:cNvPr id="4" name="Espaço Reservado para Número de Slide 66">
            <a:extLst>
              <a:ext uri="{FF2B5EF4-FFF2-40B4-BE49-F238E27FC236}">
                <a16:creationId xmlns:a16="http://schemas.microsoft.com/office/drawing/2014/main" id="{F6F80690-A792-056C-A0F0-CB9AEBD4FE3F}"/>
              </a:ext>
            </a:extLst>
          </p:cNvPr>
          <p:cNvSpPr txBox="1">
            <a:spLocks/>
          </p:cNvSpPr>
          <p:nvPr/>
        </p:nvSpPr>
        <p:spPr>
          <a:xfrm>
            <a:off x="13459386" y="9319101"/>
            <a:ext cx="4032250" cy="536700"/>
          </a:xfrm>
          <a:prstGeom prst="rect">
            <a:avLst/>
          </a:prstGeom>
        </p:spPr>
        <p:txBody>
          <a:bodyPr vert="horz" lIns="134408" tIns="67204" rIns="134408" bIns="67204" rtlCol="0" anchor="ctr"/>
          <a:lstStyle>
            <a:defPPr>
              <a:defRPr lang="pt-BR"/>
            </a:defPPr>
            <a:lvl1pPr marL="0" algn="r" defTabSz="685800" rtl="0" eaLnBrk="1" latinLnBrk="0" hangingPunct="1">
              <a:defRPr sz="12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08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A6BD8F-DA5E-4E05-A2DC-45FC3629ED6B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/>
                <a:ea typeface="+mn-ea"/>
                <a:cs typeface="+mn-cs"/>
              </a:rPr>
              <a:pPr marL="0" marR="0" lvl="0" indent="0" algn="r" defTabSz="1008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"/>
              <a:ea typeface="+mn-ea"/>
              <a:cs typeface="+mn-cs"/>
            </a:endParaRPr>
          </a:p>
        </p:txBody>
      </p:sp>
      <p:sp>
        <p:nvSpPr>
          <p:cNvPr id="5" name="Espaço Reservado para Número de Slide 6">
            <a:extLst>
              <a:ext uri="{FF2B5EF4-FFF2-40B4-BE49-F238E27FC236}">
                <a16:creationId xmlns:a16="http://schemas.microsoft.com/office/drawing/2014/main" id="{6538262E-FFE0-2347-B7D3-572B77A8CB29}"/>
              </a:ext>
            </a:extLst>
          </p:cNvPr>
          <p:cNvSpPr txBox="1">
            <a:spLocks/>
          </p:cNvSpPr>
          <p:nvPr/>
        </p:nvSpPr>
        <p:spPr>
          <a:xfrm>
            <a:off x="13610521" y="9364172"/>
            <a:ext cx="4032109" cy="536682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CB1C7-BC24-4B1A-8401-3570DFE411D8}" type="slidenum">
              <a:rPr kumimoji="0" lang="pt-BR" sz="1764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Petrobras Sans" panose="020B0606020204030204" pitchFamily="34" charset="0"/>
                <a:ea typeface="+mn-ea"/>
                <a:cs typeface="+mn-cs"/>
              </a:rPr>
              <a:pPr marL="0" marR="0" lvl="0" indent="0" algn="r" defTabSz="13440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764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Petrobras Sans" panose="020B0606020204030204" pitchFamily="34" charset="0"/>
              <a:ea typeface="+mn-ea"/>
              <a:cs typeface="+mn-cs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4ED9F4D7-35CC-C192-DFE8-E6A88D8F7DDD}"/>
              </a:ext>
            </a:extLst>
          </p:cNvPr>
          <p:cNvSpPr txBox="1"/>
          <p:nvPr/>
        </p:nvSpPr>
        <p:spPr>
          <a:xfrm>
            <a:off x="15109586" y="602823"/>
            <a:ext cx="2645229" cy="759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70" marR="0" lvl="0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kern="0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1219140" marR="0" lvl="1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828709" marR="0" lvl="2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2438278" marR="0" lvl="3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3047848" marR="0" lvl="4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3657418" marR="0" lvl="5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4266987" marR="0" lvl="6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4876557" marR="0" lvl="7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5486126" marR="0" lvl="8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203123" marR="0" lvl="0" indent="0" algn="l" defTabSz="1218804" rtl="0" eaLnBrk="1" fontAlgn="auto" latinLnBrk="0" hangingPunct="1">
              <a:lnSpc>
                <a:spcPct val="110000"/>
              </a:lnSpc>
              <a:spcBef>
                <a:spcPts val="1066"/>
              </a:spcBef>
              <a:spcAft>
                <a:spcPts val="0"/>
              </a:spcAft>
              <a:buClr>
                <a:srgbClr val="00B5DD"/>
              </a:buClr>
              <a:buSzPts val="1800"/>
              <a:buFont typeface="Barlow Light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sym typeface="Barlow Light"/>
              </a:rPr>
              <a:t>RISCOS E  </a:t>
            </a:r>
            <a: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etrobras Sans" panose="020B0606020204030204" pitchFamily="34" charset="0"/>
                <a:sym typeface="Barlow Light"/>
              </a:rPr>
              <a:t>COMPONENTES ESTRATÉGICOS </a:t>
            </a:r>
            <a:r>
              <a:rPr kumimoji="0" lang="pt-BR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" panose="020B0606020204030204" pitchFamily="34" charset="0"/>
                <a:sym typeface="Barlow Light"/>
              </a:rPr>
              <a:t>COBERTOS</a:t>
            </a: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0301A526-8DF5-F949-EA21-D25139F16079}"/>
              </a:ext>
            </a:extLst>
          </p:cNvPr>
          <p:cNvSpPr/>
          <p:nvPr/>
        </p:nvSpPr>
        <p:spPr>
          <a:xfrm>
            <a:off x="13175165" y="644621"/>
            <a:ext cx="4316471" cy="1520350"/>
          </a:xfrm>
          <a:prstGeom prst="roundRect">
            <a:avLst/>
          </a:prstGeom>
          <a:noFill/>
          <a:ln w="38100" cap="flat" cmpd="sng" algn="ctr">
            <a:solidFill>
              <a:srgbClr val="C4D6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7724CAA-73D8-C4FD-AE86-99718D9C1965}"/>
              </a:ext>
            </a:extLst>
          </p:cNvPr>
          <p:cNvSpPr txBox="1"/>
          <p:nvPr/>
        </p:nvSpPr>
        <p:spPr>
          <a:xfrm>
            <a:off x="13239668" y="921897"/>
            <a:ext cx="1885794" cy="1076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70" marR="0" lvl="0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kern="0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1219140" marR="0" lvl="1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828709" marR="0" lvl="2" indent="-457178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2438278" marR="0" lvl="3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3047848" marR="0" lvl="4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3657418" marR="0" lvl="5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4266987" marR="0" lvl="6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4876557" marR="0" lvl="7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5486126" marR="0" lvl="8" indent="-474109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203123" marR="0" lvl="0" indent="0" algn="l" defTabSz="1218804" rtl="0" eaLnBrk="1" fontAlgn="auto" latinLnBrk="0" hangingPunct="1">
              <a:lnSpc>
                <a:spcPct val="110000"/>
              </a:lnSpc>
              <a:spcBef>
                <a:spcPts val="1066"/>
              </a:spcBef>
              <a:spcAft>
                <a:spcPts val="0"/>
              </a:spcAft>
              <a:buClr>
                <a:srgbClr val="00B5DD"/>
              </a:buClr>
              <a:buSzPts val="1800"/>
              <a:buFont typeface="Barlow Light"/>
              <a:buNone/>
              <a:tabLst/>
              <a:defRPr/>
            </a:pPr>
            <a:r>
              <a:rPr kumimoji="0" lang="pt-BR" sz="5400" b="1" i="0" u="none" strike="noStrike" kern="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sym typeface="Barlow Light"/>
              </a:rPr>
              <a:t>100%</a:t>
            </a:r>
          </a:p>
        </p:txBody>
      </p:sp>
      <p:sp>
        <p:nvSpPr>
          <p:cNvPr id="23" name="Google Shape;483;p24">
            <a:extLst>
              <a:ext uri="{FF2B5EF4-FFF2-40B4-BE49-F238E27FC236}">
                <a16:creationId xmlns:a16="http://schemas.microsoft.com/office/drawing/2014/main" id="{15AB79A1-15EC-D55D-A9F5-8C484DC83610}"/>
              </a:ext>
            </a:extLst>
          </p:cNvPr>
          <p:cNvSpPr txBox="1"/>
          <p:nvPr/>
        </p:nvSpPr>
        <p:spPr>
          <a:xfrm>
            <a:off x="11977880" y="4314058"/>
            <a:ext cx="3982071" cy="4425934"/>
          </a:xfrm>
          <a:prstGeom prst="roundRect">
            <a:avLst/>
          </a:prstGeom>
          <a:noFill/>
          <a:ln>
            <a:noFill/>
          </a:ln>
        </p:spPr>
        <p:txBody>
          <a:bodyPr spcFirstLastPara="1" wrap="square" lIns="134386" tIns="134386" rIns="134386" bIns="134386" anchor="t" anchorCtr="0">
            <a:noAutofit/>
          </a:bodyPr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Roboto"/>
                <a:cs typeface="Roboto"/>
                <a:sym typeface="Roboto"/>
              </a:rPr>
              <a:t>BENS, SERVIÇOS E PROJETOS</a:t>
            </a:r>
          </a:p>
          <a:p>
            <a:pPr lvl="0" algn="ctr" defTabSz="1344077"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Aquisição de Bens;</a:t>
            </a: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 Gerir Aquisição de Bens e Serviços para Navios; Prestação 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de Serviços – Faturamento e Contratos</a:t>
            </a: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; Estoque - Materiais Excedentes; Contratos de Gerenciamento de Navios; Construção de Embarcações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  e Contratação de Navios - Programa TP 25.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BEB1D585-D2C4-7D4F-8148-FF8F498919BD}"/>
              </a:ext>
            </a:extLst>
          </p:cNvPr>
          <p:cNvSpPr txBox="1"/>
          <p:nvPr/>
        </p:nvSpPr>
        <p:spPr>
          <a:xfrm>
            <a:off x="13241971" y="4065842"/>
            <a:ext cx="16825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 algn="l">
              <a:lnSpc>
                <a:spcPct val="100000"/>
              </a:lnSpc>
              <a:defRPr/>
            </a:pPr>
            <a:r>
              <a:rPr lang="pt-BR" b="1">
                <a:solidFill>
                  <a:srgbClr val="C4D600"/>
                </a:solidFill>
                <a:latin typeface="Petrobras Sans" panose="020B0606020204030204" pitchFamily="34" charset="0"/>
              </a:rPr>
              <a:t>+  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8 mil horas</a:t>
            </a:r>
          </a:p>
        </p:txBody>
      </p:sp>
      <p:pic>
        <p:nvPicPr>
          <p:cNvPr id="24" name="Gráfico 23" descr="Frete com preenchimento sólido">
            <a:extLst>
              <a:ext uri="{FF2B5EF4-FFF2-40B4-BE49-F238E27FC236}">
                <a16:creationId xmlns:a16="http://schemas.microsoft.com/office/drawing/2014/main" id="{99C28090-68BB-086C-D30E-47F86F941E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46651" y="3129422"/>
            <a:ext cx="1005417" cy="1005417"/>
          </a:xfrm>
          <a:prstGeom prst="rect">
            <a:avLst/>
          </a:prstGeom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F9CBFE12-2B99-5C8D-2A41-9FBAD1B369A6}"/>
              </a:ext>
            </a:extLst>
          </p:cNvPr>
          <p:cNvSpPr txBox="1"/>
          <p:nvPr/>
        </p:nvSpPr>
        <p:spPr>
          <a:xfrm>
            <a:off x="9208092" y="4078587"/>
            <a:ext cx="16825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+ 5 mil horas</a:t>
            </a:r>
          </a:p>
        </p:txBody>
      </p:sp>
      <p:sp>
        <p:nvSpPr>
          <p:cNvPr id="8" name="Google Shape;483;p24">
            <a:extLst>
              <a:ext uri="{FF2B5EF4-FFF2-40B4-BE49-F238E27FC236}">
                <a16:creationId xmlns:a16="http://schemas.microsoft.com/office/drawing/2014/main" id="{F5357453-6BA3-1689-84C5-2AAE6A587F39}"/>
              </a:ext>
            </a:extLst>
          </p:cNvPr>
          <p:cNvSpPr txBox="1"/>
          <p:nvPr/>
        </p:nvSpPr>
        <p:spPr>
          <a:xfrm>
            <a:off x="8058323" y="4335581"/>
            <a:ext cx="3982071" cy="4191420"/>
          </a:xfrm>
          <a:prstGeom prst="roundRect">
            <a:avLst/>
          </a:prstGeom>
          <a:noFill/>
          <a:ln>
            <a:noFill/>
          </a:ln>
        </p:spPr>
        <p:txBody>
          <a:bodyPr spcFirstLastPara="1" wrap="square" lIns="134386" tIns="134386" rIns="134386" bIns="134386" anchor="t" anchorCtr="0">
            <a:noAutofit/>
          </a:bodyPr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Roboto"/>
                <a:cs typeface="Roboto"/>
                <a:sym typeface="Roboto"/>
              </a:rPr>
              <a:t>SOLUÇÕES LOGÍSTICAS</a:t>
            </a:r>
          </a:p>
          <a:p>
            <a:pPr lvl="0" algn="ctr" defTabSz="1344077">
              <a:spcAft>
                <a:spcPts val="1800"/>
              </a:spcAft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Eficiência Operacional de Navios; </a:t>
            </a: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Carga e Descarga de Embarcação; Estoque de Produtos - Faltas e Sobras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 e </a:t>
            </a: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Estadia de Navios nos Terminais.</a:t>
            </a: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483;p24">
            <a:extLst>
              <a:ext uri="{FF2B5EF4-FFF2-40B4-BE49-F238E27FC236}">
                <a16:creationId xmlns:a16="http://schemas.microsoft.com/office/drawing/2014/main" id="{0897597C-990B-2D7B-01AB-63AF47435766}"/>
              </a:ext>
            </a:extLst>
          </p:cNvPr>
          <p:cNvSpPr txBox="1"/>
          <p:nvPr/>
        </p:nvSpPr>
        <p:spPr>
          <a:xfrm>
            <a:off x="612249" y="4219837"/>
            <a:ext cx="3982071" cy="4191420"/>
          </a:xfrm>
          <a:prstGeom prst="roundRect">
            <a:avLst/>
          </a:prstGeom>
          <a:noFill/>
          <a:ln>
            <a:noFill/>
          </a:ln>
        </p:spPr>
        <p:txBody>
          <a:bodyPr spcFirstLastPara="1" wrap="square" lIns="134386" tIns="134386" rIns="134386" bIns="134386" anchor="t" anchorCtr="0">
            <a:noAutofit/>
          </a:bodyPr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Roboto"/>
                <a:cs typeface="Roboto"/>
                <a:sym typeface="Roboto"/>
              </a:rPr>
              <a:t>SEGURANÇA OPERACIONAL</a:t>
            </a:r>
          </a:p>
          <a:p>
            <a:pPr lvl="0" algn="ctr" defTabSz="1344077">
              <a:defRPr/>
            </a:pP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Programa de Proteção de Dutos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; Integridade de Dutos;</a:t>
            </a: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 Gestão de Ativos e Armazenamento de Produtos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.</a:t>
            </a:r>
          </a:p>
        </p:txBody>
      </p:sp>
      <p:pic>
        <p:nvPicPr>
          <p:cNvPr id="19" name="Gráfico 18" descr="Funcionária de construção com preenchimento sólido">
            <a:extLst>
              <a:ext uri="{FF2B5EF4-FFF2-40B4-BE49-F238E27FC236}">
                <a16:creationId xmlns:a16="http://schemas.microsoft.com/office/drawing/2014/main" id="{385CE767-33DA-C7E8-130B-9E8F5BDA99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81425" y="3180667"/>
            <a:ext cx="1117105" cy="1117105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9D7E3CBC-AFC9-D28D-E705-575551AC1CC8}"/>
              </a:ext>
            </a:extLst>
          </p:cNvPr>
          <p:cNvSpPr txBox="1"/>
          <p:nvPr/>
        </p:nvSpPr>
        <p:spPr>
          <a:xfrm>
            <a:off x="1767824" y="4214947"/>
            <a:ext cx="16825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+ 4 mil horas</a:t>
            </a:r>
          </a:p>
        </p:txBody>
      </p:sp>
      <p:sp>
        <p:nvSpPr>
          <p:cNvPr id="35" name="Google Shape;483;p24">
            <a:extLst>
              <a:ext uri="{FF2B5EF4-FFF2-40B4-BE49-F238E27FC236}">
                <a16:creationId xmlns:a16="http://schemas.microsoft.com/office/drawing/2014/main" id="{236B2462-7D9C-FB43-AC0C-54E34E0B7EE1}"/>
              </a:ext>
            </a:extLst>
          </p:cNvPr>
          <p:cNvSpPr txBox="1"/>
          <p:nvPr/>
        </p:nvSpPr>
        <p:spPr>
          <a:xfrm>
            <a:off x="4309897" y="4263253"/>
            <a:ext cx="3982071" cy="4191420"/>
          </a:xfrm>
          <a:prstGeom prst="roundRect">
            <a:avLst/>
          </a:prstGeom>
          <a:noFill/>
          <a:ln>
            <a:noFill/>
          </a:ln>
        </p:spPr>
        <p:txBody>
          <a:bodyPr spcFirstLastPara="1" wrap="square" lIns="134386" tIns="134386" rIns="134386" bIns="134386" anchor="t" anchorCtr="0">
            <a:noAutofit/>
          </a:bodyPr>
          <a:lstStyle/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XBold"/>
                <a:ea typeface="Roboto"/>
                <a:cs typeface="Roboto"/>
                <a:sym typeface="Roboto"/>
              </a:rPr>
              <a:t>ASG</a:t>
            </a: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"/>
              <a:ea typeface="Roboto"/>
              <a:cs typeface="Roboto"/>
              <a:sym typeface="Roboto"/>
            </a:endParaRPr>
          </a:p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"/>
              <a:ea typeface="Roboto"/>
              <a:cs typeface="Roboto"/>
              <a:sym typeface="Roboto"/>
            </a:endParaRPr>
          </a:p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etrobras Sans "/>
              <a:ea typeface="Roboto"/>
              <a:cs typeface="Roboto"/>
              <a:sym typeface="Roboto"/>
            </a:endParaRPr>
          </a:p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SMS – Meio Ambiente; Remuneração de Dirigentes; e </a:t>
            </a:r>
          </a:p>
          <a:p>
            <a:pPr marL="0" marR="0" lvl="0" indent="0" algn="ctr" defTabSz="134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i="1">
                <a:solidFill>
                  <a:srgbClr val="FFFFFF"/>
                </a:solidFill>
                <a:latin typeface="Petrobras Sans "/>
                <a:ea typeface="Roboto"/>
                <a:cs typeface="Roboto"/>
                <a:sym typeface="Roboto"/>
              </a:rPr>
              <a:t>S</a:t>
            </a:r>
            <a:r>
              <a:rPr kumimoji="0" lang="pt-BR" sz="18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corecard</a:t>
            </a:r>
            <a:r>
              <a:rPr kumimoji="0" lang="pt-BR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etrobras Sans "/>
                <a:ea typeface="Roboto"/>
                <a:cs typeface="Roboto"/>
                <a:sym typeface="Roboto"/>
              </a:rPr>
              <a:t> e Metas.</a:t>
            </a:r>
          </a:p>
        </p:txBody>
      </p:sp>
      <p:pic>
        <p:nvPicPr>
          <p:cNvPr id="39" name="Gráfico 38" descr="Árvore decídua com preenchimento sólido">
            <a:extLst>
              <a:ext uri="{FF2B5EF4-FFF2-40B4-BE49-F238E27FC236}">
                <a16:creationId xmlns:a16="http://schemas.microsoft.com/office/drawing/2014/main" id="{0A968925-7BEC-E3D3-4967-F2B942D69C3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56710" y="3194539"/>
            <a:ext cx="914400" cy="914400"/>
          </a:xfrm>
          <a:prstGeom prst="rect">
            <a:avLst/>
          </a:prstGeom>
        </p:spPr>
      </p:pic>
      <p:sp>
        <p:nvSpPr>
          <p:cNvPr id="32" name="CaixaDeTexto 31">
            <a:extLst>
              <a:ext uri="{FF2B5EF4-FFF2-40B4-BE49-F238E27FC236}">
                <a16:creationId xmlns:a16="http://schemas.microsoft.com/office/drawing/2014/main" id="{C8AF4828-C878-8498-AEF2-C109D4882D07}"/>
              </a:ext>
            </a:extLst>
          </p:cNvPr>
          <p:cNvSpPr txBox="1"/>
          <p:nvPr/>
        </p:nvSpPr>
        <p:spPr>
          <a:xfrm>
            <a:off x="5535499" y="4133761"/>
            <a:ext cx="16825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15000"/>
              </a:lnSpc>
              <a:defRPr>
                <a:solidFill>
                  <a:schemeClr val="accent6">
                    <a:lumMod val="50000"/>
                  </a:schemeClr>
                </a:solidFill>
                <a:effectLst/>
                <a:latin typeface="Petrobras Sans Light" panose="020B0406020204030204" pitchFamily="34" charset="77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Petrobras Sans" panose="020B0606020204030204" pitchFamily="34" charset="0"/>
                <a:cs typeface="Arial" panose="020B0604020202020204" pitchFamily="34" charset="0"/>
              </a:rPr>
              <a:t> + 3 mil horas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8B08385-E38B-1D9C-E7E8-8D5C7D11167E}"/>
              </a:ext>
            </a:extLst>
          </p:cNvPr>
          <p:cNvSpPr txBox="1"/>
          <p:nvPr/>
        </p:nvSpPr>
        <p:spPr>
          <a:xfrm>
            <a:off x="2336581" y="8643719"/>
            <a:ext cx="14195656" cy="316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96021">
              <a:lnSpc>
                <a:spcPct val="150000"/>
              </a:lnSpc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trobras Sans Light" panose="020B0406020204030204" pitchFamily="34" charset="0"/>
              </a:rPr>
              <a:t>¹ </a:t>
            </a:r>
            <a:r>
              <a:rPr lang="pt-BR" sz="1100">
                <a:solidFill>
                  <a:prstClr val="white"/>
                </a:solidFill>
                <a:latin typeface="Petrobras Sans Light" panose="020B0406020204030204" pitchFamily="34" charset="0"/>
              </a:rPr>
              <a:t>Os riscos e componentes estratégicos estão processo de aprovação junto ao PE 2050/PN 26-30.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trobras Sans Light" panose="020B0406020204030204" pitchFamily="34" charset="0"/>
            </a:endParaRP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E68379AA-17E0-98FD-3F87-81A85A26E5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438857" y="3263570"/>
            <a:ext cx="1005417" cy="1005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4690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Personalizada 48">
      <a:dk1>
        <a:sysClr val="windowText" lastClr="000000"/>
      </a:dk1>
      <a:lt1>
        <a:sysClr val="window" lastClr="FFFFFF"/>
      </a:lt1>
      <a:dk2>
        <a:srgbClr val="000000"/>
      </a:dk2>
      <a:lt2>
        <a:srgbClr val="F2F2F2"/>
      </a:lt2>
      <a:accent1>
        <a:srgbClr val="006298"/>
      </a:accent1>
      <a:accent2>
        <a:srgbClr val="008542"/>
      </a:accent2>
      <a:accent3>
        <a:srgbClr val="A5A5A5"/>
      </a:accent3>
      <a:accent4>
        <a:srgbClr val="FFC000"/>
      </a:accent4>
      <a:accent5>
        <a:srgbClr val="00B2A9"/>
      </a:accent5>
      <a:accent6>
        <a:srgbClr val="C4D600"/>
      </a:accent6>
      <a:hlink>
        <a:srgbClr val="0563C1"/>
      </a:hlink>
      <a:folHlink>
        <a:srgbClr val="954F72"/>
      </a:folHlink>
    </a:clrScheme>
    <a:fontScheme name="Personalizada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1_Tema do Office">
  <a:themeElements>
    <a:clrScheme name="Personalizada 48">
      <a:dk1>
        <a:sysClr val="windowText" lastClr="000000"/>
      </a:dk1>
      <a:lt1>
        <a:sysClr val="window" lastClr="FFFFFF"/>
      </a:lt1>
      <a:dk2>
        <a:srgbClr val="000000"/>
      </a:dk2>
      <a:lt2>
        <a:srgbClr val="F2F2F2"/>
      </a:lt2>
      <a:accent1>
        <a:srgbClr val="006298"/>
      </a:accent1>
      <a:accent2>
        <a:srgbClr val="008542"/>
      </a:accent2>
      <a:accent3>
        <a:srgbClr val="A5A5A5"/>
      </a:accent3>
      <a:accent4>
        <a:srgbClr val="FFC000"/>
      </a:accent4>
      <a:accent5>
        <a:srgbClr val="00B2A9"/>
      </a:accent5>
      <a:accent6>
        <a:srgbClr val="C4D600"/>
      </a:accent6>
      <a:hlink>
        <a:srgbClr val="0563C1"/>
      </a:hlink>
      <a:folHlink>
        <a:srgbClr val="954F72"/>
      </a:folHlink>
    </a:clrScheme>
    <a:fontScheme name="Personalizada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o Office">
  <a:themeElements>
    <a:clrScheme name="Personalizada 48">
      <a:dk1>
        <a:sysClr val="windowText" lastClr="000000"/>
      </a:dk1>
      <a:lt1>
        <a:sysClr val="window" lastClr="FFFFFF"/>
      </a:lt1>
      <a:dk2>
        <a:srgbClr val="000000"/>
      </a:dk2>
      <a:lt2>
        <a:srgbClr val="F2F2F2"/>
      </a:lt2>
      <a:accent1>
        <a:srgbClr val="006298"/>
      </a:accent1>
      <a:accent2>
        <a:srgbClr val="008542"/>
      </a:accent2>
      <a:accent3>
        <a:srgbClr val="A5A5A5"/>
      </a:accent3>
      <a:accent4>
        <a:srgbClr val="FFC000"/>
      </a:accent4>
      <a:accent5>
        <a:srgbClr val="00B2A9"/>
      </a:accent5>
      <a:accent6>
        <a:srgbClr val="C4D600"/>
      </a:accent6>
      <a:hlink>
        <a:srgbClr val="0563C1"/>
      </a:hlink>
      <a:folHlink>
        <a:srgbClr val="954F72"/>
      </a:folHlink>
    </a:clrScheme>
    <a:fontScheme name="Personalizada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Tema do Office">
  <a:themeElements>
    <a:clrScheme name="Personalizada 48">
      <a:dk1>
        <a:sysClr val="windowText" lastClr="000000"/>
      </a:dk1>
      <a:lt1>
        <a:sysClr val="window" lastClr="FFFFFF"/>
      </a:lt1>
      <a:dk2>
        <a:srgbClr val="000000"/>
      </a:dk2>
      <a:lt2>
        <a:srgbClr val="F2F2F2"/>
      </a:lt2>
      <a:accent1>
        <a:srgbClr val="006298"/>
      </a:accent1>
      <a:accent2>
        <a:srgbClr val="008542"/>
      </a:accent2>
      <a:accent3>
        <a:srgbClr val="A5A5A5"/>
      </a:accent3>
      <a:accent4>
        <a:srgbClr val="FFC000"/>
      </a:accent4>
      <a:accent5>
        <a:srgbClr val="00B2A9"/>
      </a:accent5>
      <a:accent6>
        <a:srgbClr val="C4D600"/>
      </a:accent6>
      <a:hlink>
        <a:srgbClr val="0563C1"/>
      </a:hlink>
      <a:folHlink>
        <a:srgbClr val="954F72"/>
      </a:folHlink>
    </a:clrScheme>
    <a:fontScheme name="Personalizada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a do Office">
  <a:themeElements>
    <a:clrScheme name="PE 2025">
      <a:dk1>
        <a:srgbClr val="75787B"/>
      </a:dk1>
      <a:lt1>
        <a:srgbClr val="FFFFFF"/>
      </a:lt1>
      <a:dk2>
        <a:srgbClr val="006298"/>
      </a:dk2>
      <a:lt2>
        <a:srgbClr val="FFFFFF"/>
      </a:lt2>
      <a:accent1>
        <a:srgbClr val="008542"/>
      </a:accent1>
      <a:accent2>
        <a:srgbClr val="00B2A9"/>
      </a:accent2>
      <a:accent3>
        <a:srgbClr val="FDC82F"/>
      </a:accent3>
      <a:accent4>
        <a:srgbClr val="00B2A9"/>
      </a:accent4>
      <a:accent5>
        <a:srgbClr val="C4D600"/>
      </a:accent5>
      <a:accent6>
        <a:srgbClr val="EBFF00"/>
      </a:accent6>
      <a:hlink>
        <a:srgbClr val="ED8B00"/>
      </a:hlink>
      <a:folHlink>
        <a:srgbClr val="3DDAFF"/>
      </a:folHlink>
    </a:clrScheme>
    <a:fontScheme name="PE 2025">
      <a:majorFont>
        <a:latin typeface="Petrobras Sans XBold"/>
        <a:ea typeface=""/>
        <a:cs typeface=""/>
      </a:majorFont>
      <a:minorFont>
        <a:latin typeface="Petrobras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9_Tema do Office">
  <a:themeElements>
    <a:clrScheme name="PE 2025">
      <a:dk1>
        <a:srgbClr val="75787B"/>
      </a:dk1>
      <a:lt1>
        <a:srgbClr val="FFFFFF"/>
      </a:lt1>
      <a:dk2>
        <a:srgbClr val="006298"/>
      </a:dk2>
      <a:lt2>
        <a:srgbClr val="FFFFFF"/>
      </a:lt2>
      <a:accent1>
        <a:srgbClr val="008542"/>
      </a:accent1>
      <a:accent2>
        <a:srgbClr val="00B2A9"/>
      </a:accent2>
      <a:accent3>
        <a:srgbClr val="FDC82F"/>
      </a:accent3>
      <a:accent4>
        <a:srgbClr val="00B2A9"/>
      </a:accent4>
      <a:accent5>
        <a:srgbClr val="C4D600"/>
      </a:accent5>
      <a:accent6>
        <a:srgbClr val="EBFF00"/>
      </a:accent6>
      <a:hlink>
        <a:srgbClr val="ED8B00"/>
      </a:hlink>
      <a:folHlink>
        <a:srgbClr val="3DDAFF"/>
      </a:folHlink>
    </a:clrScheme>
    <a:fontScheme name="PE 2025">
      <a:majorFont>
        <a:latin typeface="Petrobras Sans XBold"/>
        <a:ea typeface=""/>
        <a:cs typeface=""/>
      </a:majorFont>
      <a:minorFont>
        <a:latin typeface="Petrobras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2_Conteúdo_Com Marca">
  <a:themeElements>
    <a:clrScheme name="Petrobras">
      <a:dk1>
        <a:sysClr val="windowText" lastClr="000000"/>
      </a:dk1>
      <a:lt1>
        <a:sysClr val="window" lastClr="FFFFFF"/>
      </a:lt1>
      <a:dk2>
        <a:srgbClr val="75787B"/>
      </a:dk2>
      <a:lt2>
        <a:srgbClr val="E8E8E8"/>
      </a:lt2>
      <a:accent1>
        <a:srgbClr val="008542"/>
      </a:accent1>
      <a:accent2>
        <a:srgbClr val="FDC82F"/>
      </a:accent2>
      <a:accent3>
        <a:srgbClr val="00B2A9"/>
      </a:accent3>
      <a:accent4>
        <a:srgbClr val="C4D600"/>
      </a:accent4>
      <a:accent5>
        <a:srgbClr val="EBFF00"/>
      </a:accent5>
      <a:accent6>
        <a:srgbClr val="ED8B00"/>
      </a:accent6>
      <a:hlink>
        <a:srgbClr val="3DDAFF"/>
      </a:hlink>
      <a:folHlink>
        <a:srgbClr val="006298"/>
      </a:folHlink>
    </a:clrScheme>
    <a:fontScheme name="Personalizada 2">
      <a:majorFont>
        <a:latin typeface="Petrobras Sans XBold"/>
        <a:ea typeface=""/>
        <a:cs typeface=""/>
      </a:majorFont>
      <a:minorFont>
        <a:latin typeface="Petrobras Sans"/>
        <a:ea typeface=""/>
        <a:cs typeface=""/>
      </a:minorFont>
    </a:fontScheme>
    <a:fmtScheme name="Sólidos Suti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600" b="1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" id="{0485F943-85BF-452D-B321-84F1040D274B}" vid="{8B1C023D-B253-4C85-8F51-0364E7A1E16A}"/>
    </a:ext>
  </a:extLst>
</a:theme>
</file>

<file path=ppt/theme/theme7.xml><?xml version="1.0" encoding="utf-8"?>
<a:theme xmlns:a="http://schemas.openxmlformats.org/drawingml/2006/main" name="Conteúdo_Sem Marca">
  <a:themeElements>
    <a:clrScheme name="Petrobras">
      <a:dk1>
        <a:sysClr val="windowText" lastClr="000000"/>
      </a:dk1>
      <a:lt1>
        <a:sysClr val="window" lastClr="FFFFFF"/>
      </a:lt1>
      <a:dk2>
        <a:srgbClr val="75787B"/>
      </a:dk2>
      <a:lt2>
        <a:srgbClr val="E8E8E8"/>
      </a:lt2>
      <a:accent1>
        <a:srgbClr val="008542"/>
      </a:accent1>
      <a:accent2>
        <a:srgbClr val="FDC82F"/>
      </a:accent2>
      <a:accent3>
        <a:srgbClr val="00B2A9"/>
      </a:accent3>
      <a:accent4>
        <a:srgbClr val="C4D600"/>
      </a:accent4>
      <a:accent5>
        <a:srgbClr val="EBFF00"/>
      </a:accent5>
      <a:accent6>
        <a:srgbClr val="ED8B00"/>
      </a:accent6>
      <a:hlink>
        <a:srgbClr val="3DDAFF"/>
      </a:hlink>
      <a:folHlink>
        <a:srgbClr val="006298"/>
      </a:folHlink>
    </a:clrScheme>
    <a:fontScheme name="Personalizada 2">
      <a:majorFont>
        <a:latin typeface="Petrobras Sans XBold"/>
        <a:ea typeface=""/>
        <a:cs typeface=""/>
      </a:majorFont>
      <a:minorFont>
        <a:latin typeface="Petrobras Sans"/>
        <a:ea typeface=""/>
        <a:cs typeface=""/>
      </a:minorFont>
    </a:fontScheme>
    <a:fmtScheme name="Sólidos Suti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600" b="1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" id="{0485F943-85BF-452D-B321-84F1040D274B}" vid="{8B1C023D-B253-4C85-8F51-0364E7A1E16A}"/>
    </a:ext>
  </a:extLst>
</a:theme>
</file>

<file path=ppt/theme/theme8.xml><?xml version="1.0" encoding="utf-8"?>
<a:theme xmlns:a="http://schemas.openxmlformats.org/drawingml/2006/main" name="1_Capas, Transições e Encerramentos">
  <a:themeElements>
    <a:clrScheme name="Petrobras">
      <a:dk1>
        <a:sysClr val="windowText" lastClr="000000"/>
      </a:dk1>
      <a:lt1>
        <a:sysClr val="window" lastClr="FFFFFF"/>
      </a:lt1>
      <a:dk2>
        <a:srgbClr val="75787B"/>
      </a:dk2>
      <a:lt2>
        <a:srgbClr val="E8E8E8"/>
      </a:lt2>
      <a:accent1>
        <a:srgbClr val="008542"/>
      </a:accent1>
      <a:accent2>
        <a:srgbClr val="FDC82F"/>
      </a:accent2>
      <a:accent3>
        <a:srgbClr val="00B2A9"/>
      </a:accent3>
      <a:accent4>
        <a:srgbClr val="C4D600"/>
      </a:accent4>
      <a:accent5>
        <a:srgbClr val="EBFF00"/>
      </a:accent5>
      <a:accent6>
        <a:srgbClr val="ED8B00"/>
      </a:accent6>
      <a:hlink>
        <a:srgbClr val="3DDAFF"/>
      </a:hlink>
      <a:folHlink>
        <a:srgbClr val="006298"/>
      </a:folHlink>
    </a:clrScheme>
    <a:fontScheme name="Personalizada 2">
      <a:majorFont>
        <a:latin typeface="Petrobras Sans XBold"/>
        <a:ea typeface=""/>
        <a:cs typeface=""/>
      </a:majorFont>
      <a:minorFont>
        <a:latin typeface="Petrobras Sans"/>
        <a:ea typeface=""/>
        <a:cs typeface=""/>
      </a:minorFont>
    </a:fontScheme>
    <a:fmtScheme name="Sólidos Suti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600" b="1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" id="{0485F943-85BF-452D-B321-84F1040D274B}" vid="{8B1C023D-B253-4C85-8F51-0364E7A1E16A}"/>
    </a:ext>
  </a:extLst>
</a:theme>
</file>

<file path=ppt/theme/theme9.xml><?xml version="1.0" encoding="utf-8"?>
<a:theme xmlns:a="http://schemas.openxmlformats.org/drawingml/2006/main" name="5_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2344ce3-2699-41c1-9455-c238b6e5ee86">
      <UserInfo>
        <DisplayName>Alessandra da Costa Guilherme de Jesus</DisplayName>
        <AccountId>106</AccountId>
        <AccountType/>
      </UserInfo>
      <UserInfo>
        <DisplayName>Marcus Vinicius Mendes</DisplayName>
        <AccountId>206</AccountId>
        <AccountType/>
      </UserInfo>
      <UserInfo>
        <DisplayName>Todos</DisplayName>
        <AccountId>10</AccountId>
        <AccountType/>
      </UserInfo>
      <UserInfo>
        <DisplayName>Luiz Fernando Niquet Gonçalves</DisplayName>
        <AccountId>60</AccountId>
        <AccountType/>
      </UserInfo>
      <UserInfo>
        <DisplayName>Douglas Lima de Moraes</DisplayName>
        <AccountId>56</AccountId>
        <AccountType/>
      </UserInfo>
      <UserInfo>
        <DisplayName>Sara Conceicao de Paula</DisplayName>
        <AccountId>129</AccountId>
        <AccountType/>
      </UserInfo>
      <UserInfo>
        <DisplayName>Roberto Luiz de Lima Santos</DisplayName>
        <AccountId>91</AccountId>
        <AccountType/>
      </UserInfo>
      <UserInfo>
        <DisplayName>Marina Gomes Castelo Branco Ferreira Lauriano</DisplayName>
        <AccountId>312</AccountId>
        <AccountType/>
      </UserInfo>
      <UserInfo>
        <DisplayName>Cristina Torres Silva</DisplayName>
        <AccountId>99</AccountId>
        <AccountType/>
      </UserInfo>
      <UserInfo>
        <DisplayName>Erick Peixoto Alves</DisplayName>
        <AccountId>427</AccountId>
        <AccountType/>
      </UserInfo>
      <UserInfo>
        <DisplayName>Alisson Lima Brandao</DisplayName>
        <AccountId>13</AccountId>
        <AccountType/>
      </UserInfo>
      <UserInfo>
        <DisplayName>Renata de Faria Noronha</DisplayName>
        <AccountId>447</AccountId>
        <AccountType/>
      </UserInfo>
      <UserInfo>
        <DisplayName>Paulo Jose Azevedo Vianna Ferreira</DisplayName>
        <AccountId>445</AccountId>
        <AccountType/>
      </UserInfo>
      <UserInfo>
        <DisplayName>Andre Luis Lima Araujo Reis</DisplayName>
        <AccountId>28</AccountId>
        <AccountType/>
      </UserInfo>
      <UserInfo>
        <DisplayName>Francisco Maicon Magalhaes do Nascimento</DisplayName>
        <AccountId>474</AccountId>
        <AccountType/>
      </UserInfo>
      <UserInfo>
        <DisplayName>Marcelo Dias de Alencar Cruz</DisplayName>
        <AccountId>19</AccountId>
        <AccountType/>
      </UserInfo>
      <UserInfo>
        <DisplayName>Margarete Fernandes Cerqueira dos Santos</DisplayName>
        <AccountId>17</AccountId>
        <AccountType/>
      </UserInfo>
      <UserInfo>
        <DisplayName>Jaqueline Theodoro Amancio de Matos</DisplayName>
        <AccountId>31</AccountId>
        <AccountType/>
      </UserInfo>
      <UserInfo>
        <DisplayName>Renata Leite da Silva</DisplayName>
        <AccountId>168</AccountId>
        <AccountType/>
      </UserInfo>
      <UserInfo>
        <DisplayName>Andre Luis Bandeira Vieira Alencar</DisplayName>
        <AccountId>24</AccountId>
        <AccountType/>
      </UserInfo>
      <UserInfo>
        <DisplayName>Marcus Antonio Estrella Guimaraes</DisplayName>
        <AccountId>16</AccountId>
        <AccountType/>
      </UserInfo>
      <UserInfo>
        <DisplayName>EDIHB  3 Andar 309 (Privativa)</DisplayName>
        <AccountId>758</AccountId>
        <AccountType/>
      </UserInfo>
    </SharedWithUsers>
    <TaxCatchAll xmlns="e2344ce3-2699-41c1-9455-c238b6e5ee86" xsi:nil="true"/>
    <lcf76f155ced4ddcb4097134ff3c332f xmlns="9dc56c31-4cce-4fde-97d1-b13f658e8a3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4360391F8CD904FA1AD3C6CF0E0144F" ma:contentTypeVersion="19" ma:contentTypeDescription="Crie um novo documento." ma:contentTypeScope="" ma:versionID="dfe33b1613086c2a3fec243c3b7f5849">
  <xsd:schema xmlns:xsd="http://www.w3.org/2001/XMLSchema" xmlns:xs="http://www.w3.org/2001/XMLSchema" xmlns:p="http://schemas.microsoft.com/office/2006/metadata/properties" xmlns:ns2="9dc56c31-4cce-4fde-97d1-b13f658e8a3e" xmlns:ns3="e2344ce3-2699-41c1-9455-c238b6e5ee86" targetNamespace="http://schemas.microsoft.com/office/2006/metadata/properties" ma:root="true" ma:fieldsID="cc1792bd0d6b4884e3c5822dfd300f8e" ns2:_="" ns3:_="">
    <xsd:import namespace="9dc56c31-4cce-4fde-97d1-b13f658e8a3e"/>
    <xsd:import namespace="e2344ce3-2699-41c1-9455-c238b6e5ee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56c31-4cce-4fde-97d1-b13f658e8a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Marcações de imagem" ma:readOnly="false" ma:fieldId="{5cf76f15-5ced-4ddc-b409-7134ff3c332f}" ma:taxonomyMulti="true" ma:sspId="d566a8fd-94ed-4d49-8999-3a54f140f0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6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344ce3-2699-41c1-9455-c238b6e5ee8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dfd1bd4-b9fe-4cfd-a3e2-e7504ffbef7f}" ma:internalName="TaxCatchAll" ma:showField="CatchAllData" ma:web="e2344ce3-2699-41c1-9455-c238b6e5ee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9457C2-443A-43EE-8084-F77DA36AF3FF}">
  <ds:schemaRefs>
    <ds:schemaRef ds:uri="9dc56c31-4cce-4fde-97d1-b13f658e8a3e"/>
    <ds:schemaRef ds:uri="e2344ce3-2699-41c1-9455-c238b6e5ee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8F47DBD-3B80-4BB8-BD85-42239D3B1E17}">
  <ds:schemaRefs>
    <ds:schemaRef ds:uri="9dc56c31-4cce-4fde-97d1-b13f658e8a3e"/>
    <ds:schemaRef ds:uri="e2344ce3-2699-41c1-9455-c238b6e5ee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8E1669D-E9EF-4004-81AC-25BC7AFDCEB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8fb4d56-f1b0-4a29-9cca-d42fddf5cd3f}" enabled="1" method="Privileged" siteId="{5b6f6241-9a57-4be4-8e50-1dfa72e79a5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889</Words>
  <Application>Microsoft Office PowerPoint</Application>
  <PresentationFormat>Personalizar</PresentationFormat>
  <Paragraphs>550</Paragraphs>
  <Slides>17</Slides>
  <Notes>11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1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42" baseType="lpstr">
      <vt:lpstr>Aptos</vt:lpstr>
      <vt:lpstr>Aptos Display</vt:lpstr>
      <vt:lpstr>Aptos Narrow</vt:lpstr>
      <vt:lpstr>Arial</vt:lpstr>
      <vt:lpstr>Barlow Light</vt:lpstr>
      <vt:lpstr>Calibri</vt:lpstr>
      <vt:lpstr>Petrobras Sans</vt:lpstr>
      <vt:lpstr>Petrobras Sans </vt:lpstr>
      <vt:lpstr>Petrobras Sans Light</vt:lpstr>
      <vt:lpstr>Petrobras Sans XBold</vt:lpstr>
      <vt:lpstr>Poppins</vt:lpstr>
      <vt:lpstr>Trebuchet</vt:lpstr>
      <vt:lpstr>Trebuchet MS</vt:lpstr>
      <vt:lpstr>Wingdings</vt:lpstr>
      <vt:lpstr>Tema do Office</vt:lpstr>
      <vt:lpstr>2_Tema do Office</vt:lpstr>
      <vt:lpstr>4_Tema do Office</vt:lpstr>
      <vt:lpstr>3_Tema do Office</vt:lpstr>
      <vt:lpstr>9_Tema do Office</vt:lpstr>
      <vt:lpstr>2_Conteúdo_Com Marca</vt:lpstr>
      <vt:lpstr>Conteúdo_Sem Marca</vt:lpstr>
      <vt:lpstr>1_Capas, Transições e Encerramentos</vt:lpstr>
      <vt:lpstr>5_Tema do Office</vt:lpstr>
      <vt:lpstr>11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ra Conceicao de Paula</dc:creator>
  <cp:lastModifiedBy>Renata Leite da Silva</cp:lastModifiedBy>
  <cp:revision>1</cp:revision>
  <dcterms:created xsi:type="dcterms:W3CDTF">2022-05-27T19:50:24Z</dcterms:created>
  <dcterms:modified xsi:type="dcterms:W3CDTF">2025-11-27T19:1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r8>13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riggerFlowInfo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ContentTypeId">
    <vt:lpwstr>0x01010014360391F8CD904FA1AD3C6CF0E0144F</vt:lpwstr>
  </property>
  <property fmtid="{D5CDD505-2E9C-101B-9397-08002B2CF9AE}" pid="11" name="MSIP_Label_98fb4d56-f1b0-4a29-9cca-d42fddf5cd3f_Enabled">
    <vt:lpwstr>true</vt:lpwstr>
  </property>
  <property fmtid="{D5CDD505-2E9C-101B-9397-08002B2CF9AE}" pid="12" name="MSIP_Label_98fb4d56-f1b0-4a29-9cca-d42fddf5cd3f_SetDate">
    <vt:lpwstr>2023-11-30T18:18:00Z</vt:lpwstr>
  </property>
  <property fmtid="{D5CDD505-2E9C-101B-9397-08002B2CF9AE}" pid="13" name="MSIP_Label_98fb4d56-f1b0-4a29-9cca-d42fddf5cd3f_Method">
    <vt:lpwstr>Privileged</vt:lpwstr>
  </property>
  <property fmtid="{D5CDD505-2E9C-101B-9397-08002B2CF9AE}" pid="14" name="MSIP_Label_98fb4d56-f1b0-4a29-9cca-d42fddf5cd3f_Name">
    <vt:lpwstr>CONFIDENCIAL_SUBLABEL-2</vt:lpwstr>
  </property>
  <property fmtid="{D5CDD505-2E9C-101B-9397-08002B2CF9AE}" pid="15" name="MSIP_Label_98fb4d56-f1b0-4a29-9cca-d42fddf5cd3f_SiteId">
    <vt:lpwstr>5b6f6241-9a57-4be4-8e50-1dfa72e79a57</vt:lpwstr>
  </property>
  <property fmtid="{D5CDD505-2E9C-101B-9397-08002B2CF9AE}" pid="16" name="MSIP_Label_98fb4d56-f1b0-4a29-9cca-d42fddf5cd3f_ActionId">
    <vt:lpwstr>b64b1a18-4f3e-4a45-9ed2-15670a1d14af</vt:lpwstr>
  </property>
  <property fmtid="{D5CDD505-2E9C-101B-9397-08002B2CF9AE}" pid="17" name="MSIP_Label_98fb4d56-f1b0-4a29-9cca-d42fddf5cd3f_ContentBits">
    <vt:lpwstr>2</vt:lpwstr>
  </property>
</Properties>
</file>